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6"/>
  </p:notesMasterIdLst>
  <p:sldIdLst>
    <p:sldId id="256" r:id="rId5"/>
    <p:sldId id="271" r:id="rId6"/>
    <p:sldId id="285" r:id="rId7"/>
    <p:sldId id="272" r:id="rId8"/>
    <p:sldId id="283" r:id="rId9"/>
    <p:sldId id="267" r:id="rId10"/>
    <p:sldId id="293" r:id="rId11"/>
    <p:sldId id="294" r:id="rId12"/>
    <p:sldId id="296" r:id="rId13"/>
    <p:sldId id="297" r:id="rId14"/>
    <p:sldId id="300" r:id="rId15"/>
    <p:sldId id="274" r:id="rId16"/>
    <p:sldId id="284" r:id="rId17"/>
    <p:sldId id="299" r:id="rId18"/>
    <p:sldId id="302" r:id="rId19"/>
    <p:sldId id="319" r:id="rId20"/>
    <p:sldId id="306" r:id="rId21"/>
    <p:sldId id="307" r:id="rId22"/>
    <p:sldId id="316" r:id="rId23"/>
    <p:sldId id="275" r:id="rId24"/>
    <p:sldId id="278" r:id="rId25"/>
    <p:sldId id="279" r:id="rId26"/>
    <p:sldId id="280" r:id="rId27"/>
    <p:sldId id="281" r:id="rId28"/>
    <p:sldId id="308" r:id="rId29"/>
    <p:sldId id="315" r:id="rId30"/>
    <p:sldId id="314" r:id="rId31"/>
    <p:sldId id="288" r:id="rId32"/>
    <p:sldId id="287" r:id="rId33"/>
    <p:sldId id="313" r:id="rId34"/>
    <p:sldId id="265" r:id="rId35"/>
  </p:sldIdLst>
  <p:sldSz cx="12192000" cy="6858000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6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  <p15:guide id="4" pos="7320" userDrawn="1">
          <p15:clr>
            <a:srgbClr val="A4A3A4"/>
          </p15:clr>
        </p15:guide>
        <p15:guide id="5" orient="horz" pos="864" userDrawn="1">
          <p15:clr>
            <a:srgbClr val="A4A3A4"/>
          </p15:clr>
        </p15:guide>
        <p15:guide id="6" orient="horz" pos="400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4EC9F0"/>
    <a:srgbClr val="EF4B35"/>
    <a:srgbClr val="87DBF5"/>
    <a:srgbClr val="4472C4"/>
    <a:srgbClr val="3B3E98"/>
    <a:srgbClr val="AFB0DF"/>
    <a:srgbClr val="F1604D"/>
    <a:srgbClr val="9FE2F7"/>
    <a:srgbClr val="D8F3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7A6000-F418-4CE9-82D3-EB08BDFD99E2}" v="26" dt="2021-09-23T13:24:16.668"/>
    <p1510:client id="{850D3526-CD18-429D-83B5-8BB7630743BB}" v="15" dt="2021-09-24T12:54:21.193"/>
    <p1510:client id="{C306FF50-8479-4715-8969-CDEBA8863634}" v="85" dt="2021-09-23T14:07:19.1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17" autoAdjust="0"/>
    <p:restoredTop sz="94980" autoAdjust="0"/>
  </p:normalViewPr>
  <p:slideViewPr>
    <p:cSldViewPr snapToGrid="0">
      <p:cViewPr varScale="1">
        <p:scale>
          <a:sx n="81" d="100"/>
          <a:sy n="81" d="100"/>
        </p:scale>
        <p:origin x="730" y="72"/>
      </p:cViewPr>
      <p:guideLst>
        <p:guide orient="horz" pos="2664"/>
        <p:guide pos="3840"/>
        <p:guide pos="336"/>
        <p:guide pos="7320"/>
        <p:guide orient="horz" pos="864"/>
        <p:guide orient="horz" pos="40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uresmaeil, Laya" userId="S::laya_pouresmaeil@dell.com::3fe31884-478d-47a4-aa5f-e2e092431909" providerId="AD" clId="Web-{A3DF0D71-BDBF-4954-805D-18FCF7064896}"/>
    <pc:docChg chg="addSld modSld">
      <pc:chgData name="Pouresmaeil, Laya" userId="S::laya_pouresmaeil@dell.com::3fe31884-478d-47a4-aa5f-e2e092431909" providerId="AD" clId="Web-{A3DF0D71-BDBF-4954-805D-18FCF7064896}" dt="2021-09-17T14:33:00.861" v="36" actId="1076"/>
      <pc:docMkLst>
        <pc:docMk/>
      </pc:docMkLst>
      <pc:sldChg chg="addSp delSp modSp add replId">
        <pc:chgData name="Pouresmaeil, Laya" userId="S::laya_pouresmaeil@dell.com::3fe31884-478d-47a4-aa5f-e2e092431909" providerId="AD" clId="Web-{A3DF0D71-BDBF-4954-805D-18FCF7064896}" dt="2021-09-17T14:33:00.861" v="36" actId="1076"/>
        <pc:sldMkLst>
          <pc:docMk/>
          <pc:sldMk cId="2380160523" sldId="318"/>
        </pc:sldMkLst>
        <pc:spChg chg="mod">
          <ac:chgData name="Pouresmaeil, Laya" userId="S::laya_pouresmaeil@dell.com::3fe31884-478d-47a4-aa5f-e2e092431909" providerId="AD" clId="Web-{A3DF0D71-BDBF-4954-805D-18FCF7064896}" dt="2021-09-17T14:32:22.469" v="19" actId="20577"/>
          <ac:spMkLst>
            <pc:docMk/>
            <pc:sldMk cId="2380160523" sldId="318"/>
            <ac:spMk id="2" creationId="{8FFC2A4D-D4F9-4899-A32E-55D0111E110B}"/>
          </ac:spMkLst>
        </pc:spChg>
        <pc:spChg chg="del">
          <ac:chgData name="Pouresmaeil, Laya" userId="S::laya_pouresmaeil@dell.com::3fe31884-478d-47a4-aa5f-e2e092431909" providerId="AD" clId="Web-{A3DF0D71-BDBF-4954-805D-18FCF7064896}" dt="2021-09-17T14:32:35.329" v="24"/>
          <ac:spMkLst>
            <pc:docMk/>
            <pc:sldMk cId="2380160523" sldId="318"/>
            <ac:spMk id="13" creationId="{AA82778C-9225-4D0C-A5AB-29D0A364C4FE}"/>
          </ac:spMkLst>
        </pc:spChg>
        <pc:picChg chg="add mod">
          <ac:chgData name="Pouresmaeil, Laya" userId="S::laya_pouresmaeil@dell.com::3fe31884-478d-47a4-aa5f-e2e092431909" providerId="AD" clId="Web-{A3DF0D71-BDBF-4954-805D-18FCF7064896}" dt="2021-09-17T14:33:00.861" v="36" actId="1076"/>
          <ac:picMkLst>
            <pc:docMk/>
            <pc:sldMk cId="2380160523" sldId="318"/>
            <ac:picMk id="4" creationId="{88F8C1A9-558A-4602-892D-CBB4B088C769}"/>
          </ac:picMkLst>
        </pc:picChg>
        <pc:picChg chg="add mod">
          <ac:chgData name="Pouresmaeil, Laya" userId="S::laya_pouresmaeil@dell.com::3fe31884-478d-47a4-aa5f-e2e092431909" providerId="AD" clId="Web-{A3DF0D71-BDBF-4954-805D-18FCF7064896}" dt="2021-09-17T14:32:55.408" v="33" actId="1076"/>
          <ac:picMkLst>
            <pc:docMk/>
            <pc:sldMk cId="2380160523" sldId="318"/>
            <ac:picMk id="6" creationId="{F2E8A637-7938-490E-8366-30B79CADF6E1}"/>
          </ac:picMkLst>
        </pc:picChg>
        <pc:picChg chg="del">
          <ac:chgData name="Pouresmaeil, Laya" userId="S::laya_pouresmaeil@dell.com::3fe31884-478d-47a4-aa5f-e2e092431909" providerId="AD" clId="Web-{A3DF0D71-BDBF-4954-805D-18FCF7064896}" dt="2021-09-17T14:32:27.751" v="20"/>
          <ac:picMkLst>
            <pc:docMk/>
            <pc:sldMk cId="2380160523" sldId="318"/>
            <ac:picMk id="17" creationId="{62C6B543-C4E2-46CF-A8D9-5D60D25C2E54}"/>
          </ac:picMkLst>
        </pc:picChg>
        <pc:picChg chg="del">
          <ac:chgData name="Pouresmaeil, Laya" userId="S::laya_pouresmaeil@dell.com::3fe31884-478d-47a4-aa5f-e2e092431909" providerId="AD" clId="Web-{A3DF0D71-BDBF-4954-805D-18FCF7064896}" dt="2021-09-17T14:32:29.079" v="21"/>
          <ac:picMkLst>
            <pc:docMk/>
            <pc:sldMk cId="2380160523" sldId="318"/>
            <ac:picMk id="18" creationId="{FFEE837A-C035-4A41-A40E-6F61796F3A17}"/>
          </ac:picMkLst>
        </pc:picChg>
        <pc:picChg chg="del">
          <ac:chgData name="Pouresmaeil, Laya" userId="S::laya_pouresmaeil@dell.com::3fe31884-478d-47a4-aa5f-e2e092431909" providerId="AD" clId="Web-{A3DF0D71-BDBF-4954-805D-18FCF7064896}" dt="2021-09-17T14:32:30.282" v="22"/>
          <ac:picMkLst>
            <pc:docMk/>
            <pc:sldMk cId="2380160523" sldId="318"/>
            <ac:picMk id="19" creationId="{591CBE83-4DC1-43E8-BF1D-D2A51C83782E}"/>
          </ac:picMkLst>
        </pc:picChg>
      </pc:sldChg>
    </pc:docChg>
  </pc:docChgLst>
  <pc:docChgLst>
    <pc:chgData name="Pouresmaeil, Laya" userId="S::laya_pouresmaeil@dell.com::3fe31884-478d-47a4-aa5f-e2e092431909" providerId="AD" clId="Web-{807A6000-F418-4CE9-82D3-EB08BDFD99E2}"/>
    <pc:docChg chg="addSld delSld modSld">
      <pc:chgData name="Pouresmaeil, Laya" userId="S::laya_pouresmaeil@dell.com::3fe31884-478d-47a4-aa5f-e2e092431909" providerId="AD" clId="Web-{807A6000-F418-4CE9-82D3-EB08BDFD99E2}" dt="2021-09-23T13:24:16.668" v="15" actId="1076"/>
      <pc:docMkLst>
        <pc:docMk/>
      </pc:docMkLst>
      <pc:sldChg chg="addSp delSp modSp">
        <pc:chgData name="Pouresmaeil, Laya" userId="S::laya_pouresmaeil@dell.com::3fe31884-478d-47a4-aa5f-e2e092431909" providerId="AD" clId="Web-{807A6000-F418-4CE9-82D3-EB08BDFD99E2}" dt="2021-09-23T13:23:13.792" v="2"/>
        <pc:sldMkLst>
          <pc:docMk/>
          <pc:sldMk cId="3561244179" sldId="302"/>
        </pc:sldMkLst>
        <pc:picChg chg="add del mod">
          <ac:chgData name="Pouresmaeil, Laya" userId="S::laya_pouresmaeil@dell.com::3fe31884-478d-47a4-aa5f-e2e092431909" providerId="AD" clId="Web-{807A6000-F418-4CE9-82D3-EB08BDFD99E2}" dt="2021-09-23T13:23:13.792" v="2"/>
          <ac:picMkLst>
            <pc:docMk/>
            <pc:sldMk cId="3561244179" sldId="302"/>
            <ac:picMk id="3" creationId="{33271C6F-1556-47E8-9640-C8E11ACE2F9A}"/>
          </ac:picMkLst>
        </pc:picChg>
      </pc:sldChg>
      <pc:sldChg chg="del">
        <pc:chgData name="Pouresmaeil, Laya" userId="S::laya_pouresmaeil@dell.com::3fe31884-478d-47a4-aa5f-e2e092431909" providerId="AD" clId="Web-{807A6000-F418-4CE9-82D3-EB08BDFD99E2}" dt="2021-09-23T13:21:18.694" v="0"/>
        <pc:sldMkLst>
          <pc:docMk/>
          <pc:sldMk cId="1421285614" sldId="304"/>
        </pc:sldMkLst>
      </pc:sldChg>
      <pc:sldChg chg="addSp delSp modSp new">
        <pc:chgData name="Pouresmaeil, Laya" userId="S::laya_pouresmaeil@dell.com::3fe31884-478d-47a4-aa5f-e2e092431909" providerId="AD" clId="Web-{807A6000-F418-4CE9-82D3-EB08BDFD99E2}" dt="2021-09-23T13:23:32.261" v="6"/>
        <pc:sldMkLst>
          <pc:docMk/>
          <pc:sldMk cId="2926233895" sldId="319"/>
        </pc:sldMkLst>
        <pc:spChg chg="mod">
          <ac:chgData name="Pouresmaeil, Laya" userId="S::laya_pouresmaeil@dell.com::3fe31884-478d-47a4-aa5f-e2e092431909" providerId="AD" clId="Web-{807A6000-F418-4CE9-82D3-EB08BDFD99E2}" dt="2021-09-23T13:23:26.933" v="5" actId="20577"/>
          <ac:spMkLst>
            <pc:docMk/>
            <pc:sldMk cId="2926233895" sldId="319"/>
            <ac:spMk id="2" creationId="{D002F21A-4139-41BD-9E04-534CA01E11B6}"/>
          </ac:spMkLst>
        </pc:spChg>
        <pc:spChg chg="del">
          <ac:chgData name="Pouresmaeil, Laya" userId="S::laya_pouresmaeil@dell.com::3fe31884-478d-47a4-aa5f-e2e092431909" providerId="AD" clId="Web-{807A6000-F418-4CE9-82D3-EB08BDFD99E2}" dt="2021-09-23T13:23:32.261" v="6"/>
          <ac:spMkLst>
            <pc:docMk/>
            <pc:sldMk cId="2926233895" sldId="319"/>
            <ac:spMk id="3" creationId="{427E3184-B0BC-4CD3-9409-92CE3CFD689E}"/>
          </ac:spMkLst>
        </pc:spChg>
        <pc:picChg chg="add mod ord">
          <ac:chgData name="Pouresmaeil, Laya" userId="S::laya_pouresmaeil@dell.com::3fe31884-478d-47a4-aa5f-e2e092431909" providerId="AD" clId="Web-{807A6000-F418-4CE9-82D3-EB08BDFD99E2}" dt="2021-09-23T13:23:32.261" v="6"/>
          <ac:picMkLst>
            <pc:docMk/>
            <pc:sldMk cId="2926233895" sldId="319"/>
            <ac:picMk id="5" creationId="{E13A1BCC-F458-4E67-BE25-4B0695DC5686}"/>
          </ac:picMkLst>
        </pc:picChg>
      </pc:sldChg>
      <pc:sldChg chg="addSp delSp modSp new">
        <pc:chgData name="Pouresmaeil, Laya" userId="S::laya_pouresmaeil@dell.com::3fe31884-478d-47a4-aa5f-e2e092431909" providerId="AD" clId="Web-{807A6000-F418-4CE9-82D3-EB08BDFD99E2}" dt="2021-09-23T13:24:16.668" v="15" actId="1076"/>
        <pc:sldMkLst>
          <pc:docMk/>
          <pc:sldMk cId="927516220" sldId="320"/>
        </pc:sldMkLst>
        <pc:spChg chg="mod">
          <ac:chgData name="Pouresmaeil, Laya" userId="S::laya_pouresmaeil@dell.com::3fe31884-478d-47a4-aa5f-e2e092431909" providerId="AD" clId="Web-{807A6000-F418-4CE9-82D3-EB08BDFD99E2}" dt="2021-09-23T13:23:51.090" v="9" actId="20577"/>
          <ac:spMkLst>
            <pc:docMk/>
            <pc:sldMk cId="927516220" sldId="320"/>
            <ac:spMk id="2" creationId="{1032770A-B376-4BBF-B75E-D1D80F7F77B3}"/>
          </ac:spMkLst>
        </pc:spChg>
        <pc:spChg chg="del">
          <ac:chgData name="Pouresmaeil, Laya" userId="S::laya_pouresmaeil@dell.com::3fe31884-478d-47a4-aa5f-e2e092431909" providerId="AD" clId="Web-{807A6000-F418-4CE9-82D3-EB08BDFD99E2}" dt="2021-09-23T13:23:57.262" v="10"/>
          <ac:spMkLst>
            <pc:docMk/>
            <pc:sldMk cId="927516220" sldId="320"/>
            <ac:spMk id="3" creationId="{E80D99A6-151F-44E1-98CA-0EC1623E448B}"/>
          </ac:spMkLst>
        </pc:spChg>
        <pc:picChg chg="add mod ord">
          <ac:chgData name="Pouresmaeil, Laya" userId="S::laya_pouresmaeil@dell.com::3fe31884-478d-47a4-aa5f-e2e092431909" providerId="AD" clId="Web-{807A6000-F418-4CE9-82D3-EB08BDFD99E2}" dt="2021-09-23T13:23:58.168" v="11" actId="1076"/>
          <ac:picMkLst>
            <pc:docMk/>
            <pc:sldMk cId="927516220" sldId="320"/>
            <ac:picMk id="5" creationId="{EA83F17C-8B09-4C51-884A-86ED3858B9AC}"/>
          </ac:picMkLst>
        </pc:picChg>
        <pc:picChg chg="add mod">
          <ac:chgData name="Pouresmaeil, Laya" userId="S::laya_pouresmaeil@dell.com::3fe31884-478d-47a4-aa5f-e2e092431909" providerId="AD" clId="Web-{807A6000-F418-4CE9-82D3-EB08BDFD99E2}" dt="2021-09-23T13:24:16.668" v="15" actId="1076"/>
          <ac:picMkLst>
            <pc:docMk/>
            <pc:sldMk cId="927516220" sldId="320"/>
            <ac:picMk id="6" creationId="{8B56DFBD-CDE9-4E37-945E-76D4E64B0C2E}"/>
          </ac:picMkLst>
        </pc:picChg>
      </pc:sldChg>
    </pc:docChg>
  </pc:docChgLst>
  <pc:docChgLst>
    <pc:chgData name="Thomas2, Anthony" userId="S::anthony_thomas2@dell.com::e170cca0-fe16-4f20-8d1d-58fb19989c9a" providerId="AD" clId="Web-{D10FDEA5-4543-4150-A53B-78E5BCFF0A75}"/>
    <pc:docChg chg="modSld">
      <pc:chgData name="Thomas2, Anthony" userId="S::anthony_thomas2@dell.com::e170cca0-fe16-4f20-8d1d-58fb19989c9a" providerId="AD" clId="Web-{D10FDEA5-4543-4150-A53B-78E5BCFF0A75}" dt="2021-09-19T23:03:31.702" v="31" actId="1076"/>
      <pc:docMkLst>
        <pc:docMk/>
      </pc:docMkLst>
      <pc:sldChg chg="addSp delSp modSp">
        <pc:chgData name="Thomas2, Anthony" userId="S::anthony_thomas2@dell.com::e170cca0-fe16-4f20-8d1d-58fb19989c9a" providerId="AD" clId="Web-{D10FDEA5-4543-4150-A53B-78E5BCFF0A75}" dt="2021-09-19T23:03:31.702" v="31" actId="1076"/>
        <pc:sldMkLst>
          <pc:docMk/>
          <pc:sldMk cId="60901149" sldId="297"/>
        </pc:sldMkLst>
        <pc:spChg chg="add mod">
          <ac:chgData name="Thomas2, Anthony" userId="S::anthony_thomas2@dell.com::e170cca0-fe16-4f20-8d1d-58fb19989c9a" providerId="AD" clId="Web-{D10FDEA5-4543-4150-A53B-78E5BCFF0A75}" dt="2021-09-19T23:02:45.093" v="24" actId="1076"/>
          <ac:spMkLst>
            <pc:docMk/>
            <pc:sldMk cId="60901149" sldId="297"/>
            <ac:spMk id="6" creationId="{64163090-02B0-4625-89C3-7442F00A9255}"/>
          </ac:spMkLst>
        </pc:spChg>
        <pc:spChg chg="add mod">
          <ac:chgData name="Thomas2, Anthony" userId="S::anthony_thomas2@dell.com::e170cca0-fe16-4f20-8d1d-58fb19989c9a" providerId="AD" clId="Web-{D10FDEA5-4543-4150-A53B-78E5BCFF0A75}" dt="2021-09-19T23:02:58.812" v="25" actId="1076"/>
          <ac:spMkLst>
            <pc:docMk/>
            <pc:sldMk cId="60901149" sldId="297"/>
            <ac:spMk id="13" creationId="{43D25E25-59E2-4E69-860F-434530BB1F09}"/>
          </ac:spMkLst>
        </pc:spChg>
        <pc:spChg chg="add mod">
          <ac:chgData name="Thomas2, Anthony" userId="S::anthony_thomas2@dell.com::e170cca0-fe16-4f20-8d1d-58fb19989c9a" providerId="AD" clId="Web-{D10FDEA5-4543-4150-A53B-78E5BCFF0A75}" dt="2021-09-19T23:03:31.702" v="31" actId="1076"/>
          <ac:spMkLst>
            <pc:docMk/>
            <pc:sldMk cId="60901149" sldId="297"/>
            <ac:spMk id="14" creationId="{74A8865F-6A46-4D6C-BE29-CCCE4E45E6DA}"/>
          </ac:spMkLst>
        </pc:spChg>
        <pc:spChg chg="add del mod">
          <ac:chgData name="Thomas2, Anthony" userId="S::anthony_thomas2@dell.com::e170cca0-fe16-4f20-8d1d-58fb19989c9a" providerId="AD" clId="Web-{D10FDEA5-4543-4150-A53B-78E5BCFF0A75}" dt="2021-09-19T23:01:59.546" v="18"/>
          <ac:spMkLst>
            <pc:docMk/>
            <pc:sldMk cId="60901149" sldId="297"/>
            <ac:spMk id="16" creationId="{82285C02-76A5-4A69-B911-AF8A5DF5B5BE}"/>
          </ac:spMkLst>
        </pc:spChg>
      </pc:sldChg>
    </pc:docChg>
  </pc:docChgLst>
  <pc:docChgLst>
    <pc:chgData name="Thomas2, Anthony" userId="S::anthony_thomas2@dell.com::e170cca0-fe16-4f20-8d1d-58fb19989c9a" providerId="AD" clId="Web-{57511175-7937-458D-B648-6D7477452938}"/>
    <pc:docChg chg="modSld sldOrd">
      <pc:chgData name="Thomas2, Anthony" userId="S::anthony_thomas2@dell.com::e170cca0-fe16-4f20-8d1d-58fb19989c9a" providerId="AD" clId="Web-{57511175-7937-458D-B648-6D7477452938}" dt="2021-09-19T22:17:36.428" v="211" actId="1076"/>
      <pc:docMkLst>
        <pc:docMk/>
      </pc:docMkLst>
      <pc:sldChg chg="modSp">
        <pc:chgData name="Thomas2, Anthony" userId="S::anthony_thomas2@dell.com::e170cca0-fe16-4f20-8d1d-58fb19989c9a" providerId="AD" clId="Web-{57511175-7937-458D-B648-6D7477452938}" dt="2021-09-19T21:04:47.231" v="173" actId="1076"/>
        <pc:sldMkLst>
          <pc:docMk/>
          <pc:sldMk cId="4147963851" sldId="287"/>
        </pc:sldMkLst>
        <pc:spChg chg="mod">
          <ac:chgData name="Thomas2, Anthony" userId="S::anthony_thomas2@dell.com::e170cca0-fe16-4f20-8d1d-58fb19989c9a" providerId="AD" clId="Web-{57511175-7937-458D-B648-6D7477452938}" dt="2021-09-19T21:04:47.231" v="173" actId="1076"/>
          <ac:spMkLst>
            <pc:docMk/>
            <pc:sldMk cId="4147963851" sldId="287"/>
            <ac:spMk id="2" creationId="{C7B838FD-C1FD-40B9-9F72-2E8A22D69B17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17:49.532" v="42" actId="20577"/>
          <ac:spMkLst>
            <pc:docMk/>
            <pc:sldMk cId="4147963851" sldId="287"/>
            <ac:spMk id="55" creationId="{3A6CCD32-996B-430B-96DE-486B5340F640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15:17.643" v="24" actId="1076"/>
          <ac:spMkLst>
            <pc:docMk/>
            <pc:sldMk cId="4147963851" sldId="287"/>
            <ac:spMk id="56" creationId="{CC6E341E-7BC2-426F-8711-8B2C91B30BD4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21:02.234" v="58" actId="20577"/>
          <ac:spMkLst>
            <pc:docMk/>
            <pc:sldMk cId="4147963851" sldId="287"/>
            <ac:spMk id="58" creationId="{48221C70-A571-4EE2-B419-3255DCDA07FA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21:09.202" v="60" actId="1076"/>
          <ac:spMkLst>
            <pc:docMk/>
            <pc:sldMk cId="4147963851" sldId="287"/>
            <ac:spMk id="59" creationId="{7DA31DE9-279B-4BFE-9455-62239FB20CEA}"/>
          </ac:spMkLst>
        </pc:spChg>
        <pc:spChg chg="mod">
          <ac:chgData name="Thomas2, Anthony" userId="S::anthony_thomas2@dell.com::e170cca0-fe16-4f20-8d1d-58fb19989c9a" providerId="AD" clId="Web-{57511175-7937-458D-B648-6D7477452938}" dt="2021-09-19T20:19:30.094" v="46" actId="20577"/>
          <ac:spMkLst>
            <pc:docMk/>
            <pc:sldMk cId="4147963851" sldId="287"/>
            <ac:spMk id="61" creationId="{582E0B8F-EB59-43C8-B8C9-035FF9844C68}"/>
          </ac:spMkLst>
        </pc:spChg>
        <pc:grpChg chg="mod">
          <ac:chgData name="Thomas2, Anthony" userId="S::anthony_thomas2@dell.com::e170cca0-fe16-4f20-8d1d-58fb19989c9a" providerId="AD" clId="Web-{57511175-7937-458D-B648-6D7477452938}" dt="2021-09-19T20:16:08.642" v="30" actId="1076"/>
          <ac:grpSpMkLst>
            <pc:docMk/>
            <pc:sldMk cId="4147963851" sldId="287"/>
            <ac:grpSpMk id="54" creationId="{1F3D4CA7-7925-4A59-B48D-285F8BA7B493}"/>
          </ac:grpSpMkLst>
        </pc:grpChg>
        <pc:grpChg chg="mod">
          <ac:chgData name="Thomas2, Anthony" userId="S::anthony_thomas2@dell.com::e170cca0-fe16-4f20-8d1d-58fb19989c9a" providerId="AD" clId="Web-{57511175-7937-458D-B648-6D7477452938}" dt="2021-09-19T20:21:04.406" v="59" actId="1076"/>
          <ac:grpSpMkLst>
            <pc:docMk/>
            <pc:sldMk cId="4147963851" sldId="287"/>
            <ac:grpSpMk id="57" creationId="{44DD80B8-EA31-48DD-96AA-F2B51FB5A210}"/>
          </ac:grpSpMkLst>
        </pc:grpChg>
        <pc:grpChg chg="mod">
          <ac:chgData name="Thomas2, Anthony" userId="S::anthony_thomas2@dell.com::e170cca0-fe16-4f20-8d1d-58fb19989c9a" providerId="AD" clId="Web-{57511175-7937-458D-B648-6D7477452938}" dt="2021-09-19T20:17:16.360" v="34" actId="1076"/>
          <ac:grpSpMkLst>
            <pc:docMk/>
            <pc:sldMk cId="4147963851" sldId="287"/>
            <ac:grpSpMk id="60" creationId="{71D0C9C6-BB4E-48D8-8320-80AEA26581DD}"/>
          </ac:grpSpMkLst>
        </pc:grpChg>
      </pc:sldChg>
      <pc:sldChg chg="modSp">
        <pc:chgData name="Thomas2, Anthony" userId="S::anthony_thomas2@dell.com::e170cca0-fe16-4f20-8d1d-58fb19989c9a" providerId="AD" clId="Web-{57511175-7937-458D-B648-6D7477452938}" dt="2021-09-19T22:17:36.428" v="211" actId="1076"/>
        <pc:sldMkLst>
          <pc:docMk/>
          <pc:sldMk cId="60901149" sldId="297"/>
        </pc:sldMkLst>
        <pc:spChg chg="mod">
          <ac:chgData name="Thomas2, Anthony" userId="S::anthony_thomas2@dell.com::e170cca0-fe16-4f20-8d1d-58fb19989c9a" providerId="AD" clId="Web-{57511175-7937-458D-B648-6D7477452938}" dt="2021-09-19T22:17:30.584" v="210" actId="1076"/>
          <ac:spMkLst>
            <pc:docMk/>
            <pc:sldMk cId="60901149" sldId="297"/>
            <ac:spMk id="12" creationId="{5F72A5D4-F139-455F-AF77-D6CF1A8A5E57}"/>
          </ac:spMkLst>
        </pc:spChg>
        <pc:grpChg chg="mod">
          <ac:chgData name="Thomas2, Anthony" userId="S::anthony_thomas2@dell.com::e170cca0-fe16-4f20-8d1d-58fb19989c9a" providerId="AD" clId="Web-{57511175-7937-458D-B648-6D7477452938}" dt="2021-09-19T22:16:56.240" v="207" actId="1076"/>
          <ac:grpSpMkLst>
            <pc:docMk/>
            <pc:sldMk cId="60901149" sldId="297"/>
            <ac:grpSpMk id="7" creationId="{15428109-A8A7-44A8-B3A2-087EF93CECA6}"/>
          </ac:grpSpMkLst>
        </pc:grpChg>
        <pc:grpChg chg="mod">
          <ac:chgData name="Thomas2, Anthony" userId="S::anthony_thomas2@dell.com::e170cca0-fe16-4f20-8d1d-58fb19989c9a" providerId="AD" clId="Web-{57511175-7937-458D-B648-6D7477452938}" dt="2021-09-19T22:17:36.428" v="211" actId="1076"/>
          <ac:grpSpMkLst>
            <pc:docMk/>
            <pc:sldMk cId="60901149" sldId="297"/>
            <ac:grpSpMk id="10" creationId="{136FC42A-646D-4EF9-8BBD-49F6800F7121}"/>
          </ac:grpSpMkLst>
        </pc:grpChg>
        <pc:picChg chg="mod">
          <ac:chgData name="Thomas2, Anthony" userId="S::anthony_thomas2@dell.com::e170cca0-fe16-4f20-8d1d-58fb19989c9a" providerId="AD" clId="Web-{57511175-7937-458D-B648-6D7477452938}" dt="2021-09-19T22:16:50.005" v="206" actId="1076"/>
          <ac:picMkLst>
            <pc:docMk/>
            <pc:sldMk cId="60901149" sldId="297"/>
            <ac:picMk id="3" creationId="{319B5313-7B55-49DE-85E0-0736AB253C53}"/>
          </ac:picMkLst>
        </pc:picChg>
        <pc:picChg chg="mod">
          <ac:chgData name="Thomas2, Anthony" userId="S::anthony_thomas2@dell.com::e170cca0-fe16-4f20-8d1d-58fb19989c9a" providerId="AD" clId="Web-{57511175-7937-458D-B648-6D7477452938}" dt="2021-09-19T22:17:02.271" v="208" actId="1076"/>
          <ac:picMkLst>
            <pc:docMk/>
            <pc:sldMk cId="60901149" sldId="297"/>
            <ac:picMk id="4" creationId="{CB256ED5-0C1C-43D2-BCC5-D4B6AC7D9212}"/>
          </ac:picMkLst>
        </pc:picChg>
        <pc:picChg chg="mod">
          <ac:chgData name="Thomas2, Anthony" userId="S::anthony_thomas2@dell.com::e170cca0-fe16-4f20-8d1d-58fb19989c9a" providerId="AD" clId="Web-{57511175-7937-458D-B648-6D7477452938}" dt="2021-09-19T22:16:33.052" v="202" actId="14100"/>
          <ac:picMkLst>
            <pc:docMk/>
            <pc:sldMk cId="60901149" sldId="297"/>
            <ac:picMk id="5" creationId="{8C028F87-8C59-4E26-9F93-E64350B7D891}"/>
          </ac:picMkLst>
        </pc:picChg>
      </pc:sldChg>
      <pc:sldChg chg="addSp delSp modSp ord">
        <pc:chgData name="Thomas2, Anthony" userId="S::anthony_thomas2@dell.com::e170cca0-fe16-4f20-8d1d-58fb19989c9a" providerId="AD" clId="Web-{57511175-7937-458D-B648-6D7477452938}" dt="2021-09-19T21:17:00.235" v="201" actId="1076"/>
        <pc:sldMkLst>
          <pc:docMk/>
          <pc:sldMk cId="3215549726" sldId="313"/>
        </pc:sldMkLst>
        <pc:spChg chg="mod">
          <ac:chgData name="Thomas2, Anthony" userId="S::anthony_thomas2@dell.com::e170cca0-fe16-4f20-8d1d-58fb19989c9a" providerId="AD" clId="Web-{57511175-7937-458D-B648-6D7477452938}" dt="2021-09-19T21:08:06.232" v="197" actId="20577"/>
          <ac:spMkLst>
            <pc:docMk/>
            <pc:sldMk cId="3215549726" sldId="313"/>
            <ac:spMk id="2" creationId="{837EB5BE-E15E-4BB7-9DF9-57CAF803CCF0}"/>
          </ac:spMkLst>
        </pc:spChg>
        <pc:spChg chg="add mod">
          <ac:chgData name="Thomas2, Anthony" userId="S::anthony_thomas2@dell.com::e170cca0-fe16-4f20-8d1d-58fb19989c9a" providerId="AD" clId="Web-{57511175-7937-458D-B648-6D7477452938}" dt="2021-09-19T21:02:28.772" v="137" actId="1076"/>
          <ac:spMkLst>
            <pc:docMk/>
            <pc:sldMk cId="3215549726" sldId="313"/>
            <ac:spMk id="6" creationId="{338B937E-1381-4E84-B315-EC6162E43D4F}"/>
          </ac:spMkLst>
        </pc:spChg>
        <pc:spChg chg="add mod">
          <ac:chgData name="Thomas2, Anthony" userId="S::anthony_thomas2@dell.com::e170cca0-fe16-4f20-8d1d-58fb19989c9a" providerId="AD" clId="Web-{57511175-7937-458D-B648-6D7477452938}" dt="2021-09-19T21:02:17.272" v="133" actId="1076"/>
          <ac:spMkLst>
            <pc:docMk/>
            <pc:sldMk cId="3215549726" sldId="313"/>
            <ac:spMk id="7" creationId="{E14F8374-86ED-44B8-AC89-15FE0896E58A}"/>
          </ac:spMkLst>
        </pc:spChg>
        <pc:spChg chg="add del mod">
          <ac:chgData name="Thomas2, Anthony" userId="S::anthony_thomas2@dell.com::e170cca0-fe16-4f20-8d1d-58fb19989c9a" providerId="AD" clId="Web-{57511175-7937-458D-B648-6D7477452938}" dt="2021-09-19T20:50:34.638" v="117"/>
          <ac:spMkLst>
            <pc:docMk/>
            <pc:sldMk cId="3215549726" sldId="313"/>
            <ac:spMk id="9" creationId="{94337098-096C-4C5C-815C-BD193AF92309}"/>
          </ac:spMkLst>
        </pc:spChg>
        <pc:spChg chg="add del mod">
          <ac:chgData name="Thomas2, Anthony" userId="S::anthony_thomas2@dell.com::e170cca0-fe16-4f20-8d1d-58fb19989c9a" providerId="AD" clId="Web-{57511175-7937-458D-B648-6D7477452938}" dt="2021-09-19T20:50:22.841" v="115"/>
          <ac:spMkLst>
            <pc:docMk/>
            <pc:sldMk cId="3215549726" sldId="313"/>
            <ac:spMk id="10" creationId="{0D4AB3E3-2A90-46A3-B6A6-71E3905B1D38}"/>
          </ac:spMkLst>
        </pc:spChg>
        <pc:spChg chg="add del mod">
          <ac:chgData name="Thomas2, Anthony" userId="S::anthony_thomas2@dell.com::e170cca0-fe16-4f20-8d1d-58fb19989c9a" providerId="AD" clId="Web-{57511175-7937-458D-B648-6D7477452938}" dt="2021-09-19T20:50:59.122" v="121"/>
          <ac:spMkLst>
            <pc:docMk/>
            <pc:sldMk cId="3215549726" sldId="313"/>
            <ac:spMk id="11" creationId="{91928A19-2677-4733-A488-A7486775FBF7}"/>
          </ac:spMkLst>
        </pc:spChg>
        <pc:spChg chg="add mod">
          <ac:chgData name="Thomas2, Anthony" userId="S::anthony_thomas2@dell.com::e170cca0-fe16-4f20-8d1d-58fb19989c9a" providerId="AD" clId="Web-{57511175-7937-458D-B648-6D7477452938}" dt="2021-09-19T21:02:17.272" v="134" actId="1076"/>
          <ac:spMkLst>
            <pc:docMk/>
            <pc:sldMk cId="3215549726" sldId="313"/>
            <ac:spMk id="12" creationId="{8AB7F9F1-8FC5-4613-9012-FD9237284F33}"/>
          </ac:spMkLst>
        </pc:spChg>
        <pc:spChg chg="add del mod">
          <ac:chgData name="Thomas2, Anthony" userId="S::anthony_thomas2@dell.com::e170cca0-fe16-4f20-8d1d-58fb19989c9a" providerId="AD" clId="Web-{57511175-7937-458D-B648-6D7477452938}" dt="2021-09-19T21:06:59.513" v="182"/>
          <ac:spMkLst>
            <pc:docMk/>
            <pc:sldMk cId="3215549726" sldId="313"/>
            <ac:spMk id="15" creationId="{FF975D6A-9A4D-4832-9F03-DB524475C896}"/>
          </ac:spMkLst>
        </pc:spChg>
        <pc:picChg chg="add mod">
          <ac:chgData name="Thomas2, Anthony" userId="S::anthony_thomas2@dell.com::e170cca0-fe16-4f20-8d1d-58fb19989c9a" providerId="AD" clId="Web-{57511175-7937-458D-B648-6D7477452938}" dt="2021-09-19T21:02:17.241" v="131" actId="1076"/>
          <ac:picMkLst>
            <pc:docMk/>
            <pc:sldMk cId="3215549726" sldId="313"/>
            <ac:picMk id="3" creationId="{1ECA1EB9-0BAE-44E1-A21F-2B7895048C22}"/>
          </ac:picMkLst>
        </pc:picChg>
        <pc:picChg chg="add del mod">
          <ac:chgData name="Thomas2, Anthony" userId="S::anthony_thomas2@dell.com::e170cca0-fe16-4f20-8d1d-58fb19989c9a" providerId="AD" clId="Web-{57511175-7937-458D-B648-6D7477452938}" dt="2021-09-19T20:49:02.075" v="104"/>
          <ac:picMkLst>
            <pc:docMk/>
            <pc:sldMk cId="3215549726" sldId="313"/>
            <ac:picMk id="4" creationId="{2ADC8984-E95E-493D-9831-B5A9A7822D49}"/>
          </ac:picMkLst>
        </pc:picChg>
        <pc:picChg chg="add mod">
          <ac:chgData name="Thomas2, Anthony" userId="S::anthony_thomas2@dell.com::e170cca0-fe16-4f20-8d1d-58fb19989c9a" providerId="AD" clId="Web-{57511175-7937-458D-B648-6D7477452938}" dt="2021-09-19T21:02:21.960" v="136" actId="1076"/>
          <ac:picMkLst>
            <pc:docMk/>
            <pc:sldMk cId="3215549726" sldId="313"/>
            <ac:picMk id="8" creationId="{9321FB89-FD9C-4963-9B72-AB746321FB83}"/>
          </ac:picMkLst>
        </pc:picChg>
        <pc:picChg chg="add mod">
          <ac:chgData name="Thomas2, Anthony" userId="S::anthony_thomas2@dell.com::e170cca0-fe16-4f20-8d1d-58fb19989c9a" providerId="AD" clId="Web-{57511175-7937-458D-B648-6D7477452938}" dt="2021-09-19T21:17:00.235" v="201" actId="1076"/>
          <ac:picMkLst>
            <pc:docMk/>
            <pc:sldMk cId="3215549726" sldId="313"/>
            <ac:picMk id="13" creationId="{9CAAC2B8-1CB1-4A5A-8EB6-587B288631D9}"/>
          </ac:picMkLst>
        </pc:picChg>
        <pc:picChg chg="add mod">
          <ac:chgData name="Thomas2, Anthony" userId="S::anthony_thomas2@dell.com::e170cca0-fe16-4f20-8d1d-58fb19989c9a" providerId="AD" clId="Web-{57511175-7937-458D-B648-6D7477452938}" dt="2021-09-19T21:07:22.325" v="185" actId="1076"/>
          <ac:picMkLst>
            <pc:docMk/>
            <pc:sldMk cId="3215549726" sldId="313"/>
            <ac:picMk id="14" creationId="{938522EE-9B0F-40B4-A287-BF80BC0FAC33}"/>
          </ac:picMkLst>
        </pc:picChg>
      </pc:sldChg>
    </pc:docChg>
  </pc:docChgLst>
  <pc:docChgLst>
    <pc:chgData name="Miao, Catherine" userId="2f80fa44-951d-45aa-8067-be181f1dab5e" providerId="ADAL" clId="{0B4EB35B-6BB5-47F6-B896-A58562075FF9}"/>
    <pc:docChg chg="undo redo custSel addSld delSld modSld sldOrd">
      <pc:chgData name="Miao, Catherine" userId="2f80fa44-951d-45aa-8067-be181f1dab5e" providerId="ADAL" clId="{0B4EB35B-6BB5-47F6-B896-A58562075FF9}" dt="2021-09-19T19:19:47.963" v="3448" actId="1076"/>
      <pc:docMkLst>
        <pc:docMk/>
      </pc:docMkLst>
      <pc:sldChg chg="addSp delSp modSp mod setBg">
        <pc:chgData name="Miao, Catherine" userId="2f80fa44-951d-45aa-8067-be181f1dab5e" providerId="ADAL" clId="{0B4EB35B-6BB5-47F6-B896-A58562075FF9}" dt="2021-09-10T20:01:40.380" v="514" actId="20577"/>
        <pc:sldMkLst>
          <pc:docMk/>
          <pc:sldMk cId="2235950224" sldId="256"/>
        </pc:sldMkLst>
        <pc:spChg chg="add del mod">
          <ac:chgData name="Miao, Catherine" userId="2f80fa44-951d-45aa-8067-be181f1dab5e" providerId="ADAL" clId="{0B4EB35B-6BB5-47F6-B896-A58562075FF9}" dt="2021-09-10T19:56:11.606" v="378" actId="478"/>
          <ac:spMkLst>
            <pc:docMk/>
            <pc:sldMk cId="2235950224" sldId="256"/>
            <ac:spMk id="8" creationId="{FDC16F5E-809B-4381-AE3C-79008CE9F975}"/>
          </ac:spMkLst>
        </pc:spChg>
        <pc:spChg chg="add del">
          <ac:chgData name="Miao, Catherine" userId="2f80fa44-951d-45aa-8067-be181f1dab5e" providerId="ADAL" clId="{0B4EB35B-6BB5-47F6-B896-A58562075FF9}" dt="2021-09-10T19:57:14.536" v="418" actId="478"/>
          <ac:spMkLst>
            <pc:docMk/>
            <pc:sldMk cId="2235950224" sldId="256"/>
            <ac:spMk id="33" creationId="{7C9A915B-32FC-4D2B-A40E-8BCC68AFEA81}"/>
          </ac:spMkLst>
        </pc:spChg>
        <pc:spChg chg="add del mod">
          <ac:chgData name="Miao, Catherine" userId="2f80fa44-951d-45aa-8067-be181f1dab5e" providerId="ADAL" clId="{0B4EB35B-6BB5-47F6-B896-A58562075FF9}" dt="2021-09-10T19:57:36.828" v="423" actId="478"/>
          <ac:spMkLst>
            <pc:docMk/>
            <pc:sldMk cId="2235950224" sldId="256"/>
            <ac:spMk id="35" creationId="{163E91C9-C195-4323-B947-E2B37CB4F8D7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56" creationId="{6977389C-3742-4944-984F-CAA9A2225980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57" creationId="{34DF0BE0-4924-4140-AEB5-3E0A0A83CAEE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58" creationId="{49FFB01E-DA72-4FD7-A489-568AA2F83F3F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59" creationId="{2913F6F6-C224-41A0-BF90-9E1A82DD81CC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0" creationId="{1CB9C009-0346-43CA-A409-A6E71D4E9007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1" creationId="{40D9A477-1C21-4853-AE8B-0F0F655FC411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2" creationId="{D5190013-1C78-4B33-9FD7-94C2E51FEC2C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3" creationId="{30EC9B6A-C359-48BC-A47C-9CFD13D81E2C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4" creationId="{833F9C33-9F9B-47EB-A6AD-34FB4805BD45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5" creationId="{7925AEB2-91AC-49B3-8E06-8EB0FC369381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6" creationId="{9809C87B-2B54-4D07-A7F4-A44BDDBA643F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7" creationId="{7CFAC9A4-D892-4109-9817-2BC86A7806EA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8" creationId="{DD2A3280-DD27-4F03-A329-F6998EC0EA90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69" creationId="{02A826E4-2419-43DA-9A15-2866DCB87D7D}"/>
          </ac:spMkLst>
        </pc:spChg>
        <pc:spChg chg="mod">
          <ac:chgData name="Miao, Catherine" userId="2f80fa44-951d-45aa-8067-be181f1dab5e" providerId="ADAL" clId="{0B4EB35B-6BB5-47F6-B896-A58562075FF9}" dt="2021-09-10T19:46:12.007" v="299" actId="20577"/>
          <ac:spMkLst>
            <pc:docMk/>
            <pc:sldMk cId="2235950224" sldId="256"/>
            <ac:spMk id="570" creationId="{FE248338-9B86-4C4E-9AC0-173B433446CD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1" creationId="{9DC6D1DD-82B3-4F94-813D-017F06BA7044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2" creationId="{E12BE7F4-513F-4CBF-AAB7-CF3B8FDD96AA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3" creationId="{80FD8DC9-A9B9-41F0-8DC0-519C0A5A170B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4" creationId="{DAF7B9E3-3DAD-4EE3-95DC-DF8211453DF9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5" creationId="{1C29740F-E850-4813-AA18-8DBD3FA15AC4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6" creationId="{7D7F2640-3A7F-48AA-8681-34C91DC70527}"/>
          </ac:spMkLst>
        </pc:spChg>
        <pc:spChg chg="del mod">
          <ac:chgData name="Miao, Catherine" userId="2f80fa44-951d-45aa-8067-be181f1dab5e" providerId="ADAL" clId="{0B4EB35B-6BB5-47F6-B896-A58562075FF9}" dt="2021-09-10T19:50:10.340" v="327" actId="478"/>
          <ac:spMkLst>
            <pc:docMk/>
            <pc:sldMk cId="2235950224" sldId="256"/>
            <ac:spMk id="577" creationId="{0BACEACD-6947-409C-81FA-A012667F9BE8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8" creationId="{BA04EC5B-DF13-446A-8451-2C91DC314686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79" creationId="{13DBA49A-D584-4165-9319-445D08A3036B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0" creationId="{1494C64A-0F81-478A-BE92-A9FF0A1068F9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1" creationId="{5BECBDD1-B879-4F7A-B646-75C4DDBA8BD8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2" creationId="{B6B9CF83-3F89-416A-B361-0A2AA8D39C2D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3" creationId="{20071DF2-A716-4C14-BEE8-BAD087F3DBA1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4" creationId="{5CA414FF-E742-424C-B3BB-46FF1A26A68F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5" creationId="{FB7C94CD-BFC9-413F-A749-26EB39603008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6" creationId="{F9A865C7-AD2F-43B2-A740-B3120673EDD7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7" creationId="{6FDA19C8-F792-4F8B-8895-34987C7B0DDF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8" creationId="{213C96C1-19A7-4243-A3FB-B295E419D38C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89" creationId="{2643B6CD-7DBE-4E30-B06C-33A651C3D9B8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0" creationId="{1DF40BF4-6B24-46EE-92DB-8D8135F4BF57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1" creationId="{8F7BFE93-103A-45E3-9FC6-A31CAAB0C9A3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2" creationId="{E45AADE0-2193-4867-AE3F-F12C857602D2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3" creationId="{35ABDD96-3DA6-473B-952E-1725D08E9DF4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4" creationId="{4408547B-396F-48FF-8E48-964B0BF5A641}"/>
          </ac:spMkLst>
        </pc:spChg>
        <pc:spChg chg="mod">
          <ac:chgData name="Miao, Catherine" userId="2f80fa44-951d-45aa-8067-be181f1dab5e" providerId="ADAL" clId="{0B4EB35B-6BB5-47F6-B896-A58562075FF9}" dt="2021-09-10T19:45:15.393" v="290" actId="1076"/>
          <ac:spMkLst>
            <pc:docMk/>
            <pc:sldMk cId="2235950224" sldId="256"/>
            <ac:spMk id="595" creationId="{804B3B2F-8A95-4172-8DB4-BB58C4FF8247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599" creationId="{5005621B-EFF3-4D5D-B546-15FEAD1B0A20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0" creationId="{A604DD7F-A18E-4DDC-BDA6-45821C253D68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1" creationId="{635960E4-52D4-4394-8F92-7DE579148801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2" creationId="{73B506F8-DA8E-41C3-ABF5-53AC6FAC7E04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3" creationId="{050BC584-A7BC-48F4-8A85-0119B5D04C32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4" creationId="{02F443CD-D51D-4C88-BF9A-7F6B168ABC11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5" creationId="{6519CD28-0E82-4BC5-8017-1E6BC0C0FA79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6" creationId="{FF772F2D-898A-48FC-B3C1-2046DEF67EBB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7" creationId="{47AF7FAF-C2DE-4A35-92EE-5873DDC8F24C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8" creationId="{628AA249-8E29-447E-8273-B66B822C5048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09" creationId="{6F39FD37-6E72-418A-A551-C35022B24650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0" creationId="{0FCAE028-BC5D-4B02-8D87-ADECD5CCF478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1" creationId="{47B159D5-D531-4B4A-A2D7-3C4D6371A6DE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2" creationId="{BDA4D6F2-FAB0-49E1-ADF4-105E5B9F2B76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3" creationId="{CD52EBD5-A195-48C2-8204-3921EFF3C0B6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4" creationId="{678F8A3E-D0D9-44E5-AF91-91B057CE706D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5" creationId="{1F4CED9D-EB7F-44FB-9853-CFEA76705B08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6" creationId="{66F80841-5B51-4B1C-8379-9F5C2671A5F5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7" creationId="{4B801DCD-E9AE-4430-8AD1-7B9DD687B401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8" creationId="{BB24D549-64EE-42FC-8D5F-7CCFB3CD8551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19" creationId="{F952A4C9-4DEE-40E2-A3C9-9E1920089859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20" creationId="{D78D0D2B-09E3-4E31-9594-F0B2E74E417F}"/>
          </ac:spMkLst>
        </pc:spChg>
        <pc:spChg chg="mod">
          <ac:chgData name="Miao, Catherine" userId="2f80fa44-951d-45aa-8067-be181f1dab5e" providerId="ADAL" clId="{0B4EB35B-6BB5-47F6-B896-A58562075FF9}" dt="2021-09-10T19:45:21.008" v="292" actId="1076"/>
          <ac:spMkLst>
            <pc:docMk/>
            <pc:sldMk cId="2235950224" sldId="256"/>
            <ac:spMk id="621" creationId="{649F5686-4ADA-4464-B942-93EA3A145E69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3" creationId="{A9861AE1-81D8-4370-B53D-312E214DDA21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4" creationId="{98344F23-4FD0-47F9-98B6-05C237435666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5" creationId="{847033DE-4004-4080-AE9E-54CEE3A5EC5A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6" creationId="{73702198-056C-4B04-9B84-6709C5BF61A4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7" creationId="{5FFEF305-02A3-4DA8-83A6-3683FCA8CC87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8" creationId="{CCA2EEC8-80B6-4EA4-AD82-7422609464F0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29" creationId="{B3531420-ECD0-4B2C-AB24-8B7D82E3389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0" creationId="{B5E398A6-EDE5-45B4-8F3B-BF34D949715E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1" creationId="{BE1BE884-0A50-4556-8912-DF271D774E39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2" creationId="{50602C3F-B982-469F-8634-86671D74C200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3" creationId="{01BE5B70-76C9-4983-8817-F23CE4DB457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4" creationId="{50BC14A8-B5CD-4804-90E9-014B90743C42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5" creationId="{A4A5E1B0-2F3A-4F5A-86CA-F3205AB7EAFD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6" creationId="{B5214F63-A1E3-47AA-B95C-DDBBF945D923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7" creationId="{66C4148B-57D9-420B-B253-E23D601C4722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8" creationId="{42687362-A5E1-4333-8593-12931343F17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39" creationId="{E0CDEB95-33C0-4B39-884E-4B9074F0A667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0" creationId="{913D88AA-9BAE-4A42-9B15-66F145A58E6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1" creationId="{B8E5D453-2EB9-497E-86A3-C48B32F47631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2" creationId="{0A9A67F0-3227-4585-97EA-D521AB5D3AF7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3" creationId="{4B116872-C5EC-45DA-897A-2AAB55C93CFB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4" creationId="{E8C388A3-0986-4F77-BDB2-0A41A03A74AC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5" creationId="{5B51BCFB-6ADD-453D-B8BD-4B666FEF0659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6" creationId="{DDA37F72-0140-40B1-B99D-78AB36FB68F2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7" creationId="{0C70F2A4-0ADE-450B-9B1F-2CA05AD7A948}"/>
          </ac:spMkLst>
        </pc:spChg>
        <pc:spChg chg="mod">
          <ac:chgData name="Miao, Catherine" userId="2f80fa44-951d-45aa-8067-be181f1dab5e" providerId="ADAL" clId="{0B4EB35B-6BB5-47F6-B896-A58562075FF9}" dt="2021-09-10T19:45:50.635" v="298" actId="1076"/>
          <ac:spMkLst>
            <pc:docMk/>
            <pc:sldMk cId="2235950224" sldId="256"/>
            <ac:spMk id="648" creationId="{01731CE3-DBF4-40B7-B1F3-5F6C9D3B9893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1" creationId="{4828D803-996B-4C0A-9A06-F7BA275E294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2" creationId="{28547ADF-91C7-4F7A-8808-20308360A96A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3" creationId="{3936278E-A9E4-4EC6-8C0C-3871392D4FCC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4" creationId="{371F3D7E-89F7-4720-9736-4B858795A160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5" creationId="{5A5FB703-C2A8-44ED-91AB-4FBAEC1AA70B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6" creationId="{087EEB65-4607-4AA1-8F1B-8FA2EC367C2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7" creationId="{12BDCEC0-FB94-4C3E-A540-4C187E724D1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8" creationId="{7FD352A3-0548-436B-85DE-27C4F98C79E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59" creationId="{22DC3C20-B3F5-4145-B8DB-8AC7C0456A2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0" creationId="{65F21E6B-74AD-45E7-A0D2-9741C5440345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1" creationId="{C3E482A3-4B47-4105-B9E1-906823D35993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2" creationId="{E8CF7A9A-6EE6-4258-973E-E9978CE7EFA8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3" creationId="{3712E34D-0A45-45C6-9B3E-E11C0D271982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4" creationId="{704DF05F-9D3D-42FB-B52D-E9F41A9D9C5A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5" creationId="{7E940BD7-2ADC-4D47-80CA-EFF85507DC7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6" creationId="{61811E8D-563A-4BEC-9B56-9CF1933CC67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7" creationId="{F15A7CDC-F651-42DA-9A8F-9AD8A9E38E9E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8" creationId="{886C5114-67A7-424A-B92C-5336BEE1C3B8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69" creationId="{2D89AC40-20B5-4FED-A3CD-9F3806CD2591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0" creationId="{4D8FD440-AEBD-465D-8357-A087C524DBE1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1" creationId="{CC21AA85-243F-4FA4-955D-B3B463C3A200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2" creationId="{623A8F01-BC20-4225-B95B-CD9F416B09A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3" creationId="{7BD6E353-3D17-4A03-999A-616CA1274083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4" creationId="{292891AE-CBC4-4871-BD31-BEE93264B261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5" creationId="{4C9D85F1-C56F-47FF-801F-E07F8359F7B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6" creationId="{2AF85F69-B21C-4B02-90C6-F2DC91AD4EA1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7" creationId="{73E7F68D-B2B4-4EA6-9457-9395ED73925A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8" creationId="{D09A2A02-F013-4368-A1EC-0A3BEC8087B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79" creationId="{6594F790-47B2-4056-B3F2-67F3897E56D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0" creationId="{9359550F-394D-469A-96A0-189398FE0C6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1" creationId="{B89B5C59-5DB9-451D-8127-E58E425A940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2" creationId="{C10E3D0F-0E7B-434C-ADA6-9432D4575642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3" creationId="{DB914362-54F5-4C4A-A9D5-7EE788128B9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4" creationId="{801E84AE-2002-4BBD-B3C0-306016F3309C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5" creationId="{74590E42-689E-444E-AB99-B75232014CAC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6" creationId="{FB3F1C55-FB33-43AB-AFD6-505243C78ED6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7" creationId="{59E1F007-7675-4047-ACF5-B5BB7066754E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8" creationId="{363D02D0-1D18-46AA-9A24-07B36D45A71D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89" creationId="{0A0199CE-F029-47BD-8F1C-40B756185A0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0" creationId="{6876F56B-D67E-493A-975B-D3E9D52BF7D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1" creationId="{C6D4CA4C-476B-4C1D-BB4E-342F015D883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2" creationId="{8A37F106-B378-4C9D-A4BB-3CDEB2F50808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3" creationId="{D787606A-FBA3-49F3-9651-63DDCD40BF3C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4" creationId="{3DCA8A6A-0124-49A7-8316-95F0DD4E31C0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5" creationId="{5808DF6B-3EB0-498B-8050-6BDAFD081FEE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6" creationId="{7ABC1E40-BE51-4B6B-86D4-C3A5E6D3366F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7" creationId="{931C8644-BE58-41FA-9B3F-319EFD13DF34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8" creationId="{8B90A299-6998-4140-8724-E861424FA44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699" creationId="{C196EA3E-7490-494E-919B-A06D0884F23B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700" creationId="{793FF1B3-83B1-4458-90A7-FEA4E8675BEE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701" creationId="{44BBFBC9-2CEE-4306-B33F-AF28FCAFE219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702" creationId="{94577ED2-73D7-4CF8-B5B9-D1B0AF06B290}"/>
          </ac:spMkLst>
        </pc:spChg>
        <pc:spChg chg="mod">
          <ac:chgData name="Miao, Catherine" userId="2f80fa44-951d-45aa-8067-be181f1dab5e" providerId="ADAL" clId="{0B4EB35B-6BB5-47F6-B896-A58562075FF9}" dt="2021-09-10T19:45:44.774" v="297" actId="14100"/>
          <ac:spMkLst>
            <pc:docMk/>
            <pc:sldMk cId="2235950224" sldId="256"/>
            <ac:spMk id="703" creationId="{04FB0640-4B02-4D5E-8592-88366647094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5" creationId="{05C517F9-81DE-41E7-AEEE-8E6F2422A5F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6" creationId="{9B3219AA-D7C2-4721-8D54-D83AAA9D920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7" creationId="{06356CB0-C4F5-45BF-86FA-42252D892844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8" creationId="{E5B9F1D2-2570-4F21-BE88-AA2C46D96145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09" creationId="{9737BB65-C440-4506-952A-9FAF6C3FEA83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0" creationId="{442723B5-BFB0-4B09-BEB0-7F46DEC127A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1" creationId="{BEA4A27D-B864-4C4A-A878-E5192C621F5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2" creationId="{2959E8BE-FB6E-4A02-B12A-A33743F96B4B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3" creationId="{4C6E97C3-BD1B-462D-804D-154760C5B629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4" creationId="{0B3DAFBE-E319-4A69-9E03-DB536449FD77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5" creationId="{6FF718CA-32D2-4585-ABD2-4D154297C63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6" creationId="{587895A1-ACBF-4E7B-A584-0BE146BEA13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7" creationId="{6EB8226A-075B-4C05-8F0A-941BE958E3AE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8" creationId="{ADFBBDE7-085B-4DFE-A7B7-19DDFF34AF9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19" creationId="{1A647AFA-25A4-4DA2-9693-3422C550CD6E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0" creationId="{977FDE30-07FF-4C98-B34E-9D7BB8FB681B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1" creationId="{8E7CA4E9-A78F-4C51-9C53-416C0A32502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2" creationId="{52E69ADA-DAC4-4844-8EEF-11F1CBA7B479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3" creationId="{54A62536-A736-47F6-BFC9-7A23FC1561EB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4" creationId="{F0B023D2-8FB2-42C0-B977-74600EFEE5B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5" creationId="{FD6CFE2F-1D30-4F73-83E9-761952103FCA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6" creationId="{D039E72B-4611-4A37-83B5-5B25A8C0FB1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7" creationId="{CA6651B9-C478-4065-BE76-508661829EC3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8" creationId="{34211D32-123D-475F-A7FB-F9A8344D1FA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29" creationId="{A7AD3AA4-0179-46DF-9774-971E3C462894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0" creationId="{D4A5FB71-CF3E-49C1-ACBF-7782EBAD819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1" creationId="{64A85FD9-AEA1-4555-9C82-D1F8440DA15B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2" creationId="{32B29F9D-2093-4030-BD09-93EB3522C593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3" creationId="{079C89BA-210C-4B42-992A-C68EFF1849F5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4" creationId="{D5F5BC55-0F4A-4119-8C71-FAF4E12F0C6A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5" creationId="{41E4E92E-081C-457F-A235-B73818BADD8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6" creationId="{58C3317C-DB27-4200-B3A8-D46439D2AA44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7" creationId="{33345DBD-B81D-464F-9719-C53D8A59D6AE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8" creationId="{C07B4845-80CE-47A2-A711-026824BA733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39" creationId="{7D42870E-2EDF-4FF3-B9A5-FF0C2737E4B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0" creationId="{8F0836B8-9900-4604-A4D0-54A445C8F8EE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1" creationId="{55C4C105-3774-43F1-8BEA-EB227EA1A2B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2" creationId="{E8701C25-6759-4B41-9C0A-45B9F7D8BA5C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3" creationId="{08CF3759-A12E-4A4C-9183-7C1A4702146A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4" creationId="{858000FC-6EFA-4266-819E-9C6F5CD392E0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5" creationId="{D87C480D-2C3F-4E41-A8CE-CF8DCB605FA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6" creationId="{788B4B27-470C-484B-955E-17FD72A2AC81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7" creationId="{2D99380A-0EF3-490C-BC7F-E17A18328212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8" creationId="{66823473-8DB7-4463-A30A-52997B5529B2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49" creationId="{8185A705-6834-41E4-A39D-11559B0C00B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0" creationId="{1DAB8AFB-8B4F-431A-B22B-068F66904F6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1" creationId="{C05B5FEC-F769-4041-ACE3-DFC7C5994DB0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2" creationId="{6A11E4F6-E5B6-4D6D-B2BE-1E9C322D9D0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3" creationId="{F506832F-3AE7-4716-8E33-B2754651D66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4" creationId="{8F1EB2A6-B1D7-4D99-857D-3F5C46912AF1}"/>
          </ac:spMkLst>
        </pc:spChg>
        <pc:spChg chg="del 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5" creationId="{AD1D33FC-6B42-4593-A153-F8B39989D47D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6" creationId="{F5957CCF-115D-4FB0-A957-55BB72801A6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7" creationId="{C3A016B5-816E-4830-BD3A-CC8537EE1328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8" creationId="{DC344E00-7DC1-47D1-8475-4A6116200D2A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59" creationId="{B329008A-77B8-444C-AF3D-B2E08F669D1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60" creationId="{A75B2071-4EE6-45C8-902C-8614194BF776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61" creationId="{C8715896-F44F-43A6-AD6E-1FE3BDA3881F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62" creationId="{A15EDB38-7966-45E9-ADB0-3A98F45D2611}"/>
          </ac:spMkLst>
        </pc:spChg>
        <pc:spChg chg="mod">
          <ac:chgData name="Miao, Catherine" userId="2f80fa44-951d-45aa-8067-be181f1dab5e" providerId="ADAL" clId="{0B4EB35B-6BB5-47F6-B896-A58562075FF9}" dt="2021-09-10T19:51:19.294" v="332" actId="478"/>
          <ac:spMkLst>
            <pc:docMk/>
            <pc:sldMk cId="2235950224" sldId="256"/>
            <ac:spMk id="763" creationId="{D8C0E198-6961-40F0-B5B3-5830C0E7128F}"/>
          </ac:spMkLst>
        </pc:spChg>
        <pc:spChg chg="add del mod">
          <ac:chgData name="Miao, Catherine" userId="2f80fa44-951d-45aa-8067-be181f1dab5e" providerId="ADAL" clId="{0B4EB35B-6BB5-47F6-B896-A58562075FF9}" dt="2021-09-10T19:57:31.789" v="421" actId="478"/>
          <ac:spMkLst>
            <pc:docMk/>
            <pc:sldMk cId="2235950224" sldId="256"/>
            <ac:spMk id="768" creationId="{EAE291D3-177F-4094-9C33-650F7D8BDB45}"/>
          </ac:spMkLst>
        </pc:spChg>
        <pc:spChg chg="add mod">
          <ac:chgData name="Miao, Catherine" userId="2f80fa44-951d-45aa-8067-be181f1dab5e" providerId="ADAL" clId="{0B4EB35B-6BB5-47F6-B896-A58562075FF9}" dt="2021-09-10T19:58:17.870" v="443" actId="1076"/>
          <ac:spMkLst>
            <pc:docMk/>
            <pc:sldMk cId="2235950224" sldId="256"/>
            <ac:spMk id="769" creationId="{D5B19033-C546-49D2-BD3C-97D7E317A41B}"/>
          </ac:spMkLst>
        </pc:spChg>
        <pc:spChg chg="add mod">
          <ac:chgData name="Miao, Catherine" userId="2f80fa44-951d-45aa-8067-be181f1dab5e" providerId="ADAL" clId="{0B4EB35B-6BB5-47F6-B896-A58562075FF9}" dt="2021-09-10T19:58:20.301" v="444" actId="1076"/>
          <ac:spMkLst>
            <pc:docMk/>
            <pc:sldMk cId="2235950224" sldId="256"/>
            <ac:spMk id="772" creationId="{2ED2AB66-5CEB-493B-B098-A2841CE4FFCF}"/>
          </ac:spMkLst>
        </pc:spChg>
        <pc:spChg chg="add mod">
          <ac:chgData name="Miao, Catherine" userId="2f80fa44-951d-45aa-8067-be181f1dab5e" providerId="ADAL" clId="{0B4EB35B-6BB5-47F6-B896-A58562075FF9}" dt="2021-09-10T19:58:41.997" v="458" actId="20577"/>
          <ac:spMkLst>
            <pc:docMk/>
            <pc:sldMk cId="2235950224" sldId="256"/>
            <ac:spMk id="773" creationId="{E0A7AA07-26DC-457E-83E2-61C0954FB6B6}"/>
          </ac:spMkLst>
        </pc:spChg>
        <pc:spChg chg="add mod">
          <ac:chgData name="Miao, Catherine" userId="2f80fa44-951d-45aa-8067-be181f1dab5e" providerId="ADAL" clId="{0B4EB35B-6BB5-47F6-B896-A58562075FF9}" dt="2021-09-10T19:59:16.769" v="474" actId="20577"/>
          <ac:spMkLst>
            <pc:docMk/>
            <pc:sldMk cId="2235950224" sldId="256"/>
            <ac:spMk id="774" creationId="{52DBEFD8-6ACB-4666-9357-38FFE2951CF3}"/>
          </ac:spMkLst>
        </pc:spChg>
        <pc:spChg chg="mod">
          <ac:chgData name="Miao, Catherine" userId="2f80fa44-951d-45aa-8067-be181f1dab5e" providerId="ADAL" clId="{0B4EB35B-6BB5-47F6-B896-A58562075FF9}" dt="2021-09-10T19:58:15.389" v="442" actId="1076"/>
          <ac:spMkLst>
            <pc:docMk/>
            <pc:sldMk cId="2235950224" sldId="256"/>
            <ac:spMk id="1195" creationId="{62B7CDE1-0902-4C61-B4DE-97766E505AD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199" creationId="{DFA5AF0A-239E-4D1F-A219-464100536A4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0" creationId="{96792143-2428-44B0-8323-D9E76577E93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1" creationId="{66A7C369-72B8-46B0-B9C5-DE867996834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3" creationId="{FB4C98FC-D64C-4AD6-983F-0A8FA3080E6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4" creationId="{CFBED3CF-824C-40B5-BBC4-26B229B5DC1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5" creationId="{2592CEC5-E604-4837-A9B5-5B18C3258F6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6" creationId="{CC7F7E12-D8CA-4722-85D9-9B713B95E89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7" creationId="{A2E2B2D9-7DC2-4AE4-845C-BDD513CFA14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8" creationId="{001D024D-38FD-4B3C-9678-48A1747845C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09" creationId="{9E648182-9426-4017-A743-9B3D04D4571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0" creationId="{9B549BF0-17CD-47ED-9824-C0269A2E3C0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1" creationId="{9BABADE7-D323-4BB0-BF73-8E63406E4E4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2" creationId="{91C223B6-B84C-4485-A0B4-CBBFC842EFC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3" creationId="{8C4F2434-EB3D-4ED4-AE0F-322453BAEC4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4" creationId="{4529FF45-1F5B-4DDF-AE04-3289A6A2416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5" creationId="{F7A721EF-D5C7-4A6F-9577-3564AA07DEA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6" creationId="{58A14BC4-99D5-4C13-9B8A-B738179300A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7" creationId="{795D2C91-EC47-49DF-B64F-722ED3919DE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8" creationId="{F97B38BA-E2EC-4E5B-8BDE-589DCB03726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19" creationId="{6EEDD684-695A-472F-A9BC-DFC6D833987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0" creationId="{74A259F7-98F1-49FC-87AB-9AFEC23A03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1" creationId="{F47E0B8A-83CD-4143-95E9-CF371B70939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2" creationId="{30D1CF62-83FA-4200-B194-88AEF630E0D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3" creationId="{7C011DC6-D2D3-4AF7-9299-7733BF4B822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4" creationId="{42B26971-E0AA-4C06-ADDE-A4217F68F78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5" creationId="{F754CE18-3A15-45C0-98DB-B83C67C063F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6" creationId="{ADD6C984-320E-4978-A10B-A350AD78E40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7" creationId="{23BA305F-F28D-40AD-A23E-D014EE2F062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8" creationId="{2B889981-7BD7-4793-BE57-E6D082665F2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29" creationId="{3AC15496-F031-492B-8D60-1D3358D2C2A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0" creationId="{1CBC745B-C939-4796-BAF4-69DD7028F0B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1" creationId="{313F0F53-A53D-4905-A3E4-2FC7F120E99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2" creationId="{44610404-497C-4E5A-AE16-1BDF700BAE7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3" creationId="{840111C0-4077-4B86-8960-4BAF3162954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4" creationId="{65CAF16D-79F5-4951-9690-C005273A376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5" creationId="{1A1E52BC-9300-4A6E-8C69-7DF598B511C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6" creationId="{9211731E-15B9-4801-BD08-E60052EC9A1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7" creationId="{B776F03C-6271-4DAF-9EFC-778470C3888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8" creationId="{082A91FA-C2E2-4DC0-B6FE-51F18D60D7C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39" creationId="{C32FBA0F-03A2-4126-9E49-04BF77471E5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0" creationId="{9E50EB8A-4D0F-4394-A3B1-0C1FE1CD7AE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1" creationId="{C8D51918-DDED-428A-8391-3C84F0513D8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2" creationId="{D60CB9B2-FF5E-476B-8DA4-860F2A82FFC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3" creationId="{19E4D563-4A75-4DE1-8397-9B09152A80F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4" creationId="{2C72585F-A864-4040-B621-0C3AB81ACFA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5" creationId="{7605B1D5-D7BE-4C4A-95AA-10432221725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6" creationId="{579DAC30-AB5F-48B9-8AC1-E2215D28890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7" creationId="{DC1F1739-912D-4489-85FB-B3EF0BA7898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8" creationId="{ACBC6794-5DA5-479D-9A82-2D1BCF4F3BC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49" creationId="{C3014648-EBA1-4DF7-8519-6D04AABABCF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0" creationId="{51D9DB65-56AC-4D92-BE4E-51E1C0331AB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1" creationId="{6CDCDB90-BBC2-4809-A76C-33063774515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2" creationId="{9DD851FE-E2DC-4139-ACBB-0069D258101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3" creationId="{A944A87E-7351-4121-994E-916E91CD869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4" creationId="{6005420D-5641-4525-9485-25DD3982437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5" creationId="{1D9623CC-C1ED-4F48-A449-486FD9711CE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6" creationId="{FA4A87E6-3987-49F0-AE53-F13EC034808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7" creationId="{51AF61C0-3D10-414A-8DD5-17D6CBF9A2B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8" creationId="{752B5399-FC7C-48B5-B37E-30DC0978139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59" creationId="{F25C8399-BBE3-4F26-AB82-2556A0C5162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0" creationId="{E4C57CDC-8353-491C-8F45-024B34E3BA5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1" creationId="{A6189D23-9A4B-424A-9CAE-093D82EB01F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2" creationId="{96FB3AA3-7599-4AE9-BEA0-CB00CCBF036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3" creationId="{6F9C3331-EE8A-4021-8231-EA557902054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4" creationId="{69640E67-CF09-4298-BA6B-9FB8DEAE959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5" creationId="{FC76122A-BC01-48A1-A75A-6D404A08871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6" creationId="{7D3CBF85-A562-447B-8FF2-BA2947DE5B4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7" creationId="{361AEFF4-CF7C-46BB-85B6-0B450BE61BC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8" creationId="{6D7998F6-A664-407F-BBBC-EEC17D8A185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69" creationId="{C68CFA22-E030-4CA5-B184-62E5FC2FAAB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0" creationId="{7F656E6C-D869-4F9A-90E9-887678C4AE1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1" creationId="{D9343D59-3EB6-40C7-8476-BC1B4648B23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2" creationId="{C590CF76-B46A-4424-81D2-43AF8E79AE1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3" creationId="{C6B9B8CF-D610-4312-A783-B0B1BCF346A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4" creationId="{24573477-A71C-4AFE-AF2A-88329123850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5" creationId="{1CFF0041-4610-46D4-BD54-40021A7874B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6" creationId="{E6FD89BD-F5B1-4A5E-8653-07C0D0AFB40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7" creationId="{EBCFF668-1B60-4754-97F0-524E9E9D580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8" creationId="{7CAD8FAE-485A-418D-85AF-883BBF782D7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79" creationId="{2A72788A-3286-422B-B58B-66209FCBFC6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0" creationId="{BA5D3E20-677D-4EC0-B745-CB79907EFD8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1" creationId="{AFA864C1-DB3A-4D29-B6E1-FAD4EED9F86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2" creationId="{421ED91A-C243-4B82-B5DD-9FB772AEC22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3" creationId="{41EA8A54-ACD1-4655-9951-30A319062BF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4" creationId="{06282367-4AB6-49E5-AA23-6F33EB99344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5" creationId="{54725C11-3186-4479-8748-F2C1BC702B5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6" creationId="{B9CDD0F9-1176-4D9C-9181-A636D57CD98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7" creationId="{F68DDF3D-BF9A-41C3-8361-A4E884326B1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8" creationId="{3C8D3449-DBB0-4B04-9E85-D8662F3E66A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89" creationId="{DFCE4118-AC06-4575-8B3B-F1EA38C01AA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0" creationId="{C5AC496C-CB29-4CC8-A59E-24FBA07BD3D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1" creationId="{3DD17529-0381-4728-886C-851D638F7E3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2" creationId="{DAC106BA-E66F-489B-A922-A60E9172CAA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3" creationId="{89A26335-69DB-4F81-929A-48CB3A25771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4" creationId="{E53FF2CE-2323-40C2-9277-A9D6F7BB6E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5" creationId="{489479EE-9DB5-4E61-88DF-3CD909E583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6" creationId="{5910A799-D8FD-4A17-8ED2-48E513EF0D1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7" creationId="{8D68B9B6-9E21-4F9F-A0D6-23D6FDC62CC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8" creationId="{AF959FA4-CB65-4101-B232-3685A05E1A8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299" creationId="{5FC9C2C6-9CD6-49C8-B9E1-9410C103CE2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0" creationId="{26804341-9605-48A3-B1D1-30A9D784609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1" creationId="{C68CD886-5906-471B-80FE-714D25650AA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2" creationId="{AE6685DD-350C-4A8D-BDFC-C79867EF47F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3" creationId="{1BEEE073-657C-4C00-BB21-39DCD5DDC69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4" creationId="{D471571E-FF64-440E-8A3E-D6C4EF1BE19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5" creationId="{22A38310-317B-41AE-A44B-52DF2968F71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6" creationId="{99FC8F8F-6FF1-4F71-A9D2-8DEBEFEB675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7" creationId="{1A8B8559-D8FF-45A7-B5B6-04945D31871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8" creationId="{5BABDFAF-B4D5-491D-95F5-9D80AA56A4C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09" creationId="{DC9A4E43-5060-4419-B1E3-EAFEE1883D6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0" creationId="{17D3B7E8-C9FF-45BD-8CB0-8EBDA9E62AF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1" creationId="{C9BC6E85-00FE-49E7-BACC-DA0F53D984D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2" creationId="{A3962397-EACE-481E-9F57-45F61EF6F99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3" creationId="{CBE80013-F738-4179-83AE-CA139CF4315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4" creationId="{0524DFD3-0749-4D75-B022-E462E9A09F6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5" creationId="{AC869156-B945-458A-AC72-413E6C977DA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6" creationId="{F12CB0BF-C98E-4DE7-9750-942B4E05AAF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7" creationId="{1DFFECC7-1100-474C-BCD2-C824132BD4F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8" creationId="{93D5375F-E344-461D-A14C-6837C2357C3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19" creationId="{A4C08AE9-BAA8-47C9-AB73-047FEEE9A8A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0" creationId="{B48D8279-4310-4FE8-880C-5B616281CFC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1" creationId="{D229A8AE-27DB-44B4-8129-32AD34249B7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2" creationId="{DAE7E3D1-34E8-4E21-B6AC-D78F48499F3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3" creationId="{BB0CDE9C-7A1D-435D-9AC1-2A422A31C28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4" creationId="{7EDF5CB6-751D-4629-88D6-8560B025AE1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5" creationId="{D0455B1F-290C-46B0-994D-0940DE8099E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6" creationId="{9FFCF1FF-F83F-4A64-B00D-439757F6E9F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7" creationId="{FFFC3104-70CD-46C3-90D4-E99810DA086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8" creationId="{0E64148B-CD9D-4EED-92E3-980AAA8903C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29" creationId="{C2AB727A-B6DB-45F6-B1DF-D257156A902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0" creationId="{4B1CA10C-A16D-46D6-B851-0A66A98F96C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1" creationId="{8CC98397-B672-484B-ABAA-8E53C491321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2" creationId="{44BAB688-8624-46D3-9087-72D53B2DA07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3" creationId="{A950A207-34B5-47B5-BF10-79EA9B0FB95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4" creationId="{3798F637-49F7-4825-A314-EAAAB5BBBBE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5" creationId="{60F5ADEB-BBDA-4E7B-B977-380486D808C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6" creationId="{C2E29D16-8973-4BB9-BA06-4922DCEC25C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7" creationId="{433751A0-0337-48C0-B447-811CF075801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8" creationId="{F8897622-2951-4171-AD16-6E19C50544A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39" creationId="{D013C48C-A28C-4224-95A0-5E35233966B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0" creationId="{70CF90E2-5DFC-4B09-BABE-FD06D76FE62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1" creationId="{10C82FEC-765B-4977-B428-DC42623B39A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2" creationId="{F252A6F0-ECEA-4DA5-8BC5-CAB4D59C948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3" creationId="{A5091F19-C9E2-42FE-8403-39F7C06DEF6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4" creationId="{1177B8B7-641A-4D9A-B5FC-D12036EF05C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5" creationId="{A07B89B1-8A76-420C-9B0A-9C630D31735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6" creationId="{1D48A699-75FF-4948-8236-EBEFAF054C1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7" creationId="{422F1867-7107-43F1-BB7E-021D999E709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8" creationId="{CA658862-B59E-4F3F-8895-95C2DC4C0A7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49" creationId="{3841934D-83CD-4909-88CE-41146399888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0" creationId="{AC52447D-2F92-48CD-B814-9DCF57DF720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1" creationId="{443A80F0-BA02-46AF-A853-1B49681BE98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2" creationId="{A425D1C9-9B25-4CAE-A4E9-E66F3E9F100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3" creationId="{3A0DC590-44DA-4A46-A6B3-DD804310731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4" creationId="{051A42BD-9D5B-4BE6-B050-CAE7E5ED699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5" creationId="{9E951CB5-B354-4FFC-9BDF-447158ED6EA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6" creationId="{376D9C5E-CC28-45D9-B722-903F067952C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7" creationId="{DFC63DFE-39D4-48FF-A5B7-19C69C5558F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8" creationId="{EEE5D6DB-9E35-41E5-BC61-05B60253AAD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59" creationId="{AA9AF70F-CFDF-43D8-A43A-7A96277A3F9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0" creationId="{5FA0AE22-D8F1-4346-97EF-A3C356DEBB0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1" creationId="{72ED3880-8298-4386-B950-2DDABEB1C67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2" creationId="{B1D29E8D-069F-48D5-B24E-5C4DA256EA1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3" creationId="{4870932A-6BD3-4A89-8BF6-634AE7E83A5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4" creationId="{0E8CCE07-ECE8-4D8F-8E67-5A9519C73FA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5" creationId="{1CF6AA56-5A26-441A-BCB4-FE2281CE878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6" creationId="{F800BA38-F945-4D88-8A64-C0A8F00842E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7" creationId="{15CA9DAD-CABB-4AD0-8400-64571ED306A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8" creationId="{1E1BE714-B954-4653-8471-F9C9160B9E1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69" creationId="{AD8704BE-53FC-4167-A682-9F50305A547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0" creationId="{5ADE4DA6-5BB7-4D20-8B45-779A22B96D0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1" creationId="{C3A2B34E-AA63-4313-B455-962A33214C3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2" creationId="{1F53A791-8083-4B90-A537-0374D75A053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3" creationId="{5F2C43CF-A850-4A60-AB7E-BCC6F1E57DE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4" creationId="{023D2B5A-48FB-41DB-A1F2-4934EA4F508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5" creationId="{33AF6D11-1DFA-4FB4-87E4-EBB3F60C6C9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6" creationId="{89AFD964-7148-47D6-86E0-09815801EE9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7" creationId="{596BCB5C-822C-489A-BD6A-EB0D6805B52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8" creationId="{E73E8972-1BEE-4800-B027-40F76E5868D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79" creationId="{320CBD06-71D5-45C0-8B44-F008B7842CF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0" creationId="{C45C74CA-2D72-4BAF-B1FB-A22223FBFA6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1" creationId="{800CA9E1-2584-4536-AFD2-BA18490F70F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2" creationId="{3E5C4064-CD2F-42B3-BA77-0B79AFDCBB6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3" creationId="{7B0BF86C-F676-4AE9-902A-7C5D1EDD74E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4" creationId="{CCB32A02-E563-4AD3-B071-4BF867EECAF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5" creationId="{CEA8587D-E544-4AB7-841A-B395815344D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6" creationId="{72FB65CF-24E3-4A50-A06A-5EAECA9C06C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7" creationId="{88A853C9-81C9-4455-9BC6-3C75DF0783C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8" creationId="{3E0D2D6D-7908-4B65-B9FD-8517E767E2E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89" creationId="{085C0663-0280-43CE-AE88-2C5FA9C6303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0" creationId="{47803CD9-AA23-4B66-B470-6A8E9804727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1" creationId="{62E49FEB-4CD8-429D-8218-994DFAB6CAF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2" creationId="{F43F5E69-1AAC-4C6A-B7A2-D9949F9B64C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3" creationId="{8F10DFE0-401B-4A35-A878-16E1B1475B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4" creationId="{57E590B1-22BD-4C7D-ADF0-34BD3C2FE7F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5" creationId="{4F385A21-4C7B-4A29-9041-F9C902CA030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6" creationId="{5E11C9D1-A0CC-4C85-A6B0-3E7988F4F54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7" creationId="{540F9B9F-04F8-4AA4-8F13-C06256FD1ED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8" creationId="{4E1287D4-59CA-4652-91BC-18478D02FB5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399" creationId="{3B88394B-B644-4C48-A086-A8DC5692752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0" creationId="{492A187F-C8C5-432F-8DCC-B46DD92EF92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1" creationId="{D98EA3A3-FCF2-46E9-91B1-2440CA4E92A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2" creationId="{7C99C1C2-E9BF-4E1A-ACD0-D78AF948FCA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3" creationId="{E471D7AD-2F8F-45E3-AE9E-9E4AD7AEFE2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4" creationId="{63382CD3-99B5-4AEA-BDA2-EF82866FA66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5" creationId="{27A8C9B4-11A9-44F3-A785-C7E40B83C56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6" creationId="{FB1E91D4-63C0-42BB-9F7E-F5E0990C0DB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7" creationId="{EB0D09F3-4892-484D-80A5-48F2990A18A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8" creationId="{5EB476E5-C86F-49BC-AE69-C59A8928BC7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09" creationId="{E8D49D85-DA01-41E8-AE03-6AD81AA11EC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0" creationId="{4C279946-F819-4E21-B3ED-4EFF32AE2A9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1" creationId="{DF52B2F9-A2CD-4A9A-8D5E-1FAF374BAA2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2" creationId="{7E60BAC5-1B21-48E9-87E8-6C291129C3A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3" creationId="{B205C1A0-7344-4892-96ED-4E788E4211D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4" creationId="{65076A17-797C-4E75-B83C-1F30524649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5" creationId="{CF5ECF67-61F4-4CD2-B62C-74190792BDE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6" creationId="{0AFCCA4A-6A83-49C1-9049-D685D4B224B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7" creationId="{1EE1C429-0921-43A7-A7DC-99D3E0D0F22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8" creationId="{2BD16D5C-4571-48D7-862E-6C8DCD7F100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19" creationId="{6F9FE19C-8266-4AD2-AD61-30FEC5E501B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0" creationId="{82863778-31F6-48C7-A90B-4B251A17732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1" creationId="{81DFCDE7-429D-43A4-BB61-ACC77BD7942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2" creationId="{57DA8B38-DEE0-4D75-B06A-608A448A6CA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3" creationId="{BBCEF936-F6E9-4F60-A5CE-21B957BB1C0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4" creationId="{EE96DF63-D44B-4329-87F6-9C0934C6217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5" creationId="{EEE903B5-61EA-42AF-BD0A-187EB4F4D4E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6" creationId="{F79017D8-7AAF-4D60-8FC0-FDA4CBB1935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7" creationId="{A454E4CD-A473-4CF2-B185-5794E30DBB6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8" creationId="{58AA4B36-F9D7-4312-BDD7-CD39CE730B5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29" creationId="{F06ECC86-045A-44DA-BA92-58AE3B99727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0" creationId="{C68F216D-9F02-4542-900F-3338C03F7B6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1" creationId="{2008BD5D-DC68-43C6-8635-72A46DF4294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2" creationId="{16DCC68C-9D49-484B-9977-2D974F61CA1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3" creationId="{0D3240B4-0D4C-4F13-813C-2EF4E18C4AC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4" creationId="{6BBBA929-0AA1-454C-97BB-B7AA507E096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5" creationId="{70DF35B7-34B9-46B4-A010-FA86C36602A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6" creationId="{EEF7BB26-5623-4D8A-928C-4E3ACF25905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7" creationId="{D122B0C3-1486-4E69-A845-D0B2704F253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8" creationId="{1628174B-6E01-4D78-B4FF-52394B93D8D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39" creationId="{A66727EA-D8AD-4166-BB3A-4CCC9CBD073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0" creationId="{5B42F308-51EE-4193-A9D1-0D23D9844B0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1" creationId="{3343A220-1171-40AF-8B93-DF9BA7E11FA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2" creationId="{201A027F-54D0-4727-B7F2-304FDA61649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3" creationId="{F64C4453-44F1-468E-97BA-67CB28AA248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4" creationId="{A41290BA-0077-4A0D-B7E7-5B0FF91FD63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5" creationId="{343F32F2-3854-4289-8754-A37F38F6CC7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6" creationId="{B5C4E83C-A328-46D5-A6B0-79D16CEF520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7" creationId="{18D3939C-677F-4E9A-9EE9-283B994AB5A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8" creationId="{8B4D5005-2DF9-4682-8C03-03A47F1CB4F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49" creationId="{52F6CB5F-DC0A-4777-9E0D-234EDB53B8B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0" creationId="{8F9EA6B7-DC5D-4CDE-AE75-B745A62D908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1" creationId="{2C510CFE-D0EC-425D-A86D-D5755E03C5B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2" creationId="{5BD34AE8-01D3-41E4-B965-D2DEFBE153A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3" creationId="{B13F9AF0-399B-4AC3-8D2C-86721A0BA3C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4" creationId="{1F5E03F6-E100-4196-A861-61AF83D0C0E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5" creationId="{9DBD5A0F-9DD5-44DC-9966-F4AD32F99DB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6" creationId="{DC76CF3C-774E-4052-81B6-CDA1CAE47A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7" creationId="{496025C6-A889-462E-8981-745D2F00999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8" creationId="{AE439803-04FF-4287-ACA7-4FE29BAEE69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59" creationId="{45E99031-4A14-4EFD-AE2C-44A26C8A1AE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0" creationId="{12D95B7E-43D9-47CA-85A0-0FBF0BE246C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1" creationId="{AB78A7A0-A861-4DF9-98B6-ABF390404D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2" creationId="{3A4FB836-2FFC-4B1E-AD05-403B8E11EB0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3" creationId="{51FA15BE-1645-42B2-BCF9-5DB0A9652A3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4" creationId="{FB6933EF-809C-4508-B22E-A50A0F02713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5" creationId="{51C0E076-52E3-4430-8EAA-8334AF314EB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6" creationId="{15FF5704-C9A1-4CCC-A31B-BE1D14B4F3A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7" creationId="{298F9872-3E04-44CD-8CD7-39A5957D8E1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8" creationId="{EDDAB600-4436-45DF-80E1-53AB8969820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69" creationId="{E7381067-D936-49E2-8756-308E347DB02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0" creationId="{D3B5FC79-A6DA-4CBC-8BDE-A006D2CDC2A9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1" creationId="{75EB0165-D67F-4EBE-99E4-C2122DCDDE28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2" creationId="{C29C4F48-DC37-48CC-8987-C522CCBFCCB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3" creationId="{E471BCA9-3A58-447B-9481-3B2570D06A3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4" creationId="{110AC7D6-6684-4D32-9B32-DA9B289E4A0B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5" creationId="{69C34F9C-238A-4BA4-86E0-00837B437E6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6" creationId="{4CF5087A-FE08-47B9-86BD-00EF7315393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7" creationId="{103A5CAB-9BE4-4A09-81B0-CABF60C3F6F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8" creationId="{34B0E7CC-FE5C-4672-8CB0-363B286FD76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79" creationId="{4FD9F5DF-61E8-4C9E-9CE6-7B2BB2B9E21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0" creationId="{633D0467-0E0C-460C-86E8-3F3AA1DB709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1" creationId="{4B78A245-6E82-4C06-BFE9-5D6C8CE1239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2" creationId="{D6B51C4E-5B28-4380-883B-30EF75ED884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3" creationId="{3B84818C-6090-4A2A-AD29-9551F486720F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4" creationId="{9764E01C-4260-4D65-9AAD-F3FEF12B438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5" creationId="{733E533F-AE6F-48F8-8497-20B3A31DF55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6" creationId="{1B476114-CA15-41A8-A896-DCAAC9FF566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7" creationId="{DC4BD8D0-625F-44E3-8F64-F9F7EFE3088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8" creationId="{95148707-0031-47C3-987E-CBC2758DF892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89" creationId="{40D12E93-3DEE-490A-B065-D23CC0D7F81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0" creationId="{15AC7CF4-FC14-433D-9C2A-783630640DF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1" creationId="{EE921F3F-A80D-44D1-AEAC-C35BB91074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2" creationId="{2DB92D5B-624F-4BFB-A8EA-4D904D28983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3" creationId="{FF1B65F3-00DE-4809-B95C-B2DDAC2CB75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4" creationId="{8749326B-50AF-48DF-A149-6017F7FF7F6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5" creationId="{CE24DBB7-96F4-4082-A2C5-EEB2049A5F9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6" creationId="{1746A107-3C27-46AD-B605-D57DD8606507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7" creationId="{6C23254F-3839-4BBF-89CE-849011CE64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8" creationId="{83DE4AE1-B075-4046-B9C5-A940F245C8A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499" creationId="{22753589-A63A-4E30-813E-0FDF0EDD298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0" creationId="{8D2B2F9A-5B6D-40B1-B14A-C025EC2934F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1" creationId="{9F444423-EB26-4285-9E93-25689174B9D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2" creationId="{05A651D8-A653-45B5-AC7D-D3B5A1FCED0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3" creationId="{EAB701D8-7C0F-45BB-AB2B-78B2619CE2BC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4" creationId="{7CEC1CCE-97F8-49FD-80DA-92E292DA9E4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5" creationId="{D261D759-6148-4F8A-9314-81AB5DCA65E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6" creationId="{4E970DA7-E092-4C2F-A616-6A184F7FA0C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7" creationId="{07DA0092-65B8-4A9E-B0DE-23AFC247345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8" creationId="{BA9D2F80-AEF2-4260-942F-FDDA84E23553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09" creationId="{AAAC2643-ED6B-45AD-8DE5-415E6843BCD4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0" creationId="{196A06DC-EF5F-43AD-A291-3727E86B4F0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1" creationId="{80FDD0B8-C882-4EA1-A1F5-365D6409C7FE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2" creationId="{F7717BF5-1636-454E-B2F4-5553E688D231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3" creationId="{19EF413D-ABC2-4EB8-B9C7-C5E20359FC9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4" creationId="{FE207C51-234E-4E1F-A9A0-15BB791D0F4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5" creationId="{D60497C6-647E-4319-B0FD-B547921BC62A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6" creationId="{BA4C643C-D060-4B38-9B5B-872DF020738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7" creationId="{CC342C71-1A5B-48A8-A122-09DD51FC137D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8" creationId="{DAFE143F-7477-4128-A9C1-5E28557A390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19" creationId="{BC06EDB8-2400-4D90-A2F2-6F8560308EC5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20" creationId="{90BD9B19-5ACA-45E8-ACDD-F2C4FCF90896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21" creationId="{647382B8-D98A-4B32-9769-010223EC2A30}"/>
          </ac:spMkLst>
        </pc:spChg>
        <pc:spChg chg="mod">
          <ac:chgData name="Miao, Catherine" userId="2f80fa44-951d-45aa-8067-be181f1dab5e" providerId="ADAL" clId="{0B4EB35B-6BB5-47F6-B896-A58562075FF9}" dt="2021-09-10T19:38:08.956" v="220" actId="1076"/>
          <ac:spMkLst>
            <pc:docMk/>
            <pc:sldMk cId="2235950224" sldId="256"/>
            <ac:spMk id="1524" creationId="{066E5655-8314-4FCB-9C18-68C9F77A1D44}"/>
          </ac:spMkLst>
        </pc:spChg>
        <pc:spChg chg="mod">
          <ac:chgData name="Miao, Catherine" userId="2f80fa44-951d-45aa-8067-be181f1dab5e" providerId="ADAL" clId="{0B4EB35B-6BB5-47F6-B896-A58562075FF9}" dt="2021-09-10T20:01:40.380" v="514" actId="20577"/>
          <ac:spMkLst>
            <pc:docMk/>
            <pc:sldMk cId="2235950224" sldId="256"/>
            <ac:spMk id="1529" creationId="{2B43CBED-9160-44E4-9861-C3422E375C7D}"/>
          </ac:spMkLst>
        </pc:spChg>
        <pc:grpChg chg="add del mod">
          <ac:chgData name="Miao, Catherine" userId="2f80fa44-951d-45aa-8067-be181f1dab5e" providerId="ADAL" clId="{0B4EB35B-6BB5-47F6-B896-A58562075FF9}" dt="2021-09-10T19:38:50.344" v="230" actId="478"/>
          <ac:grpSpMkLst>
            <pc:docMk/>
            <pc:sldMk cId="2235950224" sldId="256"/>
            <ac:grpSpMk id="34" creationId="{5F281B3C-E865-481D-B859-EF319CD88465}"/>
          </ac:grpSpMkLst>
        </pc:grpChg>
        <pc:grpChg chg="add mod">
          <ac:chgData name="Miao, Catherine" userId="2f80fa44-951d-45aa-8067-be181f1dab5e" providerId="ADAL" clId="{0B4EB35B-6BB5-47F6-B896-A58562075FF9}" dt="2021-09-10T19:45:15.393" v="290" actId="1076"/>
          <ac:grpSpMkLst>
            <pc:docMk/>
            <pc:sldMk cId="2235950224" sldId="256"/>
            <ac:grpSpMk id="554" creationId="{438A6156-2303-4125-98A8-3AD16A0B7C16}"/>
          </ac:grpSpMkLst>
        </pc:grpChg>
        <pc:grpChg chg="add mod">
          <ac:chgData name="Miao, Catherine" userId="2f80fa44-951d-45aa-8067-be181f1dab5e" providerId="ADAL" clId="{0B4EB35B-6BB5-47F6-B896-A58562075FF9}" dt="2021-09-10T19:45:21.008" v="292" actId="1076"/>
          <ac:grpSpMkLst>
            <pc:docMk/>
            <pc:sldMk cId="2235950224" sldId="256"/>
            <ac:grpSpMk id="596" creationId="{9F93AF35-0CA7-4D0B-B76B-16DCBB237408}"/>
          </ac:grpSpMkLst>
        </pc:grpChg>
        <pc:grpChg chg="mod">
          <ac:chgData name="Miao, Catherine" userId="2f80fa44-951d-45aa-8067-be181f1dab5e" providerId="ADAL" clId="{0B4EB35B-6BB5-47F6-B896-A58562075FF9}" dt="2021-09-10T19:45:21.008" v="292" actId="1076"/>
          <ac:grpSpMkLst>
            <pc:docMk/>
            <pc:sldMk cId="2235950224" sldId="256"/>
            <ac:grpSpMk id="597" creationId="{6FCDAC05-48D2-4372-BF2D-2606C41D842B}"/>
          </ac:grpSpMkLst>
        </pc:grpChg>
        <pc:grpChg chg="mod">
          <ac:chgData name="Miao, Catherine" userId="2f80fa44-951d-45aa-8067-be181f1dab5e" providerId="ADAL" clId="{0B4EB35B-6BB5-47F6-B896-A58562075FF9}" dt="2021-09-10T19:45:21.008" v="292" actId="1076"/>
          <ac:grpSpMkLst>
            <pc:docMk/>
            <pc:sldMk cId="2235950224" sldId="256"/>
            <ac:grpSpMk id="598" creationId="{50768C63-37E0-422D-AD75-F3F93DB9F631}"/>
          </ac:grpSpMkLst>
        </pc:grpChg>
        <pc:grpChg chg="add mod">
          <ac:chgData name="Miao, Catherine" userId="2f80fa44-951d-45aa-8067-be181f1dab5e" providerId="ADAL" clId="{0B4EB35B-6BB5-47F6-B896-A58562075FF9}" dt="2021-09-10T19:45:50.635" v="298" actId="1076"/>
          <ac:grpSpMkLst>
            <pc:docMk/>
            <pc:sldMk cId="2235950224" sldId="256"/>
            <ac:grpSpMk id="622" creationId="{5D28ACDE-DFAD-42FA-8BFA-D394DF167DD4}"/>
          </ac:grpSpMkLst>
        </pc:grpChg>
        <pc:grpChg chg="add mod">
          <ac:chgData name="Miao, Catherine" userId="2f80fa44-951d-45aa-8067-be181f1dab5e" providerId="ADAL" clId="{0B4EB35B-6BB5-47F6-B896-A58562075FF9}" dt="2021-09-10T19:45:44.774" v="297" actId="14100"/>
          <ac:grpSpMkLst>
            <pc:docMk/>
            <pc:sldMk cId="2235950224" sldId="256"/>
            <ac:grpSpMk id="650" creationId="{151F2983-D071-405C-B624-2E2D1267A1AA}"/>
          </ac:grpSpMkLst>
        </pc:grpChg>
        <pc:grpChg chg="add mod">
          <ac:chgData name="Miao, Catherine" userId="2f80fa44-951d-45aa-8067-be181f1dab5e" providerId="ADAL" clId="{0B4EB35B-6BB5-47F6-B896-A58562075FF9}" dt="2021-09-10T19:51:19.294" v="332" actId="478"/>
          <ac:grpSpMkLst>
            <pc:docMk/>
            <pc:sldMk cId="2235950224" sldId="256"/>
            <ac:grpSpMk id="704" creationId="{2DB50107-4E37-4B92-A711-75024A86D5DB}"/>
          </ac:grpSpMkLst>
        </pc:grpChg>
        <pc:grpChg chg="del">
          <ac:chgData name="Miao, Catherine" userId="2f80fa44-951d-45aa-8067-be181f1dab5e" providerId="ADAL" clId="{0B4EB35B-6BB5-47F6-B896-A58562075FF9}" dt="2021-09-10T19:39:10.487" v="232" actId="478"/>
          <ac:grpSpMkLst>
            <pc:docMk/>
            <pc:sldMk cId="2235950224" sldId="256"/>
            <ac:grpSpMk id="1191" creationId="{7580FB19-A67D-4973-B8AA-E19E1FE5C146}"/>
          </ac:grpSpMkLst>
        </pc:grpChg>
        <pc:grpChg chg="mod">
          <ac:chgData name="Miao, Catherine" userId="2f80fa44-951d-45aa-8067-be181f1dab5e" providerId="ADAL" clId="{0B4EB35B-6BB5-47F6-B896-A58562075FF9}" dt="2021-09-10T19:38:08.956" v="220" actId="1076"/>
          <ac:grpSpMkLst>
            <pc:docMk/>
            <pc:sldMk cId="2235950224" sldId="256"/>
            <ac:grpSpMk id="1522" creationId="{863A93C0-D018-4E1F-B7A9-8BD06CFE30DC}"/>
          </ac:grpSpMkLst>
        </pc:grpChg>
        <pc:grpChg chg="mod">
          <ac:chgData name="Miao, Catherine" userId="2f80fa44-951d-45aa-8067-be181f1dab5e" providerId="ADAL" clId="{0B4EB35B-6BB5-47F6-B896-A58562075FF9}" dt="2021-09-10T19:38:08.956" v="220" actId="1076"/>
          <ac:grpSpMkLst>
            <pc:docMk/>
            <pc:sldMk cId="2235950224" sldId="256"/>
            <ac:grpSpMk id="1523" creationId="{55589370-9DC4-4744-8CD6-C7D467DA4358}"/>
          </ac:grpSpMkLst>
        </pc:grpChg>
        <pc:picChg chg="add mod modCrop">
          <ac:chgData name="Miao, Catherine" userId="2f80fa44-951d-45aa-8067-be181f1dab5e" providerId="ADAL" clId="{0B4EB35B-6BB5-47F6-B896-A58562075FF9}" dt="2021-09-10T19:48:30.181" v="314" actId="1076"/>
          <ac:picMkLst>
            <pc:docMk/>
            <pc:sldMk cId="2235950224" sldId="256"/>
            <ac:picMk id="3" creationId="{E462BB70-7B29-48B4-B720-2844DC9F2753}"/>
          </ac:picMkLst>
        </pc:picChg>
        <pc:picChg chg="add mod modCrop">
          <ac:chgData name="Miao, Catherine" userId="2f80fa44-951d-45aa-8067-be181f1dab5e" providerId="ADAL" clId="{0B4EB35B-6BB5-47F6-B896-A58562075FF9}" dt="2021-09-10T19:59:36.406" v="476" actId="14100"/>
          <ac:picMkLst>
            <pc:docMk/>
            <pc:sldMk cId="2235950224" sldId="256"/>
            <ac:picMk id="4" creationId="{65EDF357-6A95-43E2-992F-22253C1B45E9}"/>
          </ac:picMkLst>
        </pc:picChg>
        <pc:picChg chg="add mod modCrop">
          <ac:chgData name="Miao, Catherine" userId="2f80fa44-951d-45aa-8067-be181f1dab5e" providerId="ADAL" clId="{0B4EB35B-6BB5-47F6-B896-A58562075FF9}" dt="2021-09-10T19:52:05.834" v="343" actId="1076"/>
          <ac:picMkLst>
            <pc:docMk/>
            <pc:sldMk cId="2235950224" sldId="256"/>
            <ac:picMk id="5" creationId="{F033166B-87B8-4568-AEE6-ACC4D4F5DD84}"/>
          </ac:picMkLst>
        </pc:picChg>
        <pc:picChg chg="add mod">
          <ac:chgData name="Miao, Catherine" userId="2f80fa44-951d-45aa-8067-be181f1dab5e" providerId="ADAL" clId="{0B4EB35B-6BB5-47F6-B896-A58562075FF9}" dt="2021-09-10T19:53:26.400" v="347" actId="1076"/>
          <ac:picMkLst>
            <pc:docMk/>
            <pc:sldMk cId="2235950224" sldId="256"/>
            <ac:picMk id="6" creationId="{FC76B81E-7970-4599-AAE2-28CCC27CE69E}"/>
          </ac:picMkLst>
        </pc:picChg>
        <pc:picChg chg="add mod">
          <ac:chgData name="Miao, Catherine" userId="2f80fa44-951d-45aa-8067-be181f1dab5e" providerId="ADAL" clId="{0B4EB35B-6BB5-47F6-B896-A58562075FF9}" dt="2021-09-10T19:54:57.856" v="353" actId="14100"/>
          <ac:picMkLst>
            <pc:docMk/>
            <pc:sldMk cId="2235950224" sldId="256"/>
            <ac:picMk id="7" creationId="{F8FA8E1B-274B-4C04-8BE4-42967C646C18}"/>
          </ac:picMkLst>
        </pc:picChg>
        <pc:picChg chg="add del">
          <ac:chgData name="Miao, Catherine" userId="2f80fa44-951d-45aa-8067-be181f1dab5e" providerId="ADAL" clId="{0B4EB35B-6BB5-47F6-B896-A58562075FF9}" dt="2021-09-10T19:55:41.026" v="375" actId="478"/>
          <ac:picMkLst>
            <pc:docMk/>
            <pc:sldMk cId="2235950224" sldId="256"/>
            <ac:picMk id="32" creationId="{AA81C0F3-A9C1-4C14-B80D-CE3F322A5C4D}"/>
          </ac:picMkLst>
        </pc:picChg>
        <pc:picChg chg="add del mod">
          <ac:chgData name="Miao, Catherine" userId="2f80fa44-951d-45aa-8067-be181f1dab5e" providerId="ADAL" clId="{0B4EB35B-6BB5-47F6-B896-A58562075FF9}" dt="2021-09-10T19:40:45.806" v="251"/>
          <ac:picMkLst>
            <pc:docMk/>
            <pc:sldMk cId="2235950224" sldId="256"/>
            <ac:picMk id="649" creationId="{8AB611D2-86D6-490A-A47E-B53C95D3E82A}"/>
          </ac:picMkLst>
        </pc:picChg>
        <pc:cxnChg chg="mod">
          <ac:chgData name="Miao, Catherine" userId="2f80fa44-951d-45aa-8067-be181f1dab5e" providerId="ADAL" clId="{0B4EB35B-6BB5-47F6-B896-A58562075FF9}" dt="2021-09-10T19:34:41.642" v="26" actId="14100"/>
          <ac:cxnSpMkLst>
            <pc:docMk/>
            <pc:sldMk cId="2235950224" sldId="256"/>
            <ac:cxnSpMk id="1533" creationId="{4DFBD8F6-D372-4C4E-BC6B-2A4CC17E1DBF}"/>
          </ac:cxnSpMkLst>
        </pc:cxnChg>
      </pc:sldChg>
      <pc:sldChg chg="ord">
        <pc:chgData name="Miao, Catherine" userId="2f80fa44-951d-45aa-8067-be181f1dab5e" providerId="ADAL" clId="{0B4EB35B-6BB5-47F6-B896-A58562075FF9}" dt="2021-09-10T20:10:29.228" v="700"/>
        <pc:sldMkLst>
          <pc:docMk/>
          <pc:sldMk cId="2294216279" sldId="258"/>
        </pc:sldMkLst>
      </pc:sldChg>
      <pc:sldChg chg="delSp modSp mod ord">
        <pc:chgData name="Miao, Catherine" userId="2f80fa44-951d-45aa-8067-be181f1dab5e" providerId="ADAL" clId="{0B4EB35B-6BB5-47F6-B896-A58562075FF9}" dt="2021-09-10T20:10:02.833" v="698" actId="20577"/>
        <pc:sldMkLst>
          <pc:docMk/>
          <pc:sldMk cId="3382610705" sldId="259"/>
        </pc:sldMkLst>
        <pc:spChg chg="mod">
          <ac:chgData name="Miao, Catherine" userId="2f80fa44-951d-45aa-8067-be181f1dab5e" providerId="ADAL" clId="{0B4EB35B-6BB5-47F6-B896-A58562075FF9}" dt="2021-09-10T20:02:59.392" v="530" actId="20577"/>
          <ac:spMkLst>
            <pc:docMk/>
            <pc:sldMk cId="3382610705" sldId="259"/>
            <ac:spMk id="2" creationId="{837EB5BE-E15E-4BB7-9DF9-57CAF803CCF0}"/>
          </ac:spMkLst>
        </pc:spChg>
        <pc:spChg chg="del">
          <ac:chgData name="Miao, Catherine" userId="2f80fa44-951d-45aa-8067-be181f1dab5e" providerId="ADAL" clId="{0B4EB35B-6BB5-47F6-B896-A58562075FF9}" dt="2021-09-10T20:06:37.349" v="671" actId="478"/>
          <ac:spMkLst>
            <pc:docMk/>
            <pc:sldMk cId="3382610705" sldId="259"/>
            <ac:spMk id="352" creationId="{07BE22E4-61EC-4D01-8896-03C6E908D2FB}"/>
          </ac:spMkLst>
        </pc:spChg>
        <pc:spChg chg="mod">
          <ac:chgData name="Miao, Catherine" userId="2f80fa44-951d-45aa-8067-be181f1dab5e" providerId="ADAL" clId="{0B4EB35B-6BB5-47F6-B896-A58562075FF9}" dt="2021-09-10T20:03:54.189" v="575" actId="255"/>
          <ac:spMkLst>
            <pc:docMk/>
            <pc:sldMk cId="3382610705" sldId="259"/>
            <ac:spMk id="353" creationId="{88064A65-B8EE-4CC5-8777-5171834A8C73}"/>
          </ac:spMkLst>
        </pc:spChg>
        <pc:spChg chg="del mod">
          <ac:chgData name="Miao, Catherine" userId="2f80fa44-951d-45aa-8067-be181f1dab5e" providerId="ADAL" clId="{0B4EB35B-6BB5-47F6-B896-A58562075FF9}" dt="2021-09-10T20:06:42.587" v="673" actId="478"/>
          <ac:spMkLst>
            <pc:docMk/>
            <pc:sldMk cId="3382610705" sldId="259"/>
            <ac:spMk id="362" creationId="{757F70B8-AC98-4D4C-B510-88B1CC5B08FF}"/>
          </ac:spMkLst>
        </pc:spChg>
        <pc:spChg chg="mod">
          <ac:chgData name="Miao, Catherine" userId="2f80fa44-951d-45aa-8067-be181f1dab5e" providerId="ADAL" clId="{0B4EB35B-6BB5-47F6-B896-A58562075FF9}" dt="2021-09-10T20:04:35.850" v="598" actId="255"/>
          <ac:spMkLst>
            <pc:docMk/>
            <pc:sldMk cId="3382610705" sldId="259"/>
            <ac:spMk id="363" creationId="{02C0EC0E-FDCE-4FCA-A649-30984C3ED4C7}"/>
          </ac:spMkLst>
        </pc:spChg>
        <pc:spChg chg="del">
          <ac:chgData name="Miao, Catherine" userId="2f80fa44-951d-45aa-8067-be181f1dab5e" providerId="ADAL" clId="{0B4EB35B-6BB5-47F6-B896-A58562075FF9}" dt="2021-09-10T20:06:44.362" v="674" actId="478"/>
          <ac:spMkLst>
            <pc:docMk/>
            <pc:sldMk cId="3382610705" sldId="259"/>
            <ac:spMk id="369" creationId="{DD47544B-E03E-484E-833C-356A7CD656B1}"/>
          </ac:spMkLst>
        </pc:spChg>
        <pc:spChg chg="mod">
          <ac:chgData name="Miao, Catherine" userId="2f80fa44-951d-45aa-8067-be181f1dab5e" providerId="ADAL" clId="{0B4EB35B-6BB5-47F6-B896-A58562075FF9}" dt="2021-09-10T20:10:02.833" v="698" actId="20577"/>
          <ac:spMkLst>
            <pc:docMk/>
            <pc:sldMk cId="3382610705" sldId="259"/>
            <ac:spMk id="370" creationId="{426002F4-9E30-458E-8558-CF6EDD4F5275}"/>
          </ac:spMkLst>
        </pc:spChg>
        <pc:spChg chg="del">
          <ac:chgData name="Miao, Catherine" userId="2f80fa44-951d-45aa-8067-be181f1dab5e" providerId="ADAL" clId="{0B4EB35B-6BB5-47F6-B896-A58562075FF9}" dt="2021-09-10T20:06:54.066" v="676" actId="478"/>
          <ac:spMkLst>
            <pc:docMk/>
            <pc:sldMk cId="3382610705" sldId="259"/>
            <ac:spMk id="376" creationId="{9BB8D1FB-45CB-4061-BAAB-D914142BBA4A}"/>
          </ac:spMkLst>
        </pc:spChg>
        <pc:spChg chg="mod">
          <ac:chgData name="Miao, Catherine" userId="2f80fa44-951d-45aa-8067-be181f1dab5e" providerId="ADAL" clId="{0B4EB35B-6BB5-47F6-B896-A58562075FF9}" dt="2021-09-10T20:06:29.001" v="670" actId="14100"/>
          <ac:spMkLst>
            <pc:docMk/>
            <pc:sldMk cId="3382610705" sldId="259"/>
            <ac:spMk id="377" creationId="{90208D9B-C9C0-427E-A4E0-C20D7D9EB228}"/>
          </ac:spMkLst>
        </pc:spChg>
        <pc:grpChg chg="mod">
          <ac:chgData name="Miao, Catherine" userId="2f80fa44-951d-45aa-8067-be181f1dab5e" providerId="ADAL" clId="{0B4EB35B-6BB5-47F6-B896-A58562075FF9}" dt="2021-09-10T20:07:17.425" v="681" actId="14100"/>
          <ac:grpSpMkLst>
            <pc:docMk/>
            <pc:sldMk cId="3382610705" sldId="259"/>
            <ac:grpSpMk id="361" creationId="{CE88883D-BC7E-40F7-90B4-891CA313F71E}"/>
          </ac:grpSpMkLst>
        </pc:grpChg>
        <pc:grpChg chg="mod">
          <ac:chgData name="Miao, Catherine" userId="2f80fa44-951d-45aa-8067-be181f1dab5e" providerId="ADAL" clId="{0B4EB35B-6BB5-47F6-B896-A58562075FF9}" dt="2021-09-10T20:07:12.672" v="680" actId="14100"/>
          <ac:grpSpMkLst>
            <pc:docMk/>
            <pc:sldMk cId="3382610705" sldId="259"/>
            <ac:grpSpMk id="368" creationId="{78978E55-D75C-4FD8-A0D9-1DEEAC14E76E}"/>
          </ac:grpSpMkLst>
        </pc:grpChg>
        <pc:grpChg chg="mod">
          <ac:chgData name="Miao, Catherine" userId="2f80fa44-951d-45aa-8067-be181f1dab5e" providerId="ADAL" clId="{0B4EB35B-6BB5-47F6-B896-A58562075FF9}" dt="2021-09-10T20:07:04.696" v="678" actId="1076"/>
          <ac:grpSpMkLst>
            <pc:docMk/>
            <pc:sldMk cId="3382610705" sldId="259"/>
            <ac:grpSpMk id="375" creationId="{359D68F8-9693-495F-9AB8-49F23A1B2B99}"/>
          </ac:grpSpMkLst>
        </pc:grpChg>
        <pc:grpChg chg="mod">
          <ac:chgData name="Miao, Catherine" userId="2f80fa44-951d-45aa-8067-be181f1dab5e" providerId="ADAL" clId="{0B4EB35B-6BB5-47F6-B896-A58562075FF9}" dt="2021-09-10T20:07:22.074" v="682" actId="14100"/>
          <ac:grpSpMkLst>
            <pc:docMk/>
            <pc:sldMk cId="3382610705" sldId="259"/>
            <ac:grpSpMk id="453" creationId="{8FEB64E1-71A1-4822-B799-2E6A2499DAA2}"/>
          </ac:grpSpMkLst>
        </pc:grpChg>
        <pc:cxnChg chg="mod">
          <ac:chgData name="Miao, Catherine" userId="2f80fa44-951d-45aa-8067-be181f1dab5e" providerId="ADAL" clId="{0B4EB35B-6BB5-47F6-B896-A58562075FF9}" dt="2021-09-10T20:07:07.696" v="679" actId="1076"/>
          <ac:cxnSpMkLst>
            <pc:docMk/>
            <pc:sldMk cId="3382610705" sldId="259"/>
            <ac:cxnSpMk id="378" creationId="{69903CAF-2DAE-409F-B9D3-A1FACC4F44EA}"/>
          </ac:cxnSpMkLst>
        </pc:cxnChg>
      </pc:sldChg>
      <pc:sldChg chg="modSp">
        <pc:chgData name="Miao, Catherine" userId="2f80fa44-951d-45aa-8067-be181f1dab5e" providerId="ADAL" clId="{0B4EB35B-6BB5-47F6-B896-A58562075FF9}" dt="2021-09-10T19:41:52.380" v="256" actId="1076"/>
        <pc:sldMkLst>
          <pc:docMk/>
          <pc:sldMk cId="2293555595" sldId="260"/>
        </pc:sldMkLst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2" creationId="{CB9EFDC6-0C80-4DF5-9A88-24D4F0C9A42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3" creationId="{ADDDA78B-5B7A-4CE2-ABD9-69B302353AC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4" creationId="{661A90D0-5171-4638-B45B-E932DC8889D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5" creationId="{DFEC0BA9-7726-41A8-9297-3550EB93BE5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6" creationId="{7F2FDD3D-5F32-424F-9CD2-A976B8FDE7C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7" creationId="{BCE50048-C79C-4188-A24D-EE523743EC5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8" creationId="{2463323D-89DF-4107-9A3B-83FE0356DD2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69" creationId="{021D4264-9530-4BA7-AC13-9EE8B67A60E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76" creationId="{50E22136-C338-4009-8329-341304F0D1F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86" creationId="{F88548A4-A463-4F24-8EB7-0D72B68EC10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87" creationId="{62317F3A-CF6D-4E59-ACF9-6E2049230E7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88" creationId="{E29C0484-FFEE-4360-9743-F6DBCE5FA31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89" creationId="{8B795683-6114-4958-A7C0-53C61D0B4A2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0" creationId="{21E81F9E-3A6C-47C2-B9E1-C0290BA8686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1" creationId="{038889F2-CA3B-48AB-990A-20306107BCB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2" creationId="{A819F767-77D7-4D1B-AC02-D3F552F1644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3" creationId="{53D094B4-38E9-4AFC-88D7-2A1C14B161E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4" creationId="{A1BD4299-8FAE-4EB9-8B1D-28A38760026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5" creationId="{A8584B42-CB50-4688-94B8-47FD85B8BC9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6" creationId="{1C2D25D3-30A1-4473-8312-90BA8FA3AC8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7" creationId="{6488DB35-4D18-4AD0-9489-8D1F9D2DB17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8" creationId="{11F54BB0-22E9-4973-B4F3-5014565FD4D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99" creationId="{69B4B275-ABCC-46BD-9544-04DC65BC007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0" creationId="{4059ACD4-FD40-46E0-8F75-3AA6104FBDF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1" creationId="{FBB0B14D-7A07-4C97-815A-D4422F8DE04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2" creationId="{7189EDFB-0465-4E5D-860E-9E2BE5BDA6D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3" creationId="{BB4AA1AE-7DC4-4C0C-9EFF-9E9E6CD74F8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4" creationId="{72F8D648-3CF0-48B2-9B03-4A70666B2C3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5" creationId="{8C657907-E9A0-40EC-B992-26B6C27C4F7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6" creationId="{2F15B30A-2BE4-4A4B-9536-CE8C46AAA2E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7" creationId="{E1410F1E-27B9-41F4-9140-D86EE1C28A6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8" creationId="{DFB7DFBF-45D8-4745-AF48-AB9317B4110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09" creationId="{CD5E46B0-AB8E-4184-B91A-71621156A63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0" creationId="{084FE103-FF6F-4E06-81ED-016C1149958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1" creationId="{A0B39473-C0ED-4702-BBFC-4A88513A942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2" creationId="{1A32086A-883E-4503-88A1-FE3AE34989C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3" creationId="{7D4F1A4B-6507-4AC7-88A1-397560AA3EF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4" creationId="{5E7900E1-491B-4506-A8FC-9B84E9E5519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5" creationId="{B66E8245-CA25-4EAD-AB60-39DDA800F9C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6" creationId="{12FFFF72-B16A-4519-861B-50729C95066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7" creationId="{5D4E4602-0E29-417A-A628-270E322CDA6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8" creationId="{13FCF14D-E4F8-4966-82F1-983B11420F8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19" creationId="{56254459-E21F-4E95-B884-BDB7ACC6218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20" creationId="{260FF269-E190-4152-A738-329BC4BEE44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21" creationId="{E38E8A97-7FC5-4CF1-A588-9BD4C0418E3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26" creationId="{24F862AC-FB50-4AA1-9A3F-339BFCC846D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2" creationId="{81C48F5D-B934-472C-9C65-FF497D54C85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3" creationId="{D10AD583-3562-4559-BFC7-6A5BC8F5D6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4" creationId="{7DA80CD0-DA3B-4031-BC62-D01E6234558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5" creationId="{8F392501-C323-4591-917F-E54EB461CD0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6" creationId="{81854FC4-8AA4-4736-AA77-7F525DA8E3E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7" creationId="{BDFC08F8-8455-4791-9D0C-61DB3CF92D6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8" creationId="{2CD37264-5FF0-451B-B3D5-8BF9D180173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39" creationId="{1038D265-CF6C-47A2-8538-039EC6AC953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0" creationId="{9EAA0377-B149-4143-9EDE-08781D03A40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1" creationId="{95D43474-84ED-4B5C-ADC1-6C72C611A08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2" creationId="{01AFE814-7432-4990-8B49-013569D4E20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3" creationId="{3D510BD0-BE4C-4468-9185-FE801BD6591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4" creationId="{653C730A-FB3B-481A-9430-94A5919030F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5" creationId="{7EDA0D23-5994-4153-8D8A-54C22CAE505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6" creationId="{E68A9FE9-CFDB-47D3-8D74-E087AE637A0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7" creationId="{2E1A2F08-A4D3-460F-A7CB-10CE5256AF4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8" creationId="{756EFE16-59F1-4521-80CF-1D5BBED2654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49" creationId="{0EE67970-98D6-4EBB-A667-B8EEFBA1972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0" creationId="{0B78ED8F-CF83-4951-B51B-02A9DF1E742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4" creationId="{DDDF6D1A-4B98-40EA-B7C5-6C1289F0CF3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5" creationId="{E6DFB8B4-8B32-4EE6-B057-976005BC7D9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6" creationId="{57C16EAF-96EB-42F3-8689-A4BFF68B7C5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7" creationId="{599E31AD-81C8-46FA-A78F-89F33D8B9EB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8" creationId="{E9D309A0-DAE9-42EB-A409-6FE27E74BD6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59" creationId="{ABC88EA3-BC85-470B-82CF-D15AB4D6FA7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3" creationId="{F749EC53-5DE4-40B3-82FF-FDCE4E9D00D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4" creationId="{CBF1C94F-085D-41A1-A5FD-D28A7E9C8C2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5" creationId="{F528285B-0DF9-4118-9E8F-7D40416F48C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6" creationId="{01607865-E588-4756-BF72-5E9C6A4F6B0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7" creationId="{7415BA58-B881-41DD-A500-3BEC8A69AF9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8" creationId="{DB502EFE-09BB-425F-8235-EA7754B5440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69" creationId="{415AE4FC-C9AF-44A2-85D7-238CE2CAF2B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0" creationId="{536C945B-BE7A-41E8-A6F2-5E37722E3E76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1" creationId="{1E0F54C1-7F1E-4B30-A911-ECD798CFA3E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2" creationId="{AED918E5-72D7-48BD-BA04-FD855F407C2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3" creationId="{B8B3E559-86DE-466D-8DC4-2B4809C4909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4" creationId="{5B34B1F0-AD3F-43CB-A0FE-96B49BBDBF2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5" creationId="{5697EC58-40AD-465F-800C-B3656B7F1EA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6" creationId="{10EC9117-FFAA-46AB-AFFD-57229F4748D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7" creationId="{9B6B0B78-0D71-4ADC-9597-1F8D747D737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8" creationId="{8FDD6CDE-B1C9-4433-8238-06927877BE5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79" creationId="{F27E09D2-6DEE-4F37-9383-181E22DC75B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0" creationId="{6E4BA24D-95E5-4B06-82C6-859133F7FA4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1" creationId="{1BC15F89-3DB8-4BC3-8D5E-4BD01B939A3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2" creationId="{D3037265-4B2C-49D5-BFA8-BCBEBF9BAFE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3" creationId="{4C932CB0-F129-454F-A2A3-237A68942D8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4" creationId="{76109CCA-CC31-45AE-8AD0-2BF0243512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5" creationId="{6863F6E6-7D96-4330-8AEA-E4AE787108A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6" creationId="{F73E15D3-87E6-4A84-8BFE-A9482B220D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7" creationId="{9165E29A-3F5A-4FC9-8BE0-D7BE05760F0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8" creationId="{B21C4FEF-30D8-4B69-BC64-7B7B10C7397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89" creationId="{06FE6F62-1E5F-4A1E-B89A-1D4F1AA9D57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0" creationId="{848F9E5F-5926-44EF-8004-1ADC1C220C2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1" creationId="{AD237511-394E-4E71-A1AB-E12155F5DA8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2" creationId="{DB759CB9-2F06-4F72-9973-A8FD34F3F5E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3" creationId="{8A0DE7EB-14C5-40E8-A41F-CC6BEC78AB0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4" creationId="{7341DBBA-DFA6-41FD-8CF2-86A7E8ED83B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5" creationId="{EA94C052-A377-4F96-8A8B-0C81F9A3B64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6" creationId="{BD0B1A21-3FBE-47FF-ACF6-C976967FE9C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7" creationId="{B21C28F8-A6D9-4A23-9200-424CACFBC60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8" creationId="{13A48A08-AF7B-4721-8DA5-5802F708BEC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199" creationId="{65BABD4A-4088-4EF6-8665-47AFCFD3C69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0" creationId="{61AF1474-D554-4510-BDE2-DAFA29B54A5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1" creationId="{260A3BB5-AB6B-4E9B-8150-5AA3A57033F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5" creationId="{5AA898F3-478B-4CF5-B232-8F43487F169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6" creationId="{AFCF57A8-456D-4140-A880-722EE084405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8" creationId="{BBE84DB2-1277-4808-A5E3-65AA490DF4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09" creationId="{9DE34D1D-DCA6-45EA-BD53-06BC3EFF855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3" creationId="{18D39C64-1777-4E49-9455-CA96095F480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4" creationId="{DFE23111-FCDC-4C78-AC36-C79DCF792A9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5" creationId="{C75901D5-0101-4A45-A534-A2EFC663DF1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6" creationId="{17F346F8-7F9C-42C2-83C4-9B60E620D36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7" creationId="{6ABF41DE-4ABA-4457-8B7F-C2DFC7404A7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8" creationId="{EADEBBF8-4189-4A47-9AA6-21CC0ED6CE22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19" creationId="{EACA8E7F-D075-4806-BDAC-6E18CA87649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0" creationId="{7011A45F-5072-48C8-99A7-9F1FAC6850C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1" creationId="{4EF4396B-FDA0-4ABE-B87D-A2F294B54EB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2" creationId="{93B1063E-6B64-4F4E-95A7-FC2D6E82769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3" creationId="{00B2ACA3-4161-45DE-A872-AAC863F5CD6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4" creationId="{70F68733-C49A-49E1-87A2-32D30045B20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5" creationId="{E7027BFC-7B06-4294-A65E-14173AA53860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6" creationId="{E9C7791B-4FD8-4459-97B9-8F6C53DC24B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7" creationId="{F617813F-0F2B-4061-BCFE-B4BC93E7226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29" creationId="{E2E1B27A-D6C8-482D-81E3-788C527D603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0" creationId="{6F4A9ADB-D030-4A51-85ED-E2A58394D69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1" creationId="{CFFB0A6D-518C-46D9-B008-78F2C9E89FB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2" creationId="{E5E748E6-39CE-4BA9-85F9-F7D972AB412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3" creationId="{D87DC1F4-6F50-42FD-8617-BFE5A237840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4" creationId="{88DCCB91-FD84-4D03-A69D-5DC72E88EFD8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5" creationId="{D2D73B47-7A5D-452C-AE8C-5886521DE40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6" creationId="{4C379212-FF07-4A49-8BEF-7AC5BD46358D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7" creationId="{8167A162-4846-4DB5-827B-9ECC339F217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8" creationId="{B480903C-E749-40BA-9FC4-5355176FA6B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39" creationId="{D2F1C7A3-C9B5-41B7-805F-400D1FD3AEFC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0" creationId="{59569BD9-8D21-4D3A-A9B1-5577AFB0739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1" creationId="{F20A8DFE-9AAC-4574-B320-D69CB517DCC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2" creationId="{30555EFA-D5F6-4B30-94FF-DE6F81070015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3" creationId="{26C49E92-16F0-4CF0-9BC1-3E602F8B234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4" creationId="{570EDDFE-A6FD-48E2-B8A6-E1C0945F65D6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5" creationId="{C91A4AA9-4306-4398-A6AA-B7E7C19B138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6" creationId="{4E7474E3-9D79-460B-A700-9C9DEB96C50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7" creationId="{10FEA947-5F10-442D-A87C-7295E7C4E17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8" creationId="{B364FF4C-0D2C-45C6-B31A-E7ADAA9F01C7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49" creationId="{236495F0-6F43-47ED-A804-75224BA1AA5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0" creationId="{C7BABA73-E498-4319-B869-139A24EFBD8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1" creationId="{C48BD75F-5141-4C3A-B9F5-153B81FF817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2" creationId="{25F41486-C510-4B17-A31C-9C3C3289FAC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3" creationId="{9B79A71A-B385-42AC-B608-F3AD1018BE0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4" creationId="{ABAA49D9-77E8-4EC2-809C-8606739A4A8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5" creationId="{B6B2DF73-1EA4-4EA1-B3D5-54F5F6020FB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6" creationId="{13A7E90F-152B-47E4-91C4-9E7D1ED65944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7" creationId="{18987FF7-A61D-490E-B574-8A2431E5D78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8" creationId="{0CCDEE2C-EE21-439F-850F-9EE469149F7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59" creationId="{83612861-F45A-4122-A3C3-15891802C44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2" creationId="{E15A099E-A0A4-400A-8EB9-84D6E86AA0AA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4" creationId="{39D98267-2D1D-42E8-97F7-EA6C1E8F1A1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5" creationId="{EB637768-94CE-46A9-8CE5-C58D8F1524B9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7" creationId="{94F8C818-FBB9-4A6A-948F-5849DD8680A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8" creationId="{FAC5989E-0F7A-4305-8AC4-EEB2BE7C16BE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69" creationId="{3CABCF71-736D-4BE5-87FD-F38D890F245F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0" creationId="{65CA546D-5F5A-4B0C-B39E-BE49A49BAEC6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1" creationId="{005AD0EA-8D03-4731-951A-B417589F4CD1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2" creationId="{445ABE10-7C03-447B-857C-8BACA457D83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3" creationId="{3D2F5513-BF00-476C-B9CC-5F594FE6F80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4" creationId="{B34740A9-BEA9-4A82-AC73-61D86203072B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5" creationId="{494EB190-91D7-42AB-8BD0-DC2C8896A083}"/>
          </ac:spMkLst>
        </pc:spChg>
        <pc:spChg chg="mod">
          <ac:chgData name="Miao, Catherine" userId="2f80fa44-951d-45aa-8067-be181f1dab5e" providerId="ADAL" clId="{0B4EB35B-6BB5-47F6-B896-A58562075FF9}" dt="2021-09-10T19:41:52.380" v="256" actId="1076"/>
          <ac:spMkLst>
            <pc:docMk/>
            <pc:sldMk cId="2293555595" sldId="260"/>
            <ac:spMk id="276" creationId="{B7D2E1F7-7E4A-4113-B8EC-600D0CC2270B}"/>
          </ac:spMkLst>
        </pc:spChg>
        <pc:grpChg chg="mod">
          <ac:chgData name="Miao, Catherine" userId="2f80fa44-951d-45aa-8067-be181f1dab5e" providerId="ADAL" clId="{0B4EB35B-6BB5-47F6-B896-A58562075FF9}" dt="2021-09-10T19:41:52.380" v="256" actId="1076"/>
          <ac:grpSpMkLst>
            <pc:docMk/>
            <pc:sldMk cId="2293555595" sldId="260"/>
            <ac:grpSpMk id="29" creationId="{8E694364-08BD-42DF-BC33-B436AA90D7BF}"/>
          </ac:grpSpMkLst>
        </pc:grpChg>
        <pc:grpChg chg="mod">
          <ac:chgData name="Miao, Catherine" userId="2f80fa44-951d-45aa-8067-be181f1dab5e" providerId="ADAL" clId="{0B4EB35B-6BB5-47F6-B896-A58562075FF9}" dt="2021-09-10T19:41:52.380" v="256" actId="1076"/>
          <ac:grpSpMkLst>
            <pc:docMk/>
            <pc:sldMk cId="2293555595" sldId="260"/>
            <ac:grpSpMk id="30" creationId="{72AC1AC1-7C7F-4653-A159-A88F9D50FEB1}"/>
          </ac:grpSpMkLst>
        </pc:grpChg>
        <pc:picChg chg="mod">
          <ac:chgData name="Miao, Catherine" userId="2f80fa44-951d-45aa-8067-be181f1dab5e" providerId="ADAL" clId="{0B4EB35B-6BB5-47F6-B896-A58562075FF9}" dt="2021-09-10T19:41:52.380" v="256" actId="1076"/>
          <ac:picMkLst>
            <pc:docMk/>
            <pc:sldMk cId="2293555595" sldId="260"/>
            <ac:picMk id="207" creationId="{86052C2A-3512-4CA0-8591-7461AC6731DF}"/>
          </ac:picMkLst>
        </pc:picChg>
        <pc:picChg chg="mod">
          <ac:chgData name="Miao, Catherine" userId="2f80fa44-951d-45aa-8067-be181f1dab5e" providerId="ADAL" clId="{0B4EB35B-6BB5-47F6-B896-A58562075FF9}" dt="2021-09-10T19:41:52.380" v="256" actId="1076"/>
          <ac:picMkLst>
            <pc:docMk/>
            <pc:sldMk cId="2293555595" sldId="260"/>
            <ac:picMk id="228" creationId="{3E52E3B1-3F4E-47B0-9BEA-23F83F05BA5A}"/>
          </ac:picMkLst>
        </pc:picChg>
      </pc:sldChg>
      <pc:sldChg chg="delSp modSp mod ord">
        <pc:chgData name="Miao, Catherine" userId="2f80fa44-951d-45aa-8067-be181f1dab5e" providerId="ADAL" clId="{0B4EB35B-6BB5-47F6-B896-A58562075FF9}" dt="2021-09-10T20:11:53.294" v="754" actId="478"/>
        <pc:sldMkLst>
          <pc:docMk/>
          <pc:sldMk cId="443722242" sldId="263"/>
        </pc:sldMkLst>
        <pc:spChg chg="mod">
          <ac:chgData name="Miao, Catherine" userId="2f80fa44-951d-45aa-8067-be181f1dab5e" providerId="ADAL" clId="{0B4EB35B-6BB5-47F6-B896-A58562075FF9}" dt="2021-09-10T20:11:46.461" v="751" actId="20577"/>
          <ac:spMkLst>
            <pc:docMk/>
            <pc:sldMk cId="443722242" sldId="263"/>
            <ac:spMk id="2" creationId="{837EB5BE-E15E-4BB7-9DF9-57CAF803CCF0}"/>
          </ac:spMkLst>
        </pc:spChg>
        <pc:spChg chg="del mod">
          <ac:chgData name="Miao, Catherine" userId="2f80fa44-951d-45aa-8067-be181f1dab5e" providerId="ADAL" clId="{0B4EB35B-6BB5-47F6-B896-A58562075FF9}" dt="2021-09-10T20:11:51.730" v="753" actId="478"/>
          <ac:spMkLst>
            <pc:docMk/>
            <pc:sldMk cId="443722242" sldId="263"/>
            <ac:spMk id="113" creationId="{1A8894C5-9151-4440-9FA4-6072E8614DBA}"/>
          </ac:spMkLst>
        </pc:spChg>
        <pc:spChg chg="del">
          <ac:chgData name="Miao, Catherine" userId="2f80fa44-951d-45aa-8067-be181f1dab5e" providerId="ADAL" clId="{0B4EB35B-6BB5-47F6-B896-A58562075FF9}" dt="2021-09-10T20:11:53.294" v="754" actId="478"/>
          <ac:spMkLst>
            <pc:docMk/>
            <pc:sldMk cId="443722242" sldId="263"/>
            <ac:spMk id="114" creationId="{E376F74B-E4CB-462B-B3D1-971AA4293837}"/>
          </ac:spMkLst>
        </pc:spChg>
      </pc:sldChg>
      <pc:sldChg chg="addSp modSp mod">
        <pc:chgData name="Miao, Catherine" userId="2f80fa44-951d-45aa-8067-be181f1dab5e" providerId="ADAL" clId="{0B4EB35B-6BB5-47F6-B896-A58562075FF9}" dt="2021-09-10T21:09:49.051" v="1624" actId="1076"/>
        <pc:sldMkLst>
          <pc:docMk/>
          <pc:sldMk cId="1956169838" sldId="265"/>
        </pc:sldMkLst>
        <pc:spChg chg="add mod">
          <ac:chgData name="Miao, Catherine" userId="2f80fa44-951d-45aa-8067-be181f1dab5e" providerId="ADAL" clId="{0B4EB35B-6BB5-47F6-B896-A58562075FF9}" dt="2021-09-10T21:09:45.945" v="1623" actId="20577"/>
          <ac:spMkLst>
            <pc:docMk/>
            <pc:sldMk cId="1956169838" sldId="265"/>
            <ac:spMk id="61" creationId="{ECD72DF2-BDC0-4528-A86C-FDC8DB6DAB0D}"/>
          </ac:spMkLst>
        </pc:spChg>
        <pc:spChg chg="mod">
          <ac:chgData name="Miao, Catherine" userId="2f80fa44-951d-45aa-8067-be181f1dab5e" providerId="ADAL" clId="{0B4EB35B-6BB5-47F6-B896-A58562075FF9}" dt="2021-09-10T21:09:05.584" v="1592" actId="1076"/>
          <ac:spMkLst>
            <pc:docMk/>
            <pc:sldMk cId="1956169838" sldId="265"/>
            <ac:spMk id="605" creationId="{01554102-EF2F-47DE-80FA-15E02CFFAD69}"/>
          </ac:spMkLst>
        </pc:spChg>
        <pc:spChg chg="mod">
          <ac:chgData name="Miao, Catherine" userId="2f80fa44-951d-45aa-8067-be181f1dab5e" providerId="ADAL" clId="{0B4EB35B-6BB5-47F6-B896-A58562075FF9}" dt="2021-09-10T21:09:49.051" v="1624" actId="1076"/>
          <ac:spMkLst>
            <pc:docMk/>
            <pc:sldMk cId="1956169838" sldId="265"/>
            <ac:spMk id="610" creationId="{AC85F261-DAEE-4062-A0C4-BC881FDC1A6F}"/>
          </ac:spMkLst>
        </pc:spChg>
      </pc:sldChg>
      <pc:sldChg chg="add del">
        <pc:chgData name="Miao, Catherine" userId="2f80fa44-951d-45aa-8067-be181f1dab5e" providerId="ADAL" clId="{0B4EB35B-6BB5-47F6-B896-A58562075FF9}" dt="2021-09-10T19:46:19.442" v="300" actId="47"/>
        <pc:sldMkLst>
          <pc:docMk/>
          <pc:sldMk cId="559856911" sldId="266"/>
        </pc:sldMkLst>
      </pc:sldChg>
      <pc:sldChg chg="addSp delSp modSp add mod">
        <pc:chgData name="Miao, Catherine" userId="2f80fa44-951d-45aa-8067-be181f1dab5e" providerId="ADAL" clId="{0B4EB35B-6BB5-47F6-B896-A58562075FF9}" dt="2021-09-10T20:22:49.470" v="1188" actId="14100"/>
        <pc:sldMkLst>
          <pc:docMk/>
          <pc:sldMk cId="2528007512" sldId="266"/>
        </pc:sldMkLst>
        <pc:spChg chg="mod">
          <ac:chgData name="Miao, Catherine" userId="2f80fa44-951d-45aa-8067-be181f1dab5e" providerId="ADAL" clId="{0B4EB35B-6BB5-47F6-B896-A58562075FF9}" dt="2021-09-10T20:14:13.150" v="792" actId="20577"/>
          <ac:spMkLst>
            <pc:docMk/>
            <pc:sldMk cId="2528007512" sldId="266"/>
            <ac:spMk id="2" creationId="{837EB5BE-E15E-4BB7-9DF9-57CAF803CCF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7" creationId="{9C1C650F-4A3E-45F5-8271-C75F78688C7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0" creationId="{F4B79CB3-9DBE-4635-92E0-8331EB0D427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1" creationId="{2713B90D-CA73-4F4D-8ED9-35FEF950AF4E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2" creationId="{631A9B4B-C92B-4351-AE6A-F966ED46CA7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3" creationId="{3BC3054C-C3D1-4FAA-95FB-C0263F16C388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4" creationId="{7B6E16E2-3E58-472C-A4AD-7228C25A3C3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5" creationId="{499C6438-18FF-420B-BA51-EE8F6CE19553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6" creationId="{08FC0C4E-607D-4089-87D9-83D461605EAA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7" creationId="{FC027AE4-C412-4C21-A5A1-35B0E801CA1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8" creationId="{AF1A2EBC-A420-44CF-B197-E8E88FA4D22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39" creationId="{CAA07D1C-D7AA-4A51-8E08-5686B87AD4D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0" creationId="{2A9DB23F-6AF4-4E0C-8F6A-64BE10B938D2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1" creationId="{505A7E1A-EAA1-4C59-9A47-405C4FEA539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2" creationId="{C6211116-35AB-4CC0-AD6C-D34D700BDD27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3" creationId="{E8C6694E-CC27-444D-9B1D-B2A84D18968E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4" creationId="{391E65CE-635B-4270-A675-2C355DDA42EF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" creationId="{95A18565-DAAF-4FC2-BEC5-4319387BF297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" creationId="{FE4754EF-9C37-437B-A41B-A42B1E6AFB79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" creationId="{1AFE112D-B1B8-443A-9606-48FDC947D22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8" creationId="{0B9A0AFC-83DF-412E-BBEC-D1A7B86DC8D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" creationId="{25DBBCDB-8E80-4B14-991E-F3BEE3B67D4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0" creationId="{96B1DE64-847E-4220-9C70-E0EBE1BD3EA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1" creationId="{4BC4D49D-F266-418D-9182-FEAC9DC846C7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2" creationId="{42E612DC-B234-4912-907C-4130A2034D4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3" creationId="{F17FA05C-44D3-48EF-AF94-C96FC7E5E94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4" creationId="{D5D0C4FA-9FFF-4F56-8358-AA0B8E63BF2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5" creationId="{A7C1C815-00C1-4567-B23E-4D7D4684695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6" creationId="{E0ABF9D8-E42C-4CD2-A7E6-636D875AFDCA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7" creationId="{36EB77CB-4885-41D8-BC2F-EFC113BC671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8" creationId="{3B2E3C72-377B-4537-A21E-56B385735CFE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9" creationId="{955868DC-0F82-4148-84F3-AB527D802FB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4" creationId="{92DC2F78-19D1-4C49-9A75-2A803E47AC1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5" creationId="{7333FCE4-6E12-4311-B360-9EFE05A1517C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6" creationId="{7928DEA0-D11A-433C-9886-48F27B22D1D8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7" creationId="{54A3D373-1750-4270-B2DF-DC8E72C56371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18" creationId="{C0CCCC9D-862B-41D8-BC5E-72F2A19E8F01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0" creationId="{6BA982ED-27AC-4432-A49F-E9C56C9D4B34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2" creationId="{B0CBC1F0-0641-4308-8324-682B29B854D0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3" creationId="{2BB4A806-9D94-452D-9151-0BEB7152A70D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4" creationId="{2E4DC892-30A4-4A9B-A61F-14C615AE1D0A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5" creationId="{FC6E7952-B0CF-4611-8889-AA4971B396D4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6" creationId="{02DDA311-6E81-46C4-8544-45AA5C28CBC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127" creationId="{3E5E79D6-6BF9-4110-A7D5-F01A4422E32D}"/>
          </ac:spMkLst>
        </pc:spChg>
        <pc:spChg chg="add del mod">
          <ac:chgData name="Miao, Catherine" userId="2f80fa44-951d-45aa-8067-be181f1dab5e" providerId="ADAL" clId="{0B4EB35B-6BB5-47F6-B896-A58562075FF9}" dt="2021-09-10T20:19:55.148" v="1020" actId="20577"/>
          <ac:spMkLst>
            <pc:docMk/>
            <pc:sldMk cId="2528007512" sldId="266"/>
            <ac:spMk id="237" creationId="{3FC70EA6-664F-491E-BDDD-51A3CBB65511}"/>
          </ac:spMkLst>
        </pc:spChg>
        <pc:spChg chg="add del mod">
          <ac:chgData name="Miao, Catherine" userId="2f80fa44-951d-45aa-8067-be181f1dab5e" providerId="ADAL" clId="{0B4EB35B-6BB5-47F6-B896-A58562075FF9}" dt="2021-09-10T20:20:35.747" v="1111" actId="20577"/>
          <ac:spMkLst>
            <pc:docMk/>
            <pc:sldMk cId="2528007512" sldId="266"/>
            <ac:spMk id="239" creationId="{E6CF9E24-3FD9-4408-8A78-7369008A154E}"/>
          </ac:spMkLst>
        </pc:spChg>
        <pc:spChg chg="add del mod">
          <ac:chgData name="Miao, Catherine" userId="2f80fa44-951d-45aa-8067-be181f1dab5e" providerId="ADAL" clId="{0B4EB35B-6BB5-47F6-B896-A58562075FF9}" dt="2021-09-10T20:21:09.382" v="1172" actId="20577"/>
          <ac:spMkLst>
            <pc:docMk/>
            <pc:sldMk cId="2528007512" sldId="266"/>
            <ac:spMk id="240" creationId="{87E4BC25-11B9-4FDC-8B08-7396C334921E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246" creationId="{F6767388-D5A9-4A0C-A7A2-E49ED98CB7BB}"/>
          </ac:spMkLst>
        </pc:spChg>
        <pc:spChg chg="add del 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247" creationId="{8BA11DBF-4C6B-47BA-B97B-7976CCB5FF40}"/>
          </ac:spMkLst>
        </pc:spChg>
        <pc:spChg chg="add del mod">
          <ac:chgData name="Miao, Catherine" userId="2f80fa44-951d-45aa-8067-be181f1dab5e" providerId="ADAL" clId="{0B4EB35B-6BB5-47F6-B896-A58562075FF9}" dt="2021-09-10T20:18:33.221" v="898" actId="20577"/>
          <ac:spMkLst>
            <pc:docMk/>
            <pc:sldMk cId="2528007512" sldId="266"/>
            <ac:spMk id="248" creationId="{E8B086D6-D646-4FF7-B5F8-91BDA9DE2014}"/>
          </ac:spMkLst>
        </pc:spChg>
        <pc:spChg chg="add del mod">
          <ac:chgData name="Miao, Catherine" userId="2f80fa44-951d-45aa-8067-be181f1dab5e" providerId="ADAL" clId="{0B4EB35B-6BB5-47F6-B896-A58562075FF9}" dt="2021-09-10T20:19:00.930" v="931" actId="14100"/>
          <ac:spMkLst>
            <pc:docMk/>
            <pc:sldMk cId="2528007512" sldId="266"/>
            <ac:spMk id="249" creationId="{11B8B8F0-FE0E-430E-82F4-253FDC78F4BF}"/>
          </ac:spMkLst>
        </pc:spChg>
        <pc:spChg chg="del topLvl">
          <ac:chgData name="Miao, Catherine" userId="2f80fa44-951d-45aa-8067-be181f1dab5e" providerId="ADAL" clId="{0B4EB35B-6BB5-47F6-B896-A58562075FF9}" dt="2021-09-10T20:16:43.959" v="855" actId="478"/>
          <ac:spMkLst>
            <pc:docMk/>
            <pc:sldMk cId="2528007512" sldId="266"/>
            <ac:spMk id="276" creationId="{4A9065BD-01A1-41BC-85B9-A4CD857DB68C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0" creationId="{A6F08107-B556-4DB9-9F84-02D0A11D26D1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1" creationId="{5CA8ED00-9C7B-4D1F-A843-0E39EA8002F1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2" creationId="{C2055670-2D34-4F03-BD03-9BB75E648323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3" creationId="{B1B6DCB3-DF51-4AEB-9C6F-973DC42D420F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4" creationId="{12F5A022-8610-4D66-BB23-0BA78E2A9927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325" creationId="{37B96162-3C1B-4FEF-A27B-1D81DF007C56}"/>
          </ac:spMkLst>
        </pc:spChg>
        <pc:spChg chg="del topLvl">
          <ac:chgData name="Miao, Catherine" userId="2f80fa44-951d-45aa-8067-be181f1dab5e" providerId="ADAL" clId="{0B4EB35B-6BB5-47F6-B896-A58562075FF9}" dt="2021-09-10T20:16:22.006" v="848" actId="478"/>
          <ac:spMkLst>
            <pc:docMk/>
            <pc:sldMk cId="2528007512" sldId="266"/>
            <ac:spMk id="339" creationId="{E2DE85FD-25B5-4042-BF9B-F866C0018969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1" creationId="{F47EC5D7-8FF7-428E-A7F7-BD954A90167C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4" creationId="{F96FE167-4517-41EC-B417-07947CBEF87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6" creationId="{24F49B07-A24D-4791-A96E-E16251B36F8F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7" creationId="{41FDB341-DCF7-4C69-AEE1-DB866D7728F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8" creationId="{CB6290AD-9D50-4ED0-88E0-C1B8D463B09F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59" creationId="{102EA9F8-A9CA-4EEB-BE7F-7609AC901F2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0" creationId="{830982BB-26BC-4CEA-B4C6-F73302059F9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1" creationId="{C58BA009-5571-4259-B751-524EE846A38C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2" creationId="{23E1A101-735A-4340-A36A-8EED10305AC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3" creationId="{56D3F71B-8641-40F6-AF91-A21168A58E7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4" creationId="{751ED4DD-CB26-4706-B1CB-467746FEBEB3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5" creationId="{145AA399-0324-47EF-B8BF-6C5BCCBCD44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6" creationId="{63A76D48-E6A4-48DA-8484-2CE37C3C14B3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7" creationId="{B26DF7AA-28D1-4D54-93ED-405EA6F3139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8" creationId="{FB80A8D1-DACB-4D5D-970F-9ACCA8D51C3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69" creationId="{47C0C826-229E-481F-BAEC-FF8514B0D76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0" creationId="{815F84CC-C0DE-40E7-A2FD-59C2E7652EB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1" creationId="{F8FE93CC-7035-4538-A473-DB987F29ED06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2" creationId="{E8D332C8-B460-46DE-962E-E0B9AFAEA7E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3" creationId="{1C5AD953-B207-400F-B68C-EB17705BF667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4" creationId="{27347BF3-ECE9-4FA8-B730-1B731D9A9E9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5" creationId="{718435E1-577F-46F8-B4E0-0E1266F666E9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76" creationId="{B1F90883-AAF6-483E-8203-BA37B4EDD4B3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77" creationId="{E586C1A6-876E-4AF2-82EA-70843041DF2D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78" creationId="{BDB6C98B-51A2-4690-A481-4811526BFC60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79" creationId="{A7EA2D42-22EB-4F05-81F3-EAF9E605272B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0" creationId="{44F1F6CF-4023-4E61-B47E-4493F3C2A6DF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1" creationId="{E7C31211-62C4-4F3F-8645-BE3B944896C6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2" creationId="{9B8C69EA-27C9-4EE1-9039-BF94DBA7FFEF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3" creationId="{2DCF779F-BF91-4F1F-913A-71576FA22A28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4" creationId="{74EB3CE6-230F-4509-B5A6-3117F202E2A8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5" creationId="{6F9CEF33-DFDD-4860-8CB6-09711A03D2DB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6" creationId="{93FE6E42-CDD1-45DF-9455-235DB0D1FF0E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7" creationId="{9E8240C1-67C4-4904-945C-D15A542D78A4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488" creationId="{EC181823-80FE-4FC4-B585-CC0B508D81DA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0" creationId="{16285162-AF11-44B3-8706-9ADC763DA690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1" creationId="{D283263D-6B15-49AF-BAED-E506B7F961D5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2" creationId="{C64E65B4-0DB6-4301-A3A9-2B14A6824FA1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3" creationId="{F78451CC-A187-441A-B537-36E183F673C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4" creationId="{4BE680F0-98C7-4F31-A69D-5EF5D8FD6E9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5" creationId="{C82150C7-868B-46F7-A473-D9FA193C7684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6" creationId="{B2970397-5D9F-4F3F-A0D3-F532167BAAEB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7" creationId="{57D56F14-294E-4EE3-9EA3-2E387522FE0D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8" creationId="{0B68D999-FAA4-45BA-923C-86123904A939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499" creationId="{8C54F03D-950F-4CA2-AB4D-5EB6659EA6CC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00" creationId="{FBBA9105-7692-4E80-B904-B78F6DCBE6F2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01" creationId="{0AF32150-5161-4878-A6EB-128328F5F70C}"/>
          </ac:spMkLst>
        </pc:spChg>
        <pc:spChg chg="mod">
          <ac:chgData name="Miao, Catherine" userId="2f80fa44-951d-45aa-8067-be181f1dab5e" providerId="ADAL" clId="{0B4EB35B-6BB5-47F6-B896-A58562075FF9}" dt="2021-09-10T20:17:30.221" v="866" actId="1076"/>
          <ac:spMkLst>
            <pc:docMk/>
            <pc:sldMk cId="2528007512" sldId="266"/>
            <ac:spMk id="502" creationId="{ED96E0AD-0D56-4EA8-BFDA-892663A05767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3" creationId="{406FEC35-9A30-48B6-A551-1415AC880D56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4" creationId="{90FD6A3C-AF1B-46A4-B987-7DA4120A9A9E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5" creationId="{78BD4F2D-DE4B-436C-8A40-4187B5E694A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6" creationId="{788B4C60-3905-48B0-A65E-367DDAC4B9AE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7" creationId="{51297414-2839-4D65-A514-D4B2EFB07FC2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8" creationId="{98F20DA2-E57B-4CFC-9392-43501D832559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09" creationId="{95046DD6-9FFF-41CF-86DB-780C7FAC31C8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10" creationId="{358DA0DA-CFE8-483E-9342-99BFE0F8B0DF}"/>
          </ac:spMkLst>
        </pc:spChg>
        <pc:spChg chg="mod">
          <ac:chgData name="Miao, Catherine" userId="2f80fa44-951d-45aa-8067-be181f1dab5e" providerId="ADAL" clId="{0B4EB35B-6BB5-47F6-B896-A58562075FF9}" dt="2021-09-10T20:17:09.867" v="862" actId="1076"/>
          <ac:spMkLst>
            <pc:docMk/>
            <pc:sldMk cId="2528007512" sldId="266"/>
            <ac:spMk id="511" creationId="{A154A32B-DB74-4DF2-9398-1645280F672D}"/>
          </ac:spMkLst>
        </pc:spChg>
        <pc:grpChg chg="add mod">
          <ac:chgData name="Miao, Catherine" userId="2f80fa44-951d-45aa-8067-be181f1dab5e" providerId="ADAL" clId="{0B4EB35B-6BB5-47F6-B896-A58562075FF9}" dt="2021-09-10T20:17:30.221" v="866" actId="1076"/>
          <ac:grpSpMkLst>
            <pc:docMk/>
            <pc:sldMk cId="2528007512" sldId="266"/>
            <ac:grpSpMk id="4" creationId="{2B11BE60-DB8B-4D21-BF42-9B3630FD3049}"/>
          </ac:grpSpMkLst>
        </pc:grpChg>
        <pc:grpChg chg="add mod">
          <ac:chgData name="Miao, Catherine" userId="2f80fa44-951d-45aa-8067-be181f1dab5e" providerId="ADAL" clId="{0B4EB35B-6BB5-47F6-B896-A58562075FF9}" dt="2021-09-10T20:17:09.867" v="862" actId="1076"/>
          <ac:grpSpMkLst>
            <pc:docMk/>
            <pc:sldMk cId="2528007512" sldId="266"/>
            <ac:grpSpMk id="5" creationId="{7457A61B-64FA-4A53-9F56-0C6279D5BDB6}"/>
          </ac:grpSpMkLst>
        </pc:grpChg>
        <pc:grpChg chg="del">
          <ac:chgData name="Miao, Catherine" userId="2f80fa44-951d-45aa-8067-be181f1dab5e" providerId="ADAL" clId="{0B4EB35B-6BB5-47F6-B896-A58562075FF9}" dt="2021-09-10T20:15:07.618" v="835" actId="478"/>
          <ac:grpSpMkLst>
            <pc:docMk/>
            <pc:sldMk cId="2528007512" sldId="266"/>
            <ac:grpSpMk id="60" creationId="{8700986D-6E4E-4C71-850B-6BB34C32F955}"/>
          </ac:grpSpMkLst>
        </pc:grpChg>
        <pc:grpChg chg="del">
          <ac:chgData name="Miao, Catherine" userId="2f80fa44-951d-45aa-8067-be181f1dab5e" providerId="ADAL" clId="{0B4EB35B-6BB5-47F6-B896-A58562075FF9}" dt="2021-09-10T20:16:18.280" v="847" actId="478"/>
          <ac:grpSpMkLst>
            <pc:docMk/>
            <pc:sldMk cId="2528007512" sldId="266"/>
            <ac:grpSpMk id="278" creationId="{8DC83C8E-A08A-4809-B6FB-9510E0BAB24A}"/>
          </ac:grpSpMkLst>
        </pc:grpChg>
        <pc:grpChg chg="mod">
          <ac:chgData name="Miao, Catherine" userId="2f80fa44-951d-45aa-8067-be181f1dab5e" providerId="ADAL" clId="{0B4EB35B-6BB5-47F6-B896-A58562075FF9}" dt="2021-09-10T20:17:09.867" v="862" actId="1076"/>
          <ac:grpSpMkLst>
            <pc:docMk/>
            <pc:sldMk cId="2528007512" sldId="266"/>
            <ac:grpSpMk id="326" creationId="{593C9B00-9FDC-4B42-8E00-2967F0FFB1D0}"/>
          </ac:grpSpMkLst>
        </pc:grpChg>
        <pc:grpChg chg="mod">
          <ac:chgData name="Miao, Catherine" userId="2f80fa44-951d-45aa-8067-be181f1dab5e" providerId="ADAL" clId="{0B4EB35B-6BB5-47F6-B896-A58562075FF9}" dt="2021-09-10T20:17:30.221" v="866" actId="1076"/>
          <ac:grpSpMkLst>
            <pc:docMk/>
            <pc:sldMk cId="2528007512" sldId="266"/>
            <ac:grpSpMk id="327" creationId="{5C58A381-DBA4-46C0-99EC-B79B0A67CE37}"/>
          </ac:grpSpMkLst>
        </pc:grpChg>
        <pc:grpChg chg="mod">
          <ac:chgData name="Miao, Catherine" userId="2f80fa44-951d-45aa-8067-be181f1dab5e" providerId="ADAL" clId="{0B4EB35B-6BB5-47F6-B896-A58562075FF9}" dt="2021-09-10T20:17:09.867" v="862" actId="1076"/>
          <ac:grpSpMkLst>
            <pc:docMk/>
            <pc:sldMk cId="2528007512" sldId="266"/>
            <ac:grpSpMk id="328" creationId="{181C85E5-8435-4F8A-8F14-56E2F74CCDDA}"/>
          </ac:grpSpMkLst>
        </pc:grpChg>
        <pc:grpChg chg="mod">
          <ac:chgData name="Miao, Catherine" userId="2f80fa44-951d-45aa-8067-be181f1dab5e" providerId="ADAL" clId="{0B4EB35B-6BB5-47F6-B896-A58562075FF9}" dt="2021-09-10T20:17:09.867" v="862" actId="1076"/>
          <ac:grpSpMkLst>
            <pc:docMk/>
            <pc:sldMk cId="2528007512" sldId="266"/>
            <ac:grpSpMk id="329" creationId="{967BA6F2-B5E1-4277-8426-B12E217C2BF9}"/>
          </ac:grpSpMkLst>
        </pc:grpChg>
        <pc:grpChg chg="mod">
          <ac:chgData name="Miao, Catherine" userId="2f80fa44-951d-45aa-8067-be181f1dab5e" providerId="ADAL" clId="{0B4EB35B-6BB5-47F6-B896-A58562075FF9}" dt="2021-09-10T20:17:30.221" v="866" actId="1076"/>
          <ac:grpSpMkLst>
            <pc:docMk/>
            <pc:sldMk cId="2528007512" sldId="266"/>
            <ac:grpSpMk id="330" creationId="{9AA92F00-F376-40A6-B103-922189196D84}"/>
          </ac:grpSpMkLst>
        </pc:grpChg>
        <pc:grpChg chg="mod">
          <ac:chgData name="Miao, Catherine" userId="2f80fa44-951d-45aa-8067-be181f1dab5e" providerId="ADAL" clId="{0B4EB35B-6BB5-47F6-B896-A58562075FF9}" dt="2021-09-10T20:17:30.221" v="866" actId="1076"/>
          <ac:grpSpMkLst>
            <pc:docMk/>
            <pc:sldMk cId="2528007512" sldId="266"/>
            <ac:grpSpMk id="331" creationId="{6E1ACDBF-F6BD-493C-9F22-F17150828235}"/>
          </ac:grpSpMkLst>
        </pc:grpChg>
        <pc:grpChg chg="del">
          <ac:chgData name="Miao, Catherine" userId="2f80fa44-951d-45aa-8067-be181f1dab5e" providerId="ADAL" clId="{0B4EB35B-6BB5-47F6-B896-A58562075FF9}" dt="2021-09-10T20:16:22.006" v="848" actId="478"/>
          <ac:grpSpMkLst>
            <pc:docMk/>
            <pc:sldMk cId="2528007512" sldId="266"/>
            <ac:grpSpMk id="340" creationId="{00F74EC7-F5B5-4207-82CB-A1351A0FA5D5}"/>
          </ac:grpSpMkLst>
        </pc:grpChg>
        <pc:grpChg chg="del">
          <ac:chgData name="Miao, Catherine" userId="2f80fa44-951d-45aa-8067-be181f1dab5e" providerId="ADAL" clId="{0B4EB35B-6BB5-47F6-B896-A58562075FF9}" dt="2021-09-10T20:16:07.264" v="844" actId="478"/>
          <ac:grpSpMkLst>
            <pc:docMk/>
            <pc:sldMk cId="2528007512" sldId="266"/>
            <ac:grpSpMk id="341" creationId="{11355627-CA6E-4BD1-B1E7-D698E8E708AB}"/>
          </ac:grpSpMkLst>
        </pc:grpChg>
        <pc:picChg chg="add del mod">
          <ac:chgData name="Miao, Catherine" userId="2f80fa44-951d-45aa-8067-be181f1dab5e" providerId="ADAL" clId="{0B4EB35B-6BB5-47F6-B896-A58562075FF9}" dt="2021-09-10T20:21:26.504" v="1173" actId="478"/>
          <ac:picMkLst>
            <pc:docMk/>
            <pc:sldMk cId="2528007512" sldId="266"/>
            <ac:picMk id="3" creationId="{8F54E920-B38F-4F9C-887D-5A82F2C0850E}"/>
          </ac:picMkLst>
        </pc:picChg>
        <pc:picChg chg="add mod modCrop">
          <ac:chgData name="Miao, Catherine" userId="2f80fa44-951d-45aa-8067-be181f1dab5e" providerId="ADAL" clId="{0B4EB35B-6BB5-47F6-B896-A58562075FF9}" dt="2021-09-10T20:22:49.470" v="1188" actId="14100"/>
          <ac:picMkLst>
            <pc:docMk/>
            <pc:sldMk cId="2528007512" sldId="266"/>
            <ac:picMk id="6" creationId="{0EC91A80-E4D5-4418-9AD6-C0B06C32B28B}"/>
          </ac:picMkLst>
        </pc:picChg>
        <pc:picChg chg="del">
          <ac:chgData name="Miao, Catherine" userId="2f80fa44-951d-45aa-8067-be181f1dab5e" providerId="ADAL" clId="{0B4EB35B-6BB5-47F6-B896-A58562075FF9}" dt="2021-09-10T20:15:06.046" v="834" actId="478"/>
          <ac:picMkLst>
            <pc:docMk/>
            <pc:sldMk cId="2528007512" sldId="266"/>
            <ac:picMk id="274" creationId="{54529B63-3C39-403B-B326-29A96ACF77C6}"/>
          </ac:picMkLst>
        </pc:picChg>
        <pc:cxnChg chg="mod">
          <ac:chgData name="Miao, Catherine" userId="2f80fa44-951d-45aa-8067-be181f1dab5e" providerId="ADAL" clId="{0B4EB35B-6BB5-47F6-B896-A58562075FF9}" dt="2021-09-10T20:17:09.867" v="862" actId="1076"/>
          <ac:cxnSpMkLst>
            <pc:docMk/>
            <pc:sldMk cId="2528007512" sldId="266"/>
            <ac:cxnSpMk id="243" creationId="{4538FDDF-85FF-42EB-8F62-C0FC7B5E1722}"/>
          </ac:cxnSpMkLst>
        </pc:cxnChg>
        <pc:cxnChg chg="mod">
          <ac:chgData name="Miao, Catherine" userId="2f80fa44-951d-45aa-8067-be181f1dab5e" providerId="ADAL" clId="{0B4EB35B-6BB5-47F6-B896-A58562075FF9}" dt="2021-09-10T20:17:30.221" v="866" actId="1076"/>
          <ac:cxnSpMkLst>
            <pc:docMk/>
            <pc:sldMk cId="2528007512" sldId="266"/>
            <ac:cxnSpMk id="250" creationId="{C8F1BE85-5E9D-46C9-A598-82B54419B805}"/>
          </ac:cxnSpMkLst>
        </pc:cxnChg>
        <pc:cxnChg chg="mod">
          <ac:chgData name="Miao, Catherine" userId="2f80fa44-951d-45aa-8067-be181f1dab5e" providerId="ADAL" clId="{0B4EB35B-6BB5-47F6-B896-A58562075FF9}" dt="2021-09-10T20:17:30.221" v="866" actId="1076"/>
          <ac:cxnSpMkLst>
            <pc:docMk/>
            <pc:sldMk cId="2528007512" sldId="266"/>
            <ac:cxnSpMk id="251" creationId="{45168914-2EDC-4BFD-AE34-E55D13396734}"/>
          </ac:cxnSpMkLst>
        </pc:cxnChg>
        <pc:cxnChg chg="mod">
          <ac:chgData name="Miao, Catherine" userId="2f80fa44-951d-45aa-8067-be181f1dab5e" providerId="ADAL" clId="{0B4EB35B-6BB5-47F6-B896-A58562075FF9}" dt="2021-09-10T20:17:09.867" v="862" actId="1076"/>
          <ac:cxnSpMkLst>
            <pc:docMk/>
            <pc:sldMk cId="2528007512" sldId="266"/>
            <ac:cxnSpMk id="333" creationId="{E8055ECD-FED9-48A7-9067-28FB340D3C76}"/>
          </ac:cxnSpMkLst>
        </pc:cxnChg>
      </pc:sldChg>
      <pc:sldChg chg="add del">
        <pc:chgData name="Miao, Catherine" userId="2f80fa44-951d-45aa-8067-be181f1dab5e" providerId="ADAL" clId="{0B4EB35B-6BB5-47F6-B896-A58562075FF9}" dt="2021-09-10T19:47:44.828" v="304" actId="47"/>
        <pc:sldMkLst>
          <pc:docMk/>
          <pc:sldMk cId="4232233709" sldId="266"/>
        </pc:sldMkLst>
      </pc:sldChg>
      <pc:sldChg chg="delSp modSp add del">
        <pc:chgData name="Miao, Catherine" userId="2f80fa44-951d-45aa-8067-be181f1dab5e" providerId="ADAL" clId="{0B4EB35B-6BB5-47F6-B896-A58562075FF9}" dt="2021-09-10T19:46:20.489" v="301" actId="47"/>
        <pc:sldMkLst>
          <pc:docMk/>
          <pc:sldMk cId="532280492" sldId="267"/>
        </pc:sldMkLst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" creationId="{1894F139-AE58-4546-BC0A-2AD6842FD4A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" creationId="{9AE30610-4D0F-49FC-A72A-CA205C7A4B5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" creationId="{CE68C8A8-6511-4A48-ADB9-8F414628D65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" creationId="{4FEF81D5-FE8D-4EF3-91F0-92053DE4E40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" creationId="{EF7549EC-0015-491A-89BE-C3EDC1A9E11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" creationId="{9D803860-7FD6-4924-9119-AACECB8AC84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" creationId="{E449CA81-190C-46B3-B60F-434EC847D53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" creationId="{79CA9F68-E1C4-4617-8D4E-374F065AFCF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" creationId="{449F153B-7A4C-42F4-81BC-A4452E717B8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" creationId="{C2D63AE5-B445-414E-B7D6-E2B93ED8A79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9" creationId="{A47715BA-0C0A-4A38-A1F6-BB29E3E5250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0" creationId="{4636AE6F-8D6A-4A0D-B92B-050194AB72A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1" creationId="{37AC57D2-2882-4176-A3D8-A39D024F3FD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2" creationId="{45769E7A-C2FA-41ED-91A4-60013EB80DF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3" creationId="{7BE3866A-9A57-4B24-B5C6-74E38776385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4" creationId="{CE839766-CC71-4EBC-B140-3072147E248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5" creationId="{20DC56D1-2D74-47F0-AE30-2B534D477D1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6" creationId="{E58CDBEE-3590-4E5B-AB41-7E13E986599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7" creationId="{9714843B-7F2D-4487-A0AD-8AF96DFFDBC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8" creationId="{FD8C511E-DB37-4B6B-A7E3-3DD4ED8FB0C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29" creationId="{C6537004-FB23-4190-A995-5824F619CA0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30" creationId="{D9A49C26-8AC4-4BA7-A397-53A5F693D2F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31" creationId="{B0BA1841-1BF9-46B2-9842-C5544071D99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38" creationId="{10E6389F-9A42-431F-931B-73D57A54512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39" creationId="{FEB474D1-378B-403D-83C8-9EAAA0A86A0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0" creationId="{4B12A02D-7CCE-47BA-B334-81DDD7A4DFC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1" creationId="{7605E862-5706-4608-93B9-4C19459A5EF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2" creationId="{453664FA-FD93-4843-B40E-DE39BE55638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3" creationId="{2F1F7760-D333-490A-965F-80792F5C213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4" creationId="{ED159653-26B6-4F3F-BA47-5444557B2B0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5" creationId="{9C468216-A621-4391-8BE9-8D06FA69A42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6" creationId="{709BAE88-C082-4B1B-93C7-8BF9D86AAB9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7" creationId="{F4678EB6-DD0D-476F-AA0C-92519ABADE7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8" creationId="{EC0B02DD-E1BF-4769-ADDF-EED1B3688ED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49" creationId="{BC99764D-D704-4BD5-90D9-8FC682E64B7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0" creationId="{540E674C-7D52-4D6C-A57C-26C336596D9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1" creationId="{98EDE812-511C-43CD-AE3B-77E776E0563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2" creationId="{BBABCFEF-B09C-4D26-9EC8-1D42921EEBD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3" creationId="{09585964-8F53-4E72-BA9A-AE728173D28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4" creationId="{7634F7BF-138C-44A7-9735-2CEEAB599BD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5" creationId="{58F21C83-610A-454A-A7B5-3A4F88EC6EE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6" creationId="{450E50E8-46B9-4143-B5CD-E02B1E44EE9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7" creationId="{D9C04C00-273E-4D09-82EA-CA2EFFA83A3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8" creationId="{2DAFC794-F795-4D89-A5FA-6296AEAC2A0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59" creationId="{37A5BAB8-7A19-46A6-9BA2-8B380E9B8DA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0" creationId="{6656E824-AEFF-4074-8B93-C4EC0AFADC1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1" creationId="{06E1A2AF-1D5B-4396-B7DE-1EB408D94CF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2" creationId="{5FDE6134-CACC-4FB6-90A0-1494BD93CF1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3" creationId="{27078B8D-84C1-44EA-B3D9-0FCAEBFE103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4" creationId="{930E2915-1D46-463A-A7CE-C4ADFDA7DFB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5" creationId="{F3D7CA32-D4A5-49D7-BAFA-64F89EBB3DB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6" creationId="{4DF33F01-28F8-48B8-82B0-4059B67357D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7" creationId="{25D850B3-900B-461A-A34F-F440E1C0B26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8" creationId="{7B36AB22-0EBE-426A-B972-716A946D92A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69" creationId="{3FBEA22B-261D-4276-A0E7-968801022CF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0" creationId="{00FCE4BC-5BCB-465A-BED2-21EB84D0E32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1" creationId="{B7D135C7-94FF-47EC-820B-85594365074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2" creationId="{A6720F9C-5276-4EAB-8DC7-3CE0767F4CC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3" creationId="{851C13E4-131C-480C-9D71-C097884B70C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4" creationId="{8A82AE24-48DB-4BDD-B2FE-6F71A26A4BF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5" creationId="{0C732EA4-BC62-42F6-96BF-CB12CBA6620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6" creationId="{799BB87A-6478-4F35-8CC6-C8E5D33B1DD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7" creationId="{291EB433-A73C-4EF0-BA51-CECD90B3349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8" creationId="{FE05E215-3099-4B8C-8E9F-F0FD9F3E75B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79" creationId="{246EA1C5-A621-4E6D-948C-7C2E2E43519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0" creationId="{4C82DF7F-BAE1-4EF7-81FB-29482AAC3F3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1" creationId="{97B3A77A-A944-413D-93F5-2920F2B1A29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2" creationId="{3FCE0A5C-5F64-44FF-95A2-C7DE02C2DD4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3" creationId="{C52FE4F1-5AC4-44A3-B3A2-3454B322FD5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4" creationId="{5E8148C0-9875-4C66-B0B3-6BC348B1236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5" creationId="{C6A777C5-BC65-43F3-BCEF-C62341DD947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6" creationId="{5F723FC2-EDBE-43C3-B23C-2D44EEEBD8E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7" creationId="{9CE3054F-0EA7-4681-A2E6-C5648BBD765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8" creationId="{E9D4C945-22D4-4CB6-9269-FBCED51A404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89" creationId="{5E55D121-3ADB-404A-B580-6E613BE7195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0" creationId="{56495BF6-C17B-441D-97B4-451270010C8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1" creationId="{AE7C47CC-9726-452F-8651-EC7FA4060F1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2" creationId="{97E1848F-DD1E-469E-AEC2-A6D714B814D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3" creationId="{C7054AFC-A6B4-4E6E-8C0D-5E5B84804FB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4" creationId="{8CCE02D8-FD09-4BAD-BA70-16DFB2536D8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5" creationId="{E5A815A4-7885-4F5C-AE08-031BC86EB49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6" creationId="{0215D820-4A95-4CAE-932C-5661496F9E2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7" creationId="{E294BB62-22C8-4C9B-A63E-5D0FC7F7868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8" creationId="{3A9CFF9E-9335-4AFC-9C20-46CB580BED4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99" creationId="{00ABB27E-6EC4-4E1C-9424-F73BF1D3C44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0" creationId="{FA4FB08A-C00F-4FD5-B3B0-9AC7DD77694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1" creationId="{CE689C70-144E-411F-A531-7C459165A4D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2" creationId="{FA7E2CAD-C13A-4A4F-ACCE-FAA0F31C671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3" creationId="{79957364-8431-4A09-8AF9-A1070E73099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4" creationId="{DD72A8FE-94A8-443F-8C30-32DF2438C34F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5" creationId="{2798B487-5F30-4798-B26C-AC030657D53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6" creationId="{5ABDC73E-7DF6-448B-A025-9576B25AFB7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7" creationId="{973715F4-E65A-458C-B4AF-56CBA83C35B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8" creationId="{FD140C16-CD61-4836-AE1A-832203D3C92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09" creationId="{BBA9A91F-6430-40E2-975F-191FCD12D5C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0" creationId="{36BF9523-A392-41E6-B538-27C32D80628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1" creationId="{9EDB9C5F-A37C-48AB-863C-03A2C89CEC8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2" creationId="{9CB59B9B-E7E8-482A-8672-A7F683BCEED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3" creationId="{EE00C8B3-8B53-4B84-880D-614A6CA629F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4" creationId="{61923858-F8E9-4019-9A13-21ABE27F137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" creationId="{9677314D-8C7B-465A-B0A1-74EF0EEB2D64}"/>
          </ac:spMkLst>
        </pc:spChg>
        <pc:spChg chg="del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" creationId="{28F61198-2E7C-492E-9EDB-831327F0B8A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" creationId="{388C9121-8270-4ED4-9C0C-021B9497E30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" creationId="{ED5EA827-00C2-4D01-9C70-DEEB2E874B5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9" creationId="{6214D40A-9629-4C8A-8EA7-7FC18D45B21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0" creationId="{29C653D7-75F2-4F36-A93E-E86F3CB3CD5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1" creationId="{E4F01E0D-B1C2-491B-8952-A342CDEF4BE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2" creationId="{C0BA6ACD-F885-459F-A6D6-A3CF7DF61EF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3" creationId="{8D70B15E-DDD2-47E4-A921-B7EC1E0E885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4" creationId="{957574F0-39B2-46F8-A7B2-35079FE331B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5" creationId="{B8C4B000-04FE-4FF8-BC70-136BEA1DDE4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6" creationId="{49531480-4B36-471D-AF76-9810623A60E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7" creationId="{DE975D67-1012-4C25-BF6E-876FD6417B6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8" creationId="{2179EA9D-2D11-4830-A284-2759685E57E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29" creationId="{0A2AB88F-C737-40BC-99F0-A089B571013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0" creationId="{FCA5E746-9981-4645-8B62-CA0B9A138D6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1" creationId="{16D8C0A0-6F73-4BFB-9DA9-B2C11A39D10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2" creationId="{3DF4DE28-BE36-4D98-9CD0-41ED6A8DAE1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3" creationId="{4C04CDB2-DF73-43ED-B711-5FF5D5124D6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4" creationId="{6477492A-EFED-4C05-ACCB-00C8A010AD4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5" creationId="{F18AB24A-1A20-4262-8CC8-D7746AEA021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6" creationId="{B506D355-3D87-4426-B606-C01E6D57094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7" creationId="{06D72D55-F4D1-43AE-83B6-5784598609C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8" creationId="{9BD2FE58-80BC-4F1F-80EE-5E482D81158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39" creationId="{D4E7FC77-B20F-462E-8E55-11FC5008169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0" creationId="{6865D0C8-2B8E-4D09-8664-8AF12C7BB5E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1" creationId="{198AF8DD-A873-48C4-851C-BC03B3F5BDB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2" creationId="{EEE9EAB1-A61F-4FD2-B7BC-BC48DE3A21E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3" creationId="{C8C786F9-91BB-4725-BBE7-97515BD461F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4" creationId="{AA48958A-290A-40D6-BAF6-D67FCDD20C9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5" creationId="{A2E66166-2297-4B68-9469-7FB3219ED90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6" creationId="{FD7F9E7C-CA54-4F36-83DE-C9D23F17928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7" creationId="{A008729A-9D46-4C0B-AE98-B6CAB85CA6D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8" creationId="{23209520-3476-47A1-A19F-ADBC555DE5B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49" creationId="{41748807-F512-4338-B13C-B4846324BD4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0" creationId="{34598E2E-3041-416A-BEE4-A465F9A92C8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1" creationId="{7B866AAB-645A-4855-8238-2600B45A57D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2" creationId="{A18C877D-5412-4120-8BDD-374A57071A5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3" creationId="{3598493B-DA13-4784-88AB-886F208B157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4" creationId="{5002AFAD-C422-4BAD-8F32-CD1617742E2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5" creationId="{BABE56D4-AE1F-4B9E-A3A0-743002FA3EE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6" creationId="{B1240519-EA65-452A-B78B-02355BCD095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7" creationId="{1EE1764D-F1D8-4146-9192-F624402CD36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8" creationId="{4623BEB4-11A7-4E63-B4A9-D7B4625546D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59" creationId="{E840D200-3D5C-46D9-8890-31A52DEF477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0" creationId="{3FC9DA75-8804-4F0B-9CD6-B305ADCEBFA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1" creationId="{BDF211D6-80E2-442B-A961-E41AFA6B8BB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2" creationId="{1DA11E31-9B41-4C31-A754-773D9F6A674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3" creationId="{379D99A1-FF2A-4D01-A7BD-0C41FFC4FB0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4" creationId="{AC7984BA-E845-4185-A323-C8587FE280F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5" creationId="{45BC187A-25AF-43AE-B61B-BF2CEB5FD32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6" creationId="{BD3620D4-F3F2-4C09-9A52-0079FA0788E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7" creationId="{48A41E18-2D0B-4189-B711-C455977B088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8" creationId="{254DFA86-9A6C-4B61-8FF6-ACE34AA4B2D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69" creationId="{693BB741-2F19-4A85-BDAA-3399F704922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0" creationId="{38898E85-C569-4053-996A-465A2AD6C0A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1" creationId="{F98E031A-CCD0-4F57-8129-1DA73B3B863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2" creationId="{F2BA94F7-03FC-451C-9B50-1D6A268E406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3" creationId="{82B3C861-5AEA-479C-99FB-2171B3F80B5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4" creationId="{EE65ACCF-7C94-420A-91EB-A0C0F993B9F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5" creationId="{30D6DE93-2F74-40EE-85DF-37EAEC38D84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6" creationId="{D202A986-FF67-4B8A-83D1-A6B6491C884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7" creationId="{A7EA8C48-1FFE-4524-A57B-023F6B70645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8" creationId="{C606D91B-B72B-4145-88FB-691DBB9AE30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79" creationId="{DD42438B-660E-4E8B-8DF9-4EC7F44442A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0" creationId="{53A25926-5711-4972-BC05-37EB3BC9599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1" creationId="{F5DF8B74-FDAE-4554-BD69-FBA245F5326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2" creationId="{71C029F8-F7CF-4189-BAF1-D0E64DAEDFB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3" creationId="{ECEFE350-6B76-4CA7-8BA1-7D7211028A8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4" creationId="{B4A75F49-AFB0-44B3-B69D-32E66909C77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5" creationId="{055DA06E-7DB9-4B61-8D94-19E209F6E6B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6" creationId="{408D74C5-A56A-483A-9938-25A67763A06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7" creationId="{8566AA93-2F58-4558-BB33-2A7F32E5A13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8" creationId="{27A54F74-EC36-4D46-84DB-D86CDCB1EC1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89" creationId="{B889C459-A216-402D-B476-17D358403D6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90" creationId="{66A51BEC-9AF3-409B-8E8E-46DB6D3B291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91" creationId="{686E0063-443E-40E3-9270-314D9C07CADD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2" creationId="{60A08721-DDC7-4AE7-87D9-D3447F4025D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3" creationId="{6D41F514-6131-44B9-B8D0-74FF736480E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4" creationId="{0E567EDF-7E7D-422C-888A-11D6B893064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5" creationId="{2BD02E07-9243-4B6E-A5C0-8AC0DBC5AEC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6" creationId="{2E1D305E-49BF-48E2-9A09-8A65BFCEDF9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7" creationId="{3B997616-22D6-4680-ADBC-304A7389DFFA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8" creationId="{1F86E6C1-B209-4369-BBE6-04B8D853CAB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59" creationId="{CBA322D5-C790-4507-B101-8DABDAB17D4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0" creationId="{5DF55183-64B8-43D1-A050-C463B335876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1" creationId="{450429C4-DADA-4130-970D-D37097DFA19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2" creationId="{6F6A2D0F-C600-4600-9C75-DFB465E1189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3" creationId="{525B407F-68EA-4560-9D69-71DCDFA6DB1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4" creationId="{A4C4D6C1-C411-42D1-B342-2744CA29176B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5" creationId="{04DC5720-0FD0-4BE2-B8A2-C9496FDF685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6" creationId="{0E11AEC3-3BD2-4755-A92A-AB51F4A75DB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7" creationId="{E1C46F9A-776C-47C1-91D3-00A8A681D23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8" creationId="{5558FD5C-8715-4CE6-ACE5-5152ED276FC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69" creationId="{6B8C57E0-6A57-4228-B5C6-D9A05903BDD4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0" creationId="{23FA0807-A028-41ED-B670-1727ECFE8AD7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1" creationId="{80AFA2C0-26F4-4AE7-AE82-F193E0B07FB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2" creationId="{91E9A0CE-4796-4B86-B91C-B8EE2D5F788E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3" creationId="{6544051C-0EFA-4799-B1CC-8DE9CCE62DEC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4" creationId="{E8C935BE-7079-46C9-BA39-04B316AD481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5" creationId="{FAD931F7-CF53-49F1-8321-031FA99EEFD8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6" creationId="{4755DFDC-32EA-4836-8085-73632ECC14F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7" creationId="{2849F88B-1AE9-4EFA-B526-6613A7938E62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8" creationId="{D5B66A42-3846-4673-A339-0745D770E2A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79" creationId="{2CBC0836-2B35-44E6-AAC2-9BD61A9811A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0" creationId="{3AA0B3D2-7556-4EAE-B3FE-5340F7AB8E4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2" creationId="{265E8EF5-792A-447D-8581-05F934BC2B5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3" creationId="{5A6DD6D4-DB71-4F44-BEEF-B1815C8128E1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4" creationId="{012A2139-849B-4D36-9683-2A866A063B89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5" creationId="{A40BAA9A-B772-4084-A1C9-9B7DFC809703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6" creationId="{BD023229-BF99-4D9E-9793-A1D5BB6B4CF5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7" creationId="{E0303630-70A8-46BE-AE8F-27B64EB25FC0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8" creationId="{C93F4A33-D176-4D17-ABBA-D8DACBEC49D6}"/>
          </ac:spMkLst>
        </pc:spChg>
        <pc:spChg chg="mod">
          <ac:chgData name="Miao, Catherine" userId="2f80fa44-951d-45aa-8067-be181f1dab5e" providerId="ADAL" clId="{0B4EB35B-6BB5-47F6-B896-A58562075FF9}" dt="2021-09-10T19:42:15.402" v="262" actId="478"/>
          <ac:spMkLst>
            <pc:docMk/>
            <pc:sldMk cId="532280492" sldId="267"/>
            <ac:spMk id="1189" creationId="{E38FBA43-E175-4F45-BFCA-173B49C70965}"/>
          </ac:spMkLst>
        </pc:spChg>
        <pc:grpChg chg="mod">
          <ac:chgData name="Miao, Catherine" userId="2f80fa44-951d-45aa-8067-be181f1dab5e" providerId="ADAL" clId="{0B4EB35B-6BB5-47F6-B896-A58562075FF9}" dt="2021-09-10T19:42:15.402" v="262" actId="478"/>
          <ac:grpSpMkLst>
            <pc:docMk/>
            <pc:sldMk cId="532280492" sldId="267"/>
            <ac:grpSpMk id="1191" creationId="{7580FB19-A67D-4973-B8AA-E19E1FE5C146}"/>
          </ac:grpSpMkLst>
        </pc:grpChg>
        <pc:picChg chg="mod">
          <ac:chgData name="Miao, Catherine" userId="2f80fa44-951d-45aa-8067-be181f1dab5e" providerId="ADAL" clId="{0B4EB35B-6BB5-47F6-B896-A58562075FF9}" dt="2021-09-10T19:42:15.402" v="262" actId="478"/>
          <ac:picMkLst>
            <pc:docMk/>
            <pc:sldMk cId="532280492" sldId="267"/>
            <ac:picMk id="1181" creationId="{39D0F6EF-AFCD-4E7C-8997-2D149E87C42E}"/>
          </ac:picMkLst>
        </pc:picChg>
        <pc:picChg chg="mod">
          <ac:chgData name="Miao, Catherine" userId="2f80fa44-951d-45aa-8067-be181f1dab5e" providerId="ADAL" clId="{0B4EB35B-6BB5-47F6-B896-A58562075FF9}" dt="2021-09-10T19:42:15.402" v="262" actId="478"/>
          <ac:picMkLst>
            <pc:docMk/>
            <pc:sldMk cId="532280492" sldId="267"/>
            <ac:picMk id="1202" creationId="{A5528E3E-3F8F-448B-9F7D-D303E2363A43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0T20:28:09.699" v="1232" actId="20577"/>
        <pc:sldMkLst>
          <pc:docMk/>
          <pc:sldMk cId="1723196670" sldId="267"/>
        </pc:sldMkLst>
        <pc:spChg chg="mod">
          <ac:chgData name="Miao, Catherine" userId="2f80fa44-951d-45aa-8067-be181f1dab5e" providerId="ADAL" clId="{0B4EB35B-6BB5-47F6-B896-A58562075FF9}" dt="2021-09-10T20:28:09.699" v="1232" actId="20577"/>
          <ac:spMkLst>
            <pc:docMk/>
            <pc:sldMk cId="1723196670" sldId="267"/>
            <ac:spMk id="2" creationId="{837EB5BE-E15E-4BB7-9DF9-57CAF803CCF0}"/>
          </ac:spMkLst>
        </pc:spChg>
        <pc:grpChg chg="del">
          <ac:chgData name="Miao, Catherine" userId="2f80fa44-951d-45aa-8067-be181f1dab5e" providerId="ADAL" clId="{0B4EB35B-6BB5-47F6-B896-A58562075FF9}" dt="2021-09-10T20:23:42.112" v="1190" actId="478"/>
          <ac:grpSpMkLst>
            <pc:docMk/>
            <pc:sldMk cId="1723196670" sldId="267"/>
            <ac:grpSpMk id="4" creationId="{2B11BE60-DB8B-4D21-BF42-9B3630FD3049}"/>
          </ac:grpSpMkLst>
        </pc:grpChg>
        <pc:grpChg chg="del">
          <ac:chgData name="Miao, Catherine" userId="2f80fa44-951d-45aa-8067-be181f1dab5e" providerId="ADAL" clId="{0B4EB35B-6BB5-47F6-B896-A58562075FF9}" dt="2021-09-10T20:23:42.696" v="1191" actId="478"/>
          <ac:grpSpMkLst>
            <pc:docMk/>
            <pc:sldMk cId="1723196670" sldId="267"/>
            <ac:grpSpMk id="5" creationId="{7457A61B-64FA-4A53-9F56-0C6279D5BDB6}"/>
          </ac:grpSpMkLst>
        </pc:grpChg>
        <pc:picChg chg="add mod modCrop">
          <ac:chgData name="Miao, Catherine" userId="2f80fa44-951d-45aa-8067-be181f1dab5e" providerId="ADAL" clId="{0B4EB35B-6BB5-47F6-B896-A58562075FF9}" dt="2021-09-10T20:25:28.022" v="1195" actId="732"/>
          <ac:picMkLst>
            <pc:docMk/>
            <pc:sldMk cId="1723196670" sldId="267"/>
            <ac:picMk id="3" creationId="{0ACC8E51-5104-4E87-9CC4-FB7B2776E9BC}"/>
          </ac:picMkLst>
        </pc:picChg>
        <pc:picChg chg="del">
          <ac:chgData name="Miao, Catherine" userId="2f80fa44-951d-45aa-8067-be181f1dab5e" providerId="ADAL" clId="{0B4EB35B-6BB5-47F6-B896-A58562075FF9}" dt="2021-09-10T20:23:49.607" v="1192" actId="478"/>
          <ac:picMkLst>
            <pc:docMk/>
            <pc:sldMk cId="1723196670" sldId="267"/>
            <ac:picMk id="6" creationId="{0EC91A80-E4D5-4418-9AD6-C0B06C32B28B}"/>
          </ac:picMkLst>
        </pc:picChg>
        <pc:picChg chg="add mod">
          <ac:chgData name="Miao, Catherine" userId="2f80fa44-951d-45aa-8067-be181f1dab5e" providerId="ADAL" clId="{0B4EB35B-6BB5-47F6-B896-A58562075FF9}" dt="2021-09-10T20:27:12.820" v="1204" actId="14100"/>
          <ac:picMkLst>
            <pc:docMk/>
            <pc:sldMk cId="1723196670" sldId="267"/>
            <ac:picMk id="8" creationId="{61B5725F-9DAA-4357-8793-9FE0983AC34A}"/>
          </ac:picMkLst>
        </pc:picChg>
        <pc:picChg chg="add mod">
          <ac:chgData name="Miao, Catherine" userId="2f80fa44-951d-45aa-8067-be181f1dab5e" providerId="ADAL" clId="{0B4EB35B-6BB5-47F6-B896-A58562075FF9}" dt="2021-09-10T20:27:04.878" v="1203" actId="1076"/>
          <ac:picMkLst>
            <pc:docMk/>
            <pc:sldMk cId="1723196670" sldId="267"/>
            <ac:picMk id="9" creationId="{638C1CC5-78A5-4BF4-B76D-375B78C645CF}"/>
          </ac:picMkLst>
        </pc:picChg>
        <pc:picChg chg="add del mod">
          <ac:chgData name="Miao, Catherine" userId="2f80fa44-951d-45aa-8067-be181f1dab5e" providerId="ADAL" clId="{0B4EB35B-6BB5-47F6-B896-A58562075FF9}" dt="2021-09-10T20:26:59.510" v="1202" actId="478"/>
          <ac:picMkLst>
            <pc:docMk/>
            <pc:sldMk cId="1723196670" sldId="267"/>
            <ac:picMk id="10" creationId="{21E66EBB-1C43-4242-A9BB-ED877A02C4DF}"/>
          </ac:picMkLst>
        </pc:picChg>
      </pc:sldChg>
      <pc:sldChg chg="addSp delSp add del mod">
        <pc:chgData name="Miao, Catherine" userId="2f80fa44-951d-45aa-8067-be181f1dab5e" providerId="ADAL" clId="{0B4EB35B-6BB5-47F6-B896-A58562075FF9}" dt="2021-09-10T20:14:06.072" v="783"/>
        <pc:sldMkLst>
          <pc:docMk/>
          <pc:sldMk cId="1859120894" sldId="267"/>
        </pc:sldMkLst>
        <pc:spChg chg="add del">
          <ac:chgData name="Miao, Catherine" userId="2f80fa44-951d-45aa-8067-be181f1dab5e" providerId="ADAL" clId="{0B4EB35B-6BB5-47F6-B896-A58562075FF9}" dt="2021-09-10T20:14:05.878" v="782" actId="478"/>
          <ac:spMkLst>
            <pc:docMk/>
            <pc:sldMk cId="1859120894" sldId="267"/>
            <ac:spMk id="7" creationId="{9C1C650F-4A3E-45F5-8271-C75F78688C71}"/>
          </ac:spMkLst>
        </pc:spChg>
        <pc:spChg chg="add del">
          <ac:chgData name="Miao, Catherine" userId="2f80fa44-951d-45aa-8067-be181f1dab5e" providerId="ADAL" clId="{0B4EB35B-6BB5-47F6-B896-A58562075FF9}" dt="2021-09-10T20:14:03.298" v="780" actId="478"/>
          <ac:spMkLst>
            <pc:docMk/>
            <pc:sldMk cId="1859120894" sldId="267"/>
            <ac:spMk id="246" creationId="{F6767388-D5A9-4A0C-A7A2-E49ED98CB7BB}"/>
          </ac:spMkLst>
        </pc:spChg>
        <pc:grpChg chg="add del">
          <ac:chgData name="Miao, Catherine" userId="2f80fa44-951d-45aa-8067-be181f1dab5e" providerId="ADAL" clId="{0B4EB35B-6BB5-47F6-B896-A58562075FF9}" dt="2021-09-10T20:14:05.682" v="781" actId="478"/>
          <ac:grpSpMkLst>
            <pc:docMk/>
            <pc:sldMk cId="1859120894" sldId="267"/>
            <ac:grpSpMk id="60" creationId="{8700986D-6E4E-4C71-850B-6BB34C32F955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278" creationId="{8DC83C8E-A08A-4809-B6FB-9510E0BAB24A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26" creationId="{593C9B00-9FDC-4B42-8E00-2967F0FFB1D0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27" creationId="{5C58A381-DBA4-46C0-99EC-B79B0A67CE37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28" creationId="{181C85E5-8435-4F8A-8F14-56E2F74CCDDA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29" creationId="{967BA6F2-B5E1-4277-8426-B12E217C2BF9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30" creationId="{9AA92F00-F376-40A6-B103-922189196D84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31" creationId="{6E1ACDBF-F6BD-493C-9F22-F17150828235}"/>
          </ac:grpSpMkLst>
        </pc:grpChg>
        <pc:grpChg chg="add del">
          <ac:chgData name="Miao, Catherine" userId="2f80fa44-951d-45aa-8067-be181f1dab5e" providerId="ADAL" clId="{0B4EB35B-6BB5-47F6-B896-A58562075FF9}" dt="2021-09-10T20:14:03.298" v="780" actId="478"/>
          <ac:grpSpMkLst>
            <pc:docMk/>
            <pc:sldMk cId="1859120894" sldId="267"/>
            <ac:grpSpMk id="340" creationId="{00F74EC7-F5B5-4207-82CB-A1351A0FA5D5}"/>
          </ac:grpSpMkLst>
        </pc:grpChg>
        <pc:picChg chg="add del">
          <ac:chgData name="Miao, Catherine" userId="2f80fa44-951d-45aa-8067-be181f1dab5e" providerId="ADAL" clId="{0B4EB35B-6BB5-47F6-B896-A58562075FF9}" dt="2021-09-10T20:14:03.298" v="780" actId="478"/>
          <ac:picMkLst>
            <pc:docMk/>
            <pc:sldMk cId="1859120894" sldId="267"/>
            <ac:picMk id="274" creationId="{54529B63-3C39-403B-B326-29A96ACF77C6}"/>
          </ac:picMkLst>
        </pc:picChg>
        <pc:cxnChg chg="add del">
          <ac:chgData name="Miao, Catherine" userId="2f80fa44-951d-45aa-8067-be181f1dab5e" providerId="ADAL" clId="{0B4EB35B-6BB5-47F6-B896-A58562075FF9}" dt="2021-09-10T20:14:03.298" v="780" actId="478"/>
          <ac:cxnSpMkLst>
            <pc:docMk/>
            <pc:sldMk cId="1859120894" sldId="267"/>
            <ac:cxnSpMk id="243" creationId="{4538FDDF-85FF-42EB-8F62-C0FC7B5E1722}"/>
          </ac:cxnSpMkLst>
        </pc:cxnChg>
        <pc:cxnChg chg="add del">
          <ac:chgData name="Miao, Catherine" userId="2f80fa44-951d-45aa-8067-be181f1dab5e" providerId="ADAL" clId="{0B4EB35B-6BB5-47F6-B896-A58562075FF9}" dt="2021-09-10T20:14:03.298" v="780" actId="478"/>
          <ac:cxnSpMkLst>
            <pc:docMk/>
            <pc:sldMk cId="1859120894" sldId="267"/>
            <ac:cxnSpMk id="333" creationId="{E8055ECD-FED9-48A7-9067-28FB340D3C76}"/>
          </ac:cxnSpMkLst>
        </pc:cxnChg>
      </pc:sldChg>
      <pc:sldChg chg="addSp delSp modSp add mod">
        <pc:chgData name="Miao, Catherine" userId="2f80fa44-951d-45aa-8067-be181f1dab5e" providerId="ADAL" clId="{0B4EB35B-6BB5-47F6-B896-A58562075FF9}" dt="2021-09-10T20:32:04.654" v="1283" actId="1076"/>
        <pc:sldMkLst>
          <pc:docMk/>
          <pc:sldMk cId="413352085" sldId="268"/>
        </pc:sldMkLst>
        <pc:spChg chg="mod">
          <ac:chgData name="Miao, Catherine" userId="2f80fa44-951d-45aa-8067-be181f1dab5e" providerId="ADAL" clId="{0B4EB35B-6BB5-47F6-B896-A58562075FF9}" dt="2021-09-10T20:28:49.347" v="1258" actId="20577"/>
          <ac:spMkLst>
            <pc:docMk/>
            <pc:sldMk cId="413352085" sldId="268"/>
            <ac:spMk id="2" creationId="{837EB5BE-E15E-4BB7-9DF9-57CAF803CCF0}"/>
          </ac:spMkLst>
        </pc:spChg>
        <pc:picChg chg="del">
          <ac:chgData name="Miao, Catherine" userId="2f80fa44-951d-45aa-8067-be181f1dab5e" providerId="ADAL" clId="{0B4EB35B-6BB5-47F6-B896-A58562075FF9}" dt="2021-09-10T20:28:34.671" v="1236" actId="478"/>
          <ac:picMkLst>
            <pc:docMk/>
            <pc:sldMk cId="413352085" sldId="268"/>
            <ac:picMk id="3" creationId="{0ACC8E51-5104-4E87-9CC4-FB7B2776E9BC}"/>
          </ac:picMkLst>
        </pc:picChg>
        <pc:picChg chg="add mod modCrop">
          <ac:chgData name="Miao, Catherine" userId="2f80fa44-951d-45aa-8067-be181f1dab5e" providerId="ADAL" clId="{0B4EB35B-6BB5-47F6-B896-A58562075FF9}" dt="2021-09-10T20:32:04.654" v="1283" actId="1076"/>
          <ac:picMkLst>
            <pc:docMk/>
            <pc:sldMk cId="413352085" sldId="268"/>
            <ac:picMk id="4" creationId="{C6207EA1-E45E-40B1-9425-E3C5B38726CF}"/>
          </ac:picMkLst>
        </pc:picChg>
        <pc:picChg chg="add del mod modCrop">
          <ac:chgData name="Miao, Catherine" userId="2f80fa44-951d-45aa-8067-be181f1dab5e" providerId="ADAL" clId="{0B4EB35B-6BB5-47F6-B896-A58562075FF9}" dt="2021-09-10T20:31:00.424" v="1269" actId="478"/>
          <ac:picMkLst>
            <pc:docMk/>
            <pc:sldMk cId="413352085" sldId="268"/>
            <ac:picMk id="5" creationId="{F1BAFD55-4150-43BE-80D9-5152A13841D9}"/>
          </ac:picMkLst>
        </pc:picChg>
        <pc:picChg chg="del">
          <ac:chgData name="Miao, Catherine" userId="2f80fa44-951d-45aa-8067-be181f1dab5e" providerId="ADAL" clId="{0B4EB35B-6BB5-47F6-B896-A58562075FF9}" dt="2021-09-10T20:28:33.850" v="1235" actId="478"/>
          <ac:picMkLst>
            <pc:docMk/>
            <pc:sldMk cId="413352085" sldId="268"/>
            <ac:picMk id="8" creationId="{61B5725F-9DAA-4357-8793-9FE0983AC34A}"/>
          </ac:picMkLst>
        </pc:picChg>
        <pc:picChg chg="del">
          <ac:chgData name="Miao, Catherine" userId="2f80fa44-951d-45aa-8067-be181f1dab5e" providerId="ADAL" clId="{0B4EB35B-6BB5-47F6-B896-A58562075FF9}" dt="2021-09-10T20:28:33.057" v="1234" actId="478"/>
          <ac:picMkLst>
            <pc:docMk/>
            <pc:sldMk cId="413352085" sldId="268"/>
            <ac:picMk id="9" creationId="{638C1CC5-78A5-4BF4-B76D-375B78C645CF}"/>
          </ac:picMkLst>
        </pc:picChg>
      </pc:sldChg>
      <pc:sldChg chg="add del">
        <pc:chgData name="Miao, Catherine" userId="2f80fa44-951d-45aa-8067-be181f1dab5e" providerId="ADAL" clId="{0B4EB35B-6BB5-47F6-B896-A58562075FF9}" dt="2021-09-10T19:42:07.878" v="261" actId="47"/>
        <pc:sldMkLst>
          <pc:docMk/>
          <pc:sldMk cId="1166070657" sldId="268"/>
        </pc:sldMkLst>
      </pc:sldChg>
      <pc:sldChg chg="addSp delSp modSp new del mod">
        <pc:chgData name="Miao, Catherine" userId="2f80fa44-951d-45aa-8067-be181f1dab5e" providerId="ADAL" clId="{0B4EB35B-6BB5-47F6-B896-A58562075FF9}" dt="2021-09-10T19:46:25.736" v="302" actId="47"/>
        <pc:sldMkLst>
          <pc:docMk/>
          <pc:sldMk cId="4250044908" sldId="268"/>
        </pc:sldMkLst>
        <pc:spChg chg="del">
          <ac:chgData name="Miao, Catherine" userId="2f80fa44-951d-45aa-8067-be181f1dab5e" providerId="ADAL" clId="{0B4EB35B-6BB5-47F6-B896-A58562075FF9}" dt="2021-09-10T19:43:30.682" v="267" actId="478"/>
          <ac:spMkLst>
            <pc:docMk/>
            <pc:sldMk cId="4250044908" sldId="268"/>
            <ac:spMk id="3" creationId="{14D05A54-5BFA-4A09-A492-DD5DC01CBE3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6" creationId="{27A9FE52-9177-422D-AC77-7BDDDBD6801B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" creationId="{1C8A766B-66DB-418C-ADA7-37E08D81464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" creationId="{CCDD070E-3621-41F0-8C5E-07596AD20ED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9" creationId="{C25116A8-C9FB-4668-9BF2-6065C7148BA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0" creationId="{F7D8F45C-D46E-455B-8867-2A935AF8E84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1" creationId="{D664EC32-00D6-4C36-96AC-C8A524ABDB9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2" creationId="{93C8E1B2-78BD-436E-82FB-4525BC91FAEF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3" creationId="{4664DC3A-95BD-4A1E-9352-BDC45A1CC715}"/>
          </ac:spMkLst>
        </pc:spChg>
        <pc:spChg chg="del mod topLvl">
          <ac:chgData name="Miao, Catherine" userId="2f80fa44-951d-45aa-8067-be181f1dab5e" providerId="ADAL" clId="{0B4EB35B-6BB5-47F6-B896-A58562075FF9}" dt="2021-09-10T19:43:47.866" v="272" actId="478"/>
          <ac:spMkLst>
            <pc:docMk/>
            <pc:sldMk cId="4250044908" sldId="268"/>
            <ac:spMk id="14" creationId="{2FCE8B88-DE6B-42B9-96F4-49D8CC778197}"/>
          </ac:spMkLst>
        </pc:spChg>
        <pc:spChg chg="del mod topLvl">
          <ac:chgData name="Miao, Catherine" userId="2f80fa44-951d-45aa-8067-be181f1dab5e" providerId="ADAL" clId="{0B4EB35B-6BB5-47F6-B896-A58562075FF9}" dt="2021-09-10T19:43:49.509" v="273" actId="478"/>
          <ac:spMkLst>
            <pc:docMk/>
            <pc:sldMk cId="4250044908" sldId="268"/>
            <ac:spMk id="15" creationId="{E6157C1B-88B7-40FC-8D53-F442FC963E87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6" creationId="{D478B3A1-7AEA-45CE-84B2-31818910E08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7" creationId="{C5D079CE-F63E-4D08-9CC1-E645487C191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8" creationId="{2CACF09C-1B5B-4DCF-8841-DC5C9AD21A7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19" creationId="{B2B5EC5D-BF0A-4B42-AFB6-3DA3231FDA04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0" creationId="{14259D0E-9016-45CC-830B-C9B12BD3987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1" creationId="{B46AB426-2F33-4014-9160-3CB7B5EAA32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2" creationId="{AF9F96CF-2EEB-429B-9AF0-CE735DC4D825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3" creationId="{D0A7045C-BBD1-40DC-B5BA-86820CD4F9A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4" creationId="{9002561D-496B-419D-9DA2-AD30ACE65F5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5" creationId="{FD5C8CAA-5AFA-4C85-B99D-D7A6C0F558F5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6" creationId="{DB0C9AA4-8E63-47CA-A9DC-003CF5F1909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7" creationId="{306AF3B3-9AC0-4E74-BBB0-2DD7E63CA4A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8" creationId="{BA45F167-0049-4177-BF3A-606797A5A61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29" creationId="{A70C386F-82AB-4299-8B38-23726E009B42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0" creationId="{1559C747-808D-40B0-87BF-37A24181A45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1" creationId="{9687C6BD-E8B9-41F9-9E3E-554C4F5B44B2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2" creationId="{AAD0838E-70E9-4CAE-819A-F33E7A8B5347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3" creationId="{24BB8AD9-0217-4F5B-9845-AAF087D993F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4" creationId="{C796E451-02AD-4297-A68F-AF6A6DBD627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5" creationId="{33FDBFE9-FBC6-4895-A657-046D1F87055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6" creationId="{42BAC6D5-2F3A-47C5-9F8C-1B3EF4F9EECF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7" creationId="{2544EC2A-FFE1-45CF-8AD0-81A82F1E0B9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8" creationId="{9F1ED5BF-8893-4E4F-984A-A11860B3FC9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39" creationId="{B5B9CDE2-A2D0-46BD-A70E-D1C307B91BB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0" creationId="{E6C862EE-D9D3-4F75-8A4A-66BFEECF208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1" creationId="{BA02DE8F-4C9E-48E1-BADA-7C34104C571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2" creationId="{875617B3-E748-4DA8-AC53-A759FA0FB2A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3" creationId="{EFB85EE8-6D6C-4338-9031-C43A66AC7527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4" creationId="{4BDEA64B-D0DA-4DFB-816E-777C44EF347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5" creationId="{9F537BF2-0BB9-469A-943A-EA369AC8CD7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6" creationId="{9C9DC9AF-CBDF-4A9B-A93C-EC245135D5FB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7" creationId="{64A55D28-0109-4AF1-BB01-A964222A1E5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8" creationId="{921E3B2E-399B-42EF-A4E9-04352F68FB5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49" creationId="{CF0CFBE7-1D4C-4523-A685-D7C1CA3D555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0" creationId="{295A88D5-7E4E-45D8-9BA2-E736A8454AF5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1" creationId="{1067D6F6-50C5-424C-BAD1-91B6684CD3E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2" creationId="{092F2522-E094-465A-8418-D9C665EEEC0C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3" creationId="{B04FFDAD-7647-4768-A1EF-7A071562185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4" creationId="{A3463F6C-4042-48D9-96CC-9FC7F2BF2E8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5" creationId="{8A606DE0-86CF-488B-B239-C0F3C6FE2B9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6" creationId="{F51003CC-D66E-43D2-BC90-7FB45944F03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7" creationId="{C7B6E7F1-C246-4E6F-AA7A-FB9DBA450EC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8" creationId="{06C84022-0B6D-4752-B723-F9457A89303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59" creationId="{957AB3E2-5681-4435-8270-6C80AB1990B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0" creationId="{C89FC538-C97B-4C6F-9B2F-8CA08CE18C8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1" creationId="{F6D340C9-8CBE-4CCA-AA18-EC57D2BCF39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2" creationId="{B7760E35-47CC-4991-85B6-EBCD02BE755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3" creationId="{984345F6-8D65-4C78-8074-B84D68B5EAE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4" creationId="{09E3C7C4-A273-4621-B71E-FB023C81E89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5" creationId="{14B3C0A7-AE93-453B-A797-7CC4E08A9325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6" creationId="{555BB484-091E-4034-9425-E57FC514BB89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7" creationId="{BA7ECE03-3F66-45CE-A3E0-4275E8E31B2F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8" creationId="{94D797D6-FAF3-4A31-BA05-1E9C703D7064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69" creationId="{FE9349E5-0AD3-4ED3-A1EC-8ADE2D9B4F92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0" creationId="{660A6B6F-18EA-4641-8C42-D5759EAC3C2B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1" creationId="{DDFBDF09-B262-46B4-A866-B0E86836DF1E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2" creationId="{3BB2B5D0-F1D5-4B31-B295-AA4B83D2A78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3" creationId="{8DABFE3A-4C30-44AA-B31C-179F6E220F03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4" creationId="{3251DF65-E5D2-428D-89AB-B8653EEE558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5" creationId="{83580BDB-2CE6-4457-A198-467F63C6F28D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6" creationId="{210795D4-327F-4BA1-A210-8B105BE0023F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7" creationId="{23AB3CB3-15D1-4189-A769-08083FC4401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8" creationId="{6D4D1AF7-7E3D-4983-AD92-DA7C00ABCA7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79" creationId="{6CAAC89B-D101-43D2-AC35-E29186042268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0" creationId="{7866BDD3-8E14-40B1-9792-A19DB866927A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1" creationId="{519894CA-E933-485E-9D6D-5772327B0010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2" creationId="{A3085A8D-6E56-425D-BA6C-B39BFA0158A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3" creationId="{C5E8223F-851D-4493-AA21-F67F197E594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4" creationId="{17E7030B-B011-4B0C-9B7D-14149F0F15F1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5" creationId="{43FDC492-C21B-4CE3-B276-048974D4B376}"/>
          </ac:spMkLst>
        </pc:spChg>
        <pc:spChg chg="del mod topLvl">
          <ac:chgData name="Miao, Catherine" userId="2f80fa44-951d-45aa-8067-be181f1dab5e" providerId="ADAL" clId="{0B4EB35B-6BB5-47F6-B896-A58562075FF9}" dt="2021-09-10T19:43:46.514" v="270" actId="478"/>
          <ac:spMkLst>
            <pc:docMk/>
            <pc:sldMk cId="4250044908" sldId="268"/>
            <ac:spMk id="86" creationId="{EAEEABA3-7723-4C06-88CF-61D2844F813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87" creationId="{28B42733-C227-4FAB-B79A-110BC627950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88" creationId="{F103BB4E-03E1-4DD9-9F63-300FCB59CFD8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89" creationId="{B86EE558-204E-4CE7-AF23-C137A0858AE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0" creationId="{E8E37A22-CD13-418E-878F-108B15DF156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1" creationId="{2A04479A-2572-46EC-A9E3-BC0311936D9E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2" creationId="{026170FE-1167-4DC6-A734-ED149A773DC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3" creationId="{9E4809A6-86B0-4951-92D3-04E99857CE7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4" creationId="{0460FF11-C7B8-4724-9E8B-1A05E46C0198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5" creationId="{169CA9CD-1DD0-44AE-95EF-6BEA2F664BB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6" creationId="{F384350C-FE0C-4F21-BEDE-BE511B286B4B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7" creationId="{81C2C69B-7006-41AF-AEFD-2CD32DD8551D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8" creationId="{555B9C65-3FD5-41B8-8AC2-D2BA915BAA21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99" creationId="{46B7401B-618E-4A8E-9138-B0A9AE823D6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0" creationId="{CCD8DFAA-B498-456F-80A6-B400D023F5C3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1" creationId="{49D54F77-04B7-482F-9700-30591F3289D6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2" creationId="{E94FA2A3-4EA9-4B6D-B671-DB415C2315A8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3" creationId="{E3D5DAF0-1C23-4DC2-A884-E319CCCDA23B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4" creationId="{D6649934-7975-44DE-B94D-9831876E45DE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5" creationId="{0D65F8AE-5FE2-473C-B5A2-2656AEE7FC71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6" creationId="{F4D96F5F-B23D-4077-96D8-05F33FC9E351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7" creationId="{F5CA7055-6956-4334-BF1C-FB1B9931FCF3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8" creationId="{FAE640CB-DCB4-4666-A589-44522555927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09" creationId="{FAFD88BD-35C5-4C82-8767-D0D1C461B06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0" creationId="{F1F9934B-E616-4FDD-9F59-B05BE3B05430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1" creationId="{4B31C22B-C5DE-4901-9188-E667F5081B3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2" creationId="{8E3BC2AB-441A-4458-B0FD-ED203057511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3" creationId="{4EB7B0BC-DB6C-4C0B-A0FA-B420E0019D5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4" creationId="{054AB243-84E2-4F9D-AB58-8619C43F3B3B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5" creationId="{7BAA8B7F-6F21-4606-9106-736BA69C3E0A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6" creationId="{BF9A4EEC-BA24-448A-98A5-F555F6B8AD90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7" creationId="{AF5A5E65-560B-4A3C-90E8-5AA7F567D66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8" creationId="{F969722F-4217-4A3C-B6A8-25B3BDC8BE9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19" creationId="{F2B10531-04C3-4226-8565-6D2DF4BB56E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0" creationId="{4B78D7A5-813C-4276-97B8-E36A0E8522D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1" creationId="{06A65788-1879-4E1A-A405-25195941E9B4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2" creationId="{D84BF041-C981-4F78-929B-F74675E29E5A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3" creationId="{1C222D85-337E-471D-B774-BFE1B965B22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4" creationId="{E835BB27-37B4-46F9-BB8A-B0E5E505ED93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5" creationId="{A0A78E9F-0125-49E9-BFE8-E6E0B5C3A893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6" creationId="{8180EEE9-2CBD-4A00-B2A4-06DA2C4F436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7" creationId="{F368629C-C88C-4173-B99A-01B352E7EDD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8" creationId="{F329D220-8B6E-4976-A1A2-8A413DD49FFD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29" creationId="{229D042B-256C-4A70-AB83-6035A4565D2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0" creationId="{9CA19434-A82D-4C9C-B73D-1AF4AF43245F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1" creationId="{A2679AB3-93EE-446E-8AE7-C66466DD419D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2" creationId="{B24E83EB-F111-471B-A891-C6268D834257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3" creationId="{B03617D2-5441-4D47-BE05-D0DA464BF367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4" creationId="{8A149FDE-8AF5-4B0F-9CC9-18F21092370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5" creationId="{76734C4B-6B48-4A08-8C03-F6ACDC008D4E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6" creationId="{96836741-29FE-44A1-AFAB-D990A280C9D0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7" creationId="{6F26FF8E-0D6D-4769-A38F-B36C9C9E45D9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8" creationId="{3C20F843-43A6-42BF-AF5E-0357D372220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39" creationId="{3427D8BF-8FBE-4E62-956C-859CC47DF695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0" creationId="{29E42EF0-5DE1-472B-B946-E03FC5845388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1" creationId="{B942F8B9-48F0-4A92-88AF-E918F362D5AE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2" creationId="{D5B6EBF0-A758-470F-9AF7-B0FBE3B4CD9C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3" creationId="{F3162594-CE4E-4A61-8537-C407E987FC12}"/>
          </ac:spMkLst>
        </pc:spChg>
        <pc:spChg chg="mod topLvl">
          <ac:chgData name="Miao, Catherine" userId="2f80fa44-951d-45aa-8067-be181f1dab5e" providerId="ADAL" clId="{0B4EB35B-6BB5-47F6-B896-A58562075FF9}" dt="2021-09-10T19:43:56.599" v="274" actId="164"/>
          <ac:spMkLst>
            <pc:docMk/>
            <pc:sldMk cId="4250044908" sldId="268"/>
            <ac:spMk id="144" creationId="{4317DC17-6F1B-478F-A3BB-8069B82C143C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5" creationId="{B27CD242-1187-4FB0-BC70-61214ED9E02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6" creationId="{4E30F739-2E79-4665-AFD3-52F1687F044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7" creationId="{8E3E8BFB-11AF-401A-AB79-ED09982F66C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8" creationId="{219048DF-7AD2-462C-AC9F-8D363147484F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49" creationId="{AE64EB8A-040F-41C1-BBF4-5A49B34BF0A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0" creationId="{9FF3011F-7CA1-409C-9587-A120038510FD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2" creationId="{9A74C807-7375-4A74-9EE0-7EEB6DBE5AC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3" creationId="{C49AB2E2-7686-4EAD-87B1-3C62640A5314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4" creationId="{1BDA7528-2B4C-4A90-8DB8-ABC1B04CC68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5" creationId="{AD4940C3-4CF5-410F-8CFF-FA67908606B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6" creationId="{4D2DD1BF-905E-4E46-BC1E-6B3376A8D258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7" creationId="{33B16EF3-F52F-41BC-BB13-17BD1791D21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8" creationId="{F4BD5012-1507-43CD-862B-96EAF59DDEC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59" creationId="{CD062A95-D7E1-4E50-A84E-6617F0FF4CD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0" creationId="{7A491C1B-F167-4B0C-84E8-313284B6EDA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1" creationId="{02A427A7-707D-4205-A823-31CDFC08EAC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2" creationId="{76B4C433-EC7B-41B4-9936-C07D76F9F12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3" creationId="{6DD2CCE2-4710-4CC5-B234-8B1945B845F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4" creationId="{407CF490-26D0-43CE-9B06-5033F2993AB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5" creationId="{DABD2ADD-9E0E-4A92-A664-2841D79C582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6" creationId="{9B2BB48D-DAEB-4417-97BE-561D1F2DF7C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7" creationId="{5BC69A22-AE94-491D-8886-76F8C0C283A8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8" creationId="{D0D879F8-8DFC-4D01-9A9E-25BFCA0EF515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69" creationId="{36A2E4D6-FFB1-4428-9A0C-5867AB827EC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0" creationId="{A73C3D6C-1EEA-4D17-B045-5C0532A39B9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1" creationId="{E86E0378-74D0-4E2A-9E6D-61A1E606313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3" creationId="{9C32F788-FECC-4B74-9F4D-5D0FC619D4CB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4" creationId="{69AE6F66-4F0C-4F01-92ED-B944D792A258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5" creationId="{D38289A7-F5BB-453B-A77C-B9567DECDAF4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6" creationId="{120CD8B8-90AB-43A6-B3A4-9A7D1FB1E24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7" creationId="{33181807-62E3-48B0-BCDE-A84E519BB05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8" creationId="{9A4C741C-4A87-4369-890A-C7B3AEC8692B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79" creationId="{DC61A1B7-E634-4516-9BB7-D837E1BEB3D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0" creationId="{4EB9E109-711B-4AEC-A249-DC45F01D89F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1" creationId="{66867174-79F9-40E6-8331-A204CDCAB06B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2" creationId="{3C739032-D892-4D53-B379-531BC1AFB77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3" creationId="{33ABAD01-7EC1-48F5-8438-D38F4AD3AF28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4" creationId="{DF4355F4-E16C-4D37-A17A-BE5D30B76C7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5" creationId="{D118C256-6C6C-476C-99FB-EE2A2BFD5AC4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6" creationId="{854DE1C8-1919-4D1A-B485-62E319CC012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7" creationId="{799AC8DF-CB00-4054-A3EB-710141F6A4D5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8" creationId="{9D742577-B29B-42D2-B1BE-F2E9486C050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89" creationId="{F0334975-1FF3-43D7-92EC-C952D2E5937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0" creationId="{31552792-00BB-4FA1-8E2F-92CDDDD12195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1" creationId="{5E6EF4E8-07AB-45A9-B4C3-4B0A65067A3A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2" creationId="{98316235-E6FE-4A6F-8AE2-4428ACF1000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3" creationId="{7931DC0A-0839-4407-B556-1386E941666F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4" creationId="{055CC9FA-C038-40E6-9344-0138194640A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5" creationId="{AFDEE9E3-B185-4739-B7CA-D208F5AF6772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6" creationId="{F962328D-9B4E-41DB-A8DF-1855D381E76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7" creationId="{39D20770-17FA-4858-9B0A-C2811DD89E7C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8" creationId="{D3F24578-0F96-48A9-9AF5-840FB365FF4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199" creationId="{DBB3D468-7546-442B-9893-72F8A1402B7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0" creationId="{1F1CB1E9-E888-4696-9895-CC809E05A1DD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1" creationId="{5B2BA584-94D5-4E0A-B38A-0F4DF00AA4E1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2" creationId="{500CC555-CE02-4B09-89B8-39F18872426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3" creationId="{E05C7DC4-BF9F-4523-AC3D-F7654CB018D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4" creationId="{939216A3-92D0-4F6E-911B-4E210D596882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5" creationId="{44B2DB4A-8DD3-4EA9-997B-DE11B2409AD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6" creationId="{F4652D3B-B821-40F8-996E-BF56EC89D2E9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7" creationId="{E755B979-46E8-4888-9E78-6A125CBA8FC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8" creationId="{543FD695-D2FA-45AC-B47F-093E5DB4AF3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09" creationId="{B99ECD8C-9D48-4141-9978-6A243A50E43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0" creationId="{FEFAE319-05E6-44A5-98B3-D8F62D5FCE8C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1" creationId="{FCB9701A-A29C-4E93-B3F0-8FFE9DD0402E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2" creationId="{46291BE8-F5D5-4104-939A-CBE00FEF2670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3" creationId="{D8AD9875-FB29-4F91-A81C-ACA4342573CB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4" creationId="{D411149C-9402-4FE3-A732-1C34CBD2D62C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5" creationId="{3599D36C-E3D8-4C2D-945E-A5DF94D80396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6" creationId="{2E1FEB65-4B60-4391-936D-3DE929901F22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7" creationId="{D0CCE176-0D68-48A9-BBAF-2FE27B1B9E27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8" creationId="{7DDEA7DE-A9CD-495B-A3EA-3A4986ABE7E3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19" creationId="{9108D2A0-969D-4514-88A5-E27C97D00071}"/>
          </ac:spMkLst>
        </pc:spChg>
        <pc:spChg chg="del mod topLvl">
          <ac:chgData name="Miao, Catherine" userId="2f80fa44-951d-45aa-8067-be181f1dab5e" providerId="ADAL" clId="{0B4EB35B-6BB5-47F6-B896-A58562075FF9}" dt="2021-09-10T19:43:43.745" v="269" actId="478"/>
          <ac:spMkLst>
            <pc:docMk/>
            <pc:sldMk cId="4250044908" sldId="268"/>
            <ac:spMk id="220" creationId="{D6F26AC6-3CB9-446A-9F14-5E9686062521}"/>
          </ac:spMkLst>
        </pc:spChg>
        <pc:grpChg chg="add del mod">
          <ac:chgData name="Miao, Catherine" userId="2f80fa44-951d-45aa-8067-be181f1dab5e" providerId="ADAL" clId="{0B4EB35B-6BB5-47F6-B896-A58562075FF9}" dt="2021-09-10T19:43:37.400" v="268" actId="165"/>
          <ac:grpSpMkLst>
            <pc:docMk/>
            <pc:sldMk cId="4250044908" sldId="268"/>
            <ac:grpSpMk id="5" creationId="{C98F2454-A8DB-4A91-8C79-3E2A6992AD29}"/>
          </ac:grpSpMkLst>
        </pc:grpChg>
        <pc:grpChg chg="add mod">
          <ac:chgData name="Miao, Catherine" userId="2f80fa44-951d-45aa-8067-be181f1dab5e" providerId="ADAL" clId="{0B4EB35B-6BB5-47F6-B896-A58562075FF9}" dt="2021-09-10T19:43:56.599" v="274" actId="164"/>
          <ac:grpSpMkLst>
            <pc:docMk/>
            <pc:sldMk cId="4250044908" sldId="268"/>
            <ac:grpSpMk id="221" creationId="{A2743F75-62BB-4227-A674-EB213A14E36E}"/>
          </ac:grpSpMkLst>
        </pc:grpChg>
        <pc:picChg chg="del mod topLvl">
          <ac:chgData name="Miao, Catherine" userId="2f80fa44-951d-45aa-8067-be181f1dab5e" providerId="ADAL" clId="{0B4EB35B-6BB5-47F6-B896-A58562075FF9}" dt="2021-09-10T19:43:43.745" v="269" actId="478"/>
          <ac:picMkLst>
            <pc:docMk/>
            <pc:sldMk cId="4250044908" sldId="268"/>
            <ac:picMk id="151" creationId="{ADC2D668-3705-4D40-A1B6-9C42468C0CD7}"/>
          </ac:picMkLst>
        </pc:picChg>
        <pc:picChg chg="del mod topLvl">
          <ac:chgData name="Miao, Catherine" userId="2f80fa44-951d-45aa-8067-be181f1dab5e" providerId="ADAL" clId="{0B4EB35B-6BB5-47F6-B896-A58562075FF9}" dt="2021-09-10T19:43:43.745" v="269" actId="478"/>
          <ac:picMkLst>
            <pc:docMk/>
            <pc:sldMk cId="4250044908" sldId="268"/>
            <ac:picMk id="172" creationId="{8C7A06FA-FB5A-4284-850A-D2A743B3408F}"/>
          </ac:picMkLst>
        </pc:picChg>
      </pc:sldChg>
      <pc:sldChg chg="delSp add del mod">
        <pc:chgData name="Miao, Catherine" userId="2f80fa44-951d-45aa-8067-be181f1dab5e" providerId="ADAL" clId="{0B4EB35B-6BB5-47F6-B896-A58562075FF9}" dt="2021-09-10T20:33:39.927" v="1293" actId="47"/>
        <pc:sldMkLst>
          <pc:docMk/>
          <pc:sldMk cId="43261999" sldId="269"/>
        </pc:sldMkLst>
        <pc:picChg chg="del">
          <ac:chgData name="Miao, Catherine" userId="2f80fa44-951d-45aa-8067-be181f1dab5e" providerId="ADAL" clId="{0B4EB35B-6BB5-47F6-B896-A58562075FF9}" dt="2021-09-10T20:31:23.246" v="1271" actId="478"/>
          <ac:picMkLst>
            <pc:docMk/>
            <pc:sldMk cId="43261999" sldId="269"/>
            <ac:picMk id="3" creationId="{0ACC8E51-5104-4E87-9CC4-FB7B2776E9BC}"/>
          </ac:picMkLst>
        </pc:picChg>
        <pc:picChg chg="del">
          <ac:chgData name="Miao, Catherine" userId="2f80fa44-951d-45aa-8067-be181f1dab5e" providerId="ADAL" clId="{0B4EB35B-6BB5-47F6-B896-A58562075FF9}" dt="2021-09-10T20:31:27.318" v="1273" actId="478"/>
          <ac:picMkLst>
            <pc:docMk/>
            <pc:sldMk cId="43261999" sldId="269"/>
            <ac:picMk id="8" creationId="{61B5725F-9DAA-4357-8793-9FE0983AC34A}"/>
          </ac:picMkLst>
        </pc:picChg>
        <pc:picChg chg="del">
          <ac:chgData name="Miao, Catherine" userId="2f80fa44-951d-45aa-8067-be181f1dab5e" providerId="ADAL" clId="{0B4EB35B-6BB5-47F6-B896-A58562075FF9}" dt="2021-09-10T20:31:26.779" v="1272" actId="478"/>
          <ac:picMkLst>
            <pc:docMk/>
            <pc:sldMk cId="43261999" sldId="269"/>
            <ac:picMk id="9" creationId="{638C1CC5-78A5-4BF4-B76D-375B78C645CF}"/>
          </ac:picMkLst>
        </pc:picChg>
      </pc:sldChg>
      <pc:sldChg chg="add del">
        <pc:chgData name="Miao, Catherine" userId="2f80fa44-951d-45aa-8067-be181f1dab5e" providerId="ADAL" clId="{0B4EB35B-6BB5-47F6-B896-A58562075FF9}" dt="2021-09-10T19:42:07.007" v="260" actId="47"/>
        <pc:sldMkLst>
          <pc:docMk/>
          <pc:sldMk cId="931617544" sldId="269"/>
        </pc:sldMkLst>
      </pc:sldChg>
      <pc:sldChg chg="delSp add mod">
        <pc:chgData name="Miao, Catherine" userId="2f80fa44-951d-45aa-8067-be181f1dab5e" providerId="ADAL" clId="{0B4EB35B-6BB5-47F6-B896-A58562075FF9}" dt="2021-09-10T20:31:44.773" v="1277" actId="478"/>
        <pc:sldMkLst>
          <pc:docMk/>
          <pc:sldMk cId="762356839" sldId="270"/>
        </pc:sldMkLst>
        <pc:picChg chg="del">
          <ac:chgData name="Miao, Catherine" userId="2f80fa44-951d-45aa-8067-be181f1dab5e" providerId="ADAL" clId="{0B4EB35B-6BB5-47F6-B896-A58562075FF9}" dt="2021-09-10T20:31:44.773" v="1277" actId="478"/>
          <ac:picMkLst>
            <pc:docMk/>
            <pc:sldMk cId="762356839" sldId="270"/>
            <ac:picMk id="4" creationId="{C6207EA1-E45E-40B1-9425-E3C5B38726CF}"/>
          </ac:picMkLst>
        </pc:picChg>
      </pc:sldChg>
      <pc:sldChg chg="add del">
        <pc:chgData name="Miao, Catherine" userId="2f80fa44-951d-45aa-8067-be181f1dab5e" providerId="ADAL" clId="{0B4EB35B-6BB5-47F6-B896-A58562075FF9}" dt="2021-09-10T20:31:33.207" v="1275" actId="47"/>
        <pc:sldMkLst>
          <pc:docMk/>
          <pc:sldMk cId="2809489251" sldId="270"/>
        </pc:sldMkLst>
      </pc:sldChg>
      <pc:sldChg chg="modSp add mod">
        <pc:chgData name="Miao, Catherine" userId="2f80fa44-951d-45aa-8067-be181f1dab5e" providerId="ADAL" clId="{0B4EB35B-6BB5-47F6-B896-A58562075FF9}" dt="2021-09-10T20:33:04.817" v="1288" actId="113"/>
        <pc:sldMkLst>
          <pc:docMk/>
          <pc:sldMk cId="4158106495" sldId="271"/>
        </pc:sldMkLst>
        <pc:spChg chg="mod">
          <ac:chgData name="Miao, Catherine" userId="2f80fa44-951d-45aa-8067-be181f1dab5e" providerId="ADAL" clId="{0B4EB35B-6BB5-47F6-B896-A58562075FF9}" dt="2021-09-10T20:33:04.817" v="1288" actId="113"/>
          <ac:spMkLst>
            <pc:docMk/>
            <pc:sldMk cId="4158106495" sldId="271"/>
            <ac:spMk id="353" creationId="{88064A65-B8EE-4CC5-8777-5171834A8C73}"/>
          </ac:spMkLst>
        </pc:spChg>
        <pc:grpChg chg="mod">
          <ac:chgData name="Miao, Catherine" userId="2f80fa44-951d-45aa-8067-be181f1dab5e" providerId="ADAL" clId="{0B4EB35B-6BB5-47F6-B896-A58562075FF9}" dt="2021-09-10T20:32:53.506" v="1285" actId="207"/>
          <ac:grpSpMkLst>
            <pc:docMk/>
            <pc:sldMk cId="4158106495" sldId="271"/>
            <ac:grpSpMk id="453" creationId="{8FEB64E1-71A1-4822-B799-2E6A2499DAA2}"/>
          </ac:grpSpMkLst>
        </pc:grpChg>
        <pc:cxnChg chg="mod">
          <ac:chgData name="Miao, Catherine" userId="2f80fa44-951d-45aa-8067-be181f1dab5e" providerId="ADAL" clId="{0B4EB35B-6BB5-47F6-B896-A58562075FF9}" dt="2021-09-10T20:32:53.506" v="1285" actId="207"/>
          <ac:cxnSpMkLst>
            <pc:docMk/>
            <pc:sldMk cId="4158106495" sldId="271"/>
            <ac:cxnSpMk id="452" creationId="{A2759C93-BB28-4B20-94CD-28652EBB04B2}"/>
          </ac:cxnSpMkLst>
        </pc:cxnChg>
      </pc:sldChg>
      <pc:sldChg chg="modSp add ord">
        <pc:chgData name="Miao, Catherine" userId="2f80fa44-951d-45aa-8067-be181f1dab5e" providerId="ADAL" clId="{0B4EB35B-6BB5-47F6-B896-A58562075FF9}" dt="2021-09-10T20:33:27.908" v="1292" actId="207"/>
        <pc:sldMkLst>
          <pc:docMk/>
          <pc:sldMk cId="3738259123" sldId="272"/>
        </pc:sldMkLst>
        <pc:spChg chg="mod">
          <ac:chgData name="Miao, Catherine" userId="2f80fa44-951d-45aa-8067-be181f1dab5e" providerId="ADAL" clId="{0B4EB35B-6BB5-47F6-B896-A58562075FF9}" dt="2021-09-10T20:33:27.908" v="1292" actId="207"/>
          <ac:spMkLst>
            <pc:docMk/>
            <pc:sldMk cId="3738259123" sldId="272"/>
            <ac:spMk id="363" creationId="{02C0EC0E-FDCE-4FCA-A649-30984C3ED4C7}"/>
          </ac:spMkLst>
        </pc:spChg>
        <pc:grpChg chg="mod">
          <ac:chgData name="Miao, Catherine" userId="2f80fa44-951d-45aa-8067-be181f1dab5e" providerId="ADAL" clId="{0B4EB35B-6BB5-47F6-B896-A58562075FF9}" dt="2021-09-10T20:33:27.908" v="1292" actId="207"/>
          <ac:grpSpMkLst>
            <pc:docMk/>
            <pc:sldMk cId="3738259123" sldId="272"/>
            <ac:grpSpMk id="361" creationId="{CE88883D-BC7E-40F7-90B4-891CA313F71E}"/>
          </ac:grpSpMkLst>
        </pc:grpChg>
        <pc:cxnChg chg="mod">
          <ac:chgData name="Miao, Catherine" userId="2f80fa44-951d-45aa-8067-be181f1dab5e" providerId="ADAL" clId="{0B4EB35B-6BB5-47F6-B896-A58562075FF9}" dt="2021-09-10T20:33:27.908" v="1292" actId="207"/>
          <ac:cxnSpMkLst>
            <pc:docMk/>
            <pc:sldMk cId="3738259123" sldId="272"/>
            <ac:cxnSpMk id="364" creationId="{5D1C800E-D713-4132-B007-4A9DF10A51AA}"/>
          </ac:cxnSpMkLst>
        </pc:cxnChg>
      </pc:sldChg>
      <pc:sldChg chg="add">
        <pc:chgData name="Miao, Catherine" userId="2f80fa44-951d-45aa-8067-be181f1dab5e" providerId="ADAL" clId="{0B4EB35B-6BB5-47F6-B896-A58562075FF9}" dt="2021-09-10T20:33:42.636" v="1294"/>
        <pc:sldMkLst>
          <pc:docMk/>
          <pc:sldMk cId="2260479988" sldId="273"/>
        </pc:sldMkLst>
      </pc:sldChg>
      <pc:sldChg chg="add del">
        <pc:chgData name="Miao, Catherine" userId="2f80fa44-951d-45aa-8067-be181f1dab5e" providerId="ADAL" clId="{0B4EB35B-6BB5-47F6-B896-A58562075FF9}" dt="2021-09-10T20:34:08.106" v="1296" actId="47"/>
        <pc:sldMkLst>
          <pc:docMk/>
          <pc:sldMk cId="3874384811" sldId="274"/>
        </pc:sldMkLst>
      </pc:sldChg>
      <pc:sldChg chg="modSp add">
        <pc:chgData name="Miao, Catherine" userId="2f80fa44-951d-45aa-8067-be181f1dab5e" providerId="ADAL" clId="{0B4EB35B-6BB5-47F6-B896-A58562075FF9}" dt="2021-09-10T20:34:20.783" v="1298" actId="207"/>
        <pc:sldMkLst>
          <pc:docMk/>
          <pc:sldMk cId="4092520019" sldId="274"/>
        </pc:sldMkLst>
        <pc:spChg chg="mod">
          <ac:chgData name="Miao, Catherine" userId="2f80fa44-951d-45aa-8067-be181f1dab5e" providerId="ADAL" clId="{0B4EB35B-6BB5-47F6-B896-A58562075FF9}" dt="2021-09-10T20:34:20.783" v="1298" actId="207"/>
          <ac:spMkLst>
            <pc:docMk/>
            <pc:sldMk cId="4092520019" sldId="274"/>
            <ac:spMk id="370" creationId="{426002F4-9E30-458E-8558-CF6EDD4F5275}"/>
          </ac:spMkLst>
        </pc:spChg>
      </pc:sldChg>
      <pc:sldChg chg="addSp delSp modSp add mod modNotesTx">
        <pc:chgData name="Miao, Catherine" userId="2f80fa44-951d-45aa-8067-be181f1dab5e" providerId="ADAL" clId="{0B4EB35B-6BB5-47F6-B896-A58562075FF9}" dt="2021-09-19T19:19:47.963" v="3448" actId="1076"/>
        <pc:sldMkLst>
          <pc:docMk/>
          <pc:sldMk cId="1426701770" sldId="275"/>
        </pc:sldMkLst>
        <pc:spChg chg="del mod">
          <ac:chgData name="Miao, Catherine" userId="2f80fa44-951d-45aa-8067-be181f1dab5e" providerId="ADAL" clId="{0B4EB35B-6BB5-47F6-B896-A58562075FF9}" dt="2021-09-10T20:42:53.893" v="1442" actId="478"/>
          <ac:spMkLst>
            <pc:docMk/>
            <pc:sldMk cId="1426701770" sldId="275"/>
            <ac:spMk id="2" creationId="{837EB5BE-E15E-4BB7-9DF9-57CAF803CCF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" creationId="{64462EF3-64CC-4242-897A-9715EE7CF341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6" creationId="{04F01B63-60DC-44C7-9E14-CE6905517E7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7" creationId="{99C8288A-04CC-47A5-99E8-96A201CB791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8" creationId="{A1843064-6434-46D1-A28B-973A6DE777A9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9" creationId="{D0B149E0-DDFA-43F1-937D-ED88400E254E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0" creationId="{5F1FF4BD-AE5B-4E64-AA82-BA483D9C073D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1" creationId="{3D3EC2B1-DA5F-46FD-BB3D-9A00C6952433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2" creationId="{A6F0B7E9-947F-4D99-841F-44F52831704C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3" creationId="{5BB25AFE-74EE-44B2-B71A-BB108D42D938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4" creationId="{13027921-18FB-4C04-B5DD-C2A45AB64B66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5" creationId="{A30E6945-0156-4088-BC66-72A61F77B22D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6" creationId="{1713EE16-49BD-4E38-8B33-AD323B2A80A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7" creationId="{0BA240AE-A614-462E-9A66-AC5CC065474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8" creationId="{647D180F-8BD4-416E-8D4C-10475E23B326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19" creationId="{73A2FFF7-504E-452C-AB5A-1708BB812FF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0" creationId="{46F3693A-ACA1-466B-B8CB-29F7D9AD7BFA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1" creationId="{CE44C0BB-B99D-4798-9D4C-E8772228842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2" creationId="{79161799-2FED-4B2C-B530-B853E561B777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3" creationId="{ADD864EB-F192-410D-906E-75B975D4F473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4" creationId="{1C4C189C-AC09-4C58-8936-5DDE1F545E3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5" creationId="{92C82CB8-19E5-4A76-80B6-2B11F929120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6" creationId="{6787703B-7AB5-4B97-9EBB-5ADADA778471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7" creationId="{A4F03285-B42C-4C59-BFA0-116AC9F9823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8" creationId="{34A51D26-74B4-4609-948A-AD5F66C8AB2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29" creationId="{330D84D2-3428-4C0A-8608-41824E7AF48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0" creationId="{732A0E4E-F89F-4582-9C6E-8EC878A82E9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1" creationId="{D30EC5C0-F1F3-44E3-9817-FFBEF6912694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2" creationId="{7E887E3E-29FC-4F01-806D-C21E84AD8D86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3" creationId="{308718E3-91E2-4736-AC4F-BBE9A253847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4" creationId="{7E8CBEAD-04FE-47FE-807D-398F4238FAF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5" creationId="{F3B44323-8498-4DE9-A60D-EBD9143B246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6" creationId="{4178F287-6991-4644-91E6-885E95B39A1C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7" creationId="{1A3AD22B-4BFB-4A78-93B7-B1E31876AAE4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8" creationId="{993661B3-396F-439A-A589-BE19F9BAE2F9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39" creationId="{82F27FD3-6DBE-4E8D-80B1-CAEEB5CBB580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0" creationId="{B8544404-2EDB-4710-9976-64B59567682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1" creationId="{E24C6622-A732-4A2B-A586-CC09C063F8A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2" creationId="{8031A755-2942-41AE-807F-7FCA2D09285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3" creationId="{890D6F40-5325-4518-8631-0F39D87049D8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4" creationId="{19A1DEE9-A1EB-470F-BF42-4482E25705E9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5" creationId="{D7610CBC-489A-4040-8280-483F76E68F2E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6" creationId="{D0ADEC86-17E1-4E91-8DC9-805BB403150B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7" creationId="{6AEB7284-8F2C-4A00-B775-91343FC82A67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8" creationId="{69C9EA25-D440-4200-8844-F4D3012AE6F2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49" creationId="{29DBA158-4251-4877-984C-C27EE9099EC9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0" creationId="{25E6F097-9C4F-44B6-BD35-9DB45D91B401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1" creationId="{3D70C6F2-6265-4C20-B7AF-D338606E906F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2" creationId="{52275EE7-0E33-42EC-8070-8E2F15B67A4E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3" creationId="{B6F3A439-D003-4D1D-8046-67D0B41AC1C8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4" creationId="{FC24B66F-F537-449F-AD53-72F360F8FBDA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5" creationId="{3ED556BE-CB41-433E-A5A7-C7B074F54A1D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6" creationId="{1FD5C1E9-6D1B-4725-A609-788C71B34AB5}"/>
          </ac:spMkLst>
        </pc:spChg>
        <pc:spChg chg="mod">
          <ac:chgData name="Miao, Catherine" userId="2f80fa44-951d-45aa-8067-be181f1dab5e" providerId="ADAL" clId="{0B4EB35B-6BB5-47F6-B896-A58562075FF9}" dt="2021-09-10T20:35:36.718" v="1324"/>
          <ac:spMkLst>
            <pc:docMk/>
            <pc:sldMk cId="1426701770" sldId="275"/>
            <ac:spMk id="57" creationId="{D4A867EC-E417-40E7-89A9-28CF605653B8}"/>
          </ac:spMkLst>
        </pc:spChg>
        <pc:spChg chg="add del mod">
          <ac:chgData name="Miao, Catherine" userId="2f80fa44-951d-45aa-8067-be181f1dab5e" providerId="ADAL" clId="{0B4EB35B-6BB5-47F6-B896-A58562075FF9}" dt="2021-09-10T20:42:57.360" v="1443" actId="478"/>
          <ac:spMkLst>
            <pc:docMk/>
            <pc:sldMk cId="1426701770" sldId="275"/>
            <ac:spMk id="60" creationId="{728F1B07-5A86-4DC3-8388-6DD9E00D4E0C}"/>
          </ac:spMkLst>
        </pc:spChg>
        <pc:spChg chg="add mod">
          <ac:chgData name="Miao, Catherine" userId="2f80fa44-951d-45aa-8067-be181f1dab5e" providerId="ADAL" clId="{0B4EB35B-6BB5-47F6-B896-A58562075FF9}" dt="2021-09-10T20:42:57.636" v="1444"/>
          <ac:spMkLst>
            <pc:docMk/>
            <pc:sldMk cId="1426701770" sldId="275"/>
            <ac:spMk id="62" creationId="{9DA5307B-4072-4AB2-BDC3-746940965F9E}"/>
          </ac:spMkLst>
        </pc:spChg>
        <pc:grpChg chg="add del mod">
          <ac:chgData name="Miao, Catherine" userId="2f80fa44-951d-45aa-8067-be181f1dab5e" providerId="ADAL" clId="{0B4EB35B-6BB5-47F6-B896-A58562075FF9}" dt="2021-09-10T20:35:45.459" v="1325" actId="478"/>
          <ac:grpSpMkLst>
            <pc:docMk/>
            <pc:sldMk cId="1426701770" sldId="275"/>
            <ac:grpSpMk id="4" creationId="{47C47EAF-36C0-480E-8686-A5441EBB2EE0}"/>
          </ac:grpSpMkLst>
        </pc:grpChg>
        <pc:picChg chg="add mod">
          <ac:chgData name="Miao, Catherine" userId="2f80fa44-951d-45aa-8067-be181f1dab5e" providerId="ADAL" clId="{0B4EB35B-6BB5-47F6-B896-A58562075FF9}" dt="2021-09-10T20:42:34.063" v="1440" actId="14100"/>
          <ac:picMkLst>
            <pc:docMk/>
            <pc:sldMk cId="1426701770" sldId="275"/>
            <ac:picMk id="3" creationId="{BAECFB55-D31C-43CF-902F-033494E4CB56}"/>
          </ac:picMkLst>
        </pc:picChg>
        <pc:picChg chg="add mod">
          <ac:chgData name="Miao, Catherine" userId="2f80fa44-951d-45aa-8067-be181f1dab5e" providerId="ADAL" clId="{0B4EB35B-6BB5-47F6-B896-A58562075FF9}" dt="2021-09-19T19:19:47.963" v="3448" actId="1076"/>
          <ac:picMkLst>
            <pc:docMk/>
            <pc:sldMk cId="1426701770" sldId="275"/>
            <ac:picMk id="20" creationId="{56FB06A6-AC29-44D8-9E93-F51E57E112ED}"/>
          </ac:picMkLst>
        </pc:picChg>
        <pc:picChg chg="add mod">
          <ac:chgData name="Miao, Catherine" userId="2f80fa44-951d-45aa-8067-be181f1dab5e" providerId="ADAL" clId="{0B4EB35B-6BB5-47F6-B896-A58562075FF9}" dt="2021-09-10T20:42:09.706" v="1436" actId="1076"/>
          <ac:picMkLst>
            <pc:docMk/>
            <pc:sldMk cId="1426701770" sldId="275"/>
            <ac:picMk id="59" creationId="{71C6B47D-AC61-41B8-AB1C-9C5C5A329096}"/>
          </ac:picMkLst>
        </pc:picChg>
      </pc:sldChg>
      <pc:sldChg chg="delSp modSp add del mod">
        <pc:chgData name="Miao, Catherine" userId="2f80fa44-951d-45aa-8067-be181f1dab5e" providerId="ADAL" clId="{0B4EB35B-6BB5-47F6-B896-A58562075FF9}" dt="2021-09-10T20:36:08.758" v="1333" actId="47"/>
        <pc:sldMkLst>
          <pc:docMk/>
          <pc:sldMk cId="2860456486" sldId="276"/>
        </pc:sldMkLst>
        <pc:spChg chg="mod">
          <ac:chgData name="Miao, Catherine" userId="2f80fa44-951d-45aa-8067-be181f1dab5e" providerId="ADAL" clId="{0B4EB35B-6BB5-47F6-B896-A58562075FF9}" dt="2021-09-10T20:36:07.593" v="1332" actId="1076"/>
          <ac:spMkLst>
            <pc:docMk/>
            <pc:sldMk cId="2860456486" sldId="276"/>
            <ac:spMk id="95" creationId="{B711DB06-0E7A-42E5-924F-8B6A1D13CC39}"/>
          </ac:spMkLst>
        </pc:spChg>
        <pc:grpChg chg="del">
          <ac:chgData name="Miao, Catherine" userId="2f80fa44-951d-45aa-8067-be181f1dab5e" providerId="ADAL" clId="{0B4EB35B-6BB5-47F6-B896-A58562075FF9}" dt="2021-09-10T20:36:03.481" v="1330" actId="478"/>
          <ac:grpSpMkLst>
            <pc:docMk/>
            <pc:sldMk cId="2860456486" sldId="276"/>
            <ac:grpSpMk id="93" creationId="{0C71FE21-9E76-4937-AA72-57C95F71D13A}"/>
          </ac:grpSpMkLst>
        </pc:grpChg>
        <pc:grpChg chg="del">
          <ac:chgData name="Miao, Catherine" userId="2f80fa44-951d-45aa-8067-be181f1dab5e" providerId="ADAL" clId="{0B4EB35B-6BB5-47F6-B896-A58562075FF9}" dt="2021-09-10T20:36:01.382" v="1328" actId="478"/>
          <ac:grpSpMkLst>
            <pc:docMk/>
            <pc:sldMk cId="2860456486" sldId="276"/>
            <ac:grpSpMk id="102" creationId="{C3557BB7-4D0D-4FD0-B034-475D07C0D3F5}"/>
          </ac:grpSpMkLst>
        </pc:grpChg>
        <pc:grpChg chg="del">
          <ac:chgData name="Miao, Catherine" userId="2f80fa44-951d-45aa-8067-be181f1dab5e" providerId="ADAL" clId="{0B4EB35B-6BB5-47F6-B896-A58562075FF9}" dt="2021-09-10T20:36:02.275" v="1329" actId="478"/>
          <ac:grpSpMkLst>
            <pc:docMk/>
            <pc:sldMk cId="2860456486" sldId="276"/>
            <ac:grpSpMk id="470" creationId="{FE4E5D7D-CDCA-4B75-948A-533D23A49E04}"/>
          </ac:grpSpMkLst>
        </pc:grpChg>
      </pc:sldChg>
      <pc:sldChg chg="addSp delSp modSp add mod">
        <pc:chgData name="Miao, Catherine" userId="2f80fa44-951d-45aa-8067-be181f1dab5e" providerId="ADAL" clId="{0B4EB35B-6BB5-47F6-B896-A58562075FF9}" dt="2021-09-10T20:57:53.940" v="1483" actId="1076"/>
        <pc:sldMkLst>
          <pc:docMk/>
          <pc:sldMk cId="2955989880" sldId="276"/>
        </pc:sldMkLst>
        <pc:spChg chg="mod">
          <ac:chgData name="Miao, Catherine" userId="2f80fa44-951d-45aa-8067-be181f1dab5e" providerId="ADAL" clId="{0B4EB35B-6BB5-47F6-B896-A58562075FF9}" dt="2021-09-10T20:40:18.552" v="1424" actId="20577"/>
          <ac:spMkLst>
            <pc:docMk/>
            <pc:sldMk cId="2955989880" sldId="276"/>
            <ac:spMk id="2" creationId="{837EB5BE-E15E-4BB7-9DF9-57CAF803CCF0}"/>
          </ac:spMkLst>
        </pc:spChg>
        <pc:picChg chg="del">
          <ac:chgData name="Miao, Catherine" userId="2f80fa44-951d-45aa-8067-be181f1dab5e" providerId="ADAL" clId="{0B4EB35B-6BB5-47F6-B896-A58562075FF9}" dt="2021-09-10T20:37:32.901" v="1365" actId="478"/>
          <ac:picMkLst>
            <pc:docMk/>
            <pc:sldMk cId="2955989880" sldId="276"/>
            <ac:picMk id="3" creationId="{BAECFB55-D31C-43CF-902F-033494E4CB56}"/>
          </ac:picMkLst>
        </pc:picChg>
        <pc:picChg chg="add del mod">
          <ac:chgData name="Miao, Catherine" userId="2f80fa44-951d-45aa-8067-be181f1dab5e" providerId="ADAL" clId="{0B4EB35B-6BB5-47F6-B896-A58562075FF9}" dt="2021-09-10T20:56:09.197" v="1468" actId="478"/>
          <ac:picMkLst>
            <pc:docMk/>
            <pc:sldMk cId="2955989880" sldId="276"/>
            <ac:picMk id="4" creationId="{933A9280-7ABE-4518-ACA0-4ADF09E744CC}"/>
          </ac:picMkLst>
        </pc:picChg>
        <pc:picChg chg="add del mod">
          <ac:chgData name="Miao, Catherine" userId="2f80fa44-951d-45aa-8067-be181f1dab5e" providerId="ADAL" clId="{0B4EB35B-6BB5-47F6-B896-A58562075FF9}" dt="2021-09-10T20:41:56.534" v="1430" actId="478"/>
          <ac:picMkLst>
            <pc:docMk/>
            <pc:sldMk cId="2955989880" sldId="276"/>
            <ac:picMk id="5" creationId="{1D02194C-CDD8-4211-BF51-8A839C0573F9}"/>
          </ac:picMkLst>
        </pc:picChg>
        <pc:picChg chg="add del mod modCrop">
          <ac:chgData name="Miao, Catherine" userId="2f80fa44-951d-45aa-8067-be181f1dab5e" providerId="ADAL" clId="{0B4EB35B-6BB5-47F6-B896-A58562075FF9}" dt="2021-09-10T20:56:06.787" v="1467" actId="478"/>
          <ac:picMkLst>
            <pc:docMk/>
            <pc:sldMk cId="2955989880" sldId="276"/>
            <ac:picMk id="6" creationId="{4DE46005-01AB-4042-8446-27EABBF4258B}"/>
          </ac:picMkLst>
        </pc:picChg>
        <pc:picChg chg="add del">
          <ac:chgData name="Miao, Catherine" userId="2f80fa44-951d-45aa-8067-be181f1dab5e" providerId="ADAL" clId="{0B4EB35B-6BB5-47F6-B896-A58562075FF9}" dt="2021-09-10T20:45:10.084" v="1452"/>
          <ac:picMkLst>
            <pc:docMk/>
            <pc:sldMk cId="2955989880" sldId="276"/>
            <ac:picMk id="7" creationId="{1418242C-94D6-4EEF-93D4-76220BFF78E3}"/>
          </ac:picMkLst>
        </pc:picChg>
        <pc:picChg chg="add mod">
          <ac:chgData name="Miao, Catherine" userId="2f80fa44-951d-45aa-8067-be181f1dab5e" providerId="ADAL" clId="{0B4EB35B-6BB5-47F6-B896-A58562075FF9}" dt="2021-09-10T20:56:32.973" v="1471" actId="14100"/>
          <ac:picMkLst>
            <pc:docMk/>
            <pc:sldMk cId="2955989880" sldId="276"/>
            <ac:picMk id="8" creationId="{9536B2BB-D1E3-4A2C-9D4C-F526AC3E5D75}"/>
          </ac:picMkLst>
        </pc:picChg>
        <pc:picChg chg="add del mod">
          <ac:chgData name="Miao, Catherine" userId="2f80fa44-951d-45aa-8067-be181f1dab5e" providerId="ADAL" clId="{0B4EB35B-6BB5-47F6-B896-A58562075FF9}" dt="2021-09-10T20:57:22.515" v="1478" actId="478"/>
          <ac:picMkLst>
            <pc:docMk/>
            <pc:sldMk cId="2955989880" sldId="276"/>
            <ac:picMk id="9" creationId="{C2CD09C5-2A08-4592-8B9B-9A9D3F243938}"/>
          </ac:picMkLst>
        </pc:picChg>
        <pc:picChg chg="add mod">
          <ac:chgData name="Miao, Catherine" userId="2f80fa44-951d-45aa-8067-be181f1dab5e" providerId="ADAL" clId="{0B4EB35B-6BB5-47F6-B896-A58562075FF9}" dt="2021-09-10T20:57:53.940" v="1483" actId="1076"/>
          <ac:picMkLst>
            <pc:docMk/>
            <pc:sldMk cId="2955989880" sldId="276"/>
            <ac:picMk id="10" creationId="{D72A805F-6752-4FAE-B29A-7AE5EEA634EE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0T20:57:17.663" v="1476" actId="1076"/>
        <pc:sldMkLst>
          <pc:docMk/>
          <pc:sldMk cId="971943968" sldId="277"/>
        </pc:sldMkLst>
        <pc:spChg chg="mod">
          <ac:chgData name="Miao, Catherine" userId="2f80fa44-951d-45aa-8067-be181f1dab5e" providerId="ADAL" clId="{0B4EB35B-6BB5-47F6-B896-A58562075FF9}" dt="2021-09-10T20:45:26.533" v="1457" actId="20577"/>
          <ac:spMkLst>
            <pc:docMk/>
            <pc:sldMk cId="971943968" sldId="277"/>
            <ac:spMk id="2" creationId="{837EB5BE-E15E-4BB7-9DF9-57CAF803CCF0}"/>
          </ac:spMkLst>
        </pc:spChg>
        <pc:picChg chg="add mod">
          <ac:chgData name="Miao, Catherine" userId="2f80fa44-951d-45aa-8067-be181f1dab5e" providerId="ADAL" clId="{0B4EB35B-6BB5-47F6-B896-A58562075FF9}" dt="2021-09-10T20:46:19.963" v="1461" actId="1076"/>
          <ac:picMkLst>
            <pc:docMk/>
            <pc:sldMk cId="971943968" sldId="277"/>
            <ac:picMk id="3" creationId="{E446B023-1ED5-4484-B83F-C09595D20B91}"/>
          </ac:picMkLst>
        </pc:picChg>
        <pc:picChg chg="del">
          <ac:chgData name="Miao, Catherine" userId="2f80fa44-951d-45aa-8067-be181f1dab5e" providerId="ADAL" clId="{0B4EB35B-6BB5-47F6-B896-A58562075FF9}" dt="2021-09-10T20:46:10.922" v="1458" actId="478"/>
          <ac:picMkLst>
            <pc:docMk/>
            <pc:sldMk cId="971943968" sldId="277"/>
            <ac:picMk id="4" creationId="{933A9280-7ABE-4518-ACA0-4ADF09E744CC}"/>
          </ac:picMkLst>
        </pc:picChg>
        <pc:picChg chg="add mod">
          <ac:chgData name="Miao, Catherine" userId="2f80fa44-951d-45aa-8067-be181f1dab5e" providerId="ADAL" clId="{0B4EB35B-6BB5-47F6-B896-A58562075FF9}" dt="2021-09-10T20:57:17.663" v="1476" actId="1076"/>
          <ac:picMkLst>
            <pc:docMk/>
            <pc:sldMk cId="971943968" sldId="277"/>
            <ac:picMk id="5" creationId="{6AB360F7-D396-415B-AEB9-090DF441416E}"/>
          </ac:picMkLst>
        </pc:picChg>
        <pc:picChg chg="del">
          <ac:chgData name="Miao, Catherine" userId="2f80fa44-951d-45aa-8067-be181f1dab5e" providerId="ADAL" clId="{0B4EB35B-6BB5-47F6-B896-A58562075FF9}" dt="2021-09-10T20:46:14.943" v="1459" actId="478"/>
          <ac:picMkLst>
            <pc:docMk/>
            <pc:sldMk cId="971943968" sldId="277"/>
            <ac:picMk id="6" creationId="{4DE46005-01AB-4042-8446-27EABBF4258B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0T21:06:33.352" v="1584" actId="14100"/>
        <pc:sldMkLst>
          <pc:docMk/>
          <pc:sldMk cId="1798864103" sldId="278"/>
        </pc:sldMkLst>
        <pc:picChg chg="del">
          <ac:chgData name="Miao, Catherine" userId="2f80fa44-951d-45aa-8067-be181f1dab5e" providerId="ADAL" clId="{0B4EB35B-6BB5-47F6-B896-A58562075FF9}" dt="2021-09-10T20:58:48.039" v="1485" actId="478"/>
          <ac:picMkLst>
            <pc:docMk/>
            <pc:sldMk cId="1798864103" sldId="278"/>
            <ac:picMk id="3" creationId="{E446B023-1ED5-4484-B83F-C09595D20B91}"/>
          </ac:picMkLst>
        </pc:picChg>
        <pc:picChg chg="add mod modCrop">
          <ac:chgData name="Miao, Catherine" userId="2f80fa44-951d-45aa-8067-be181f1dab5e" providerId="ADAL" clId="{0B4EB35B-6BB5-47F6-B896-A58562075FF9}" dt="2021-09-10T20:59:31.613" v="1492" actId="732"/>
          <ac:picMkLst>
            <pc:docMk/>
            <pc:sldMk cId="1798864103" sldId="278"/>
            <ac:picMk id="4" creationId="{0B332B15-017E-4749-A0B9-6229F9F1260E}"/>
          </ac:picMkLst>
        </pc:picChg>
        <pc:picChg chg="del">
          <ac:chgData name="Miao, Catherine" userId="2f80fa44-951d-45aa-8067-be181f1dab5e" providerId="ADAL" clId="{0B4EB35B-6BB5-47F6-B896-A58562075FF9}" dt="2021-09-10T20:58:50.180" v="1486" actId="478"/>
          <ac:picMkLst>
            <pc:docMk/>
            <pc:sldMk cId="1798864103" sldId="278"/>
            <ac:picMk id="5" creationId="{6AB360F7-D396-415B-AEB9-090DF441416E}"/>
          </ac:picMkLst>
        </pc:picChg>
        <pc:picChg chg="add del">
          <ac:chgData name="Miao, Catherine" userId="2f80fa44-951d-45aa-8067-be181f1dab5e" providerId="ADAL" clId="{0B4EB35B-6BB5-47F6-B896-A58562075FF9}" dt="2021-09-10T20:59:22.114" v="1491"/>
          <ac:picMkLst>
            <pc:docMk/>
            <pc:sldMk cId="1798864103" sldId="278"/>
            <ac:picMk id="6" creationId="{00A276B8-9E31-4E3A-8588-415FDCE5062B}"/>
          </ac:picMkLst>
        </pc:picChg>
        <pc:picChg chg="add mod modCrop">
          <ac:chgData name="Miao, Catherine" userId="2f80fa44-951d-45aa-8067-be181f1dab5e" providerId="ADAL" clId="{0B4EB35B-6BB5-47F6-B896-A58562075FF9}" dt="2021-09-10T21:06:33.352" v="1584" actId="14100"/>
          <ac:picMkLst>
            <pc:docMk/>
            <pc:sldMk cId="1798864103" sldId="278"/>
            <ac:picMk id="7" creationId="{CF481F2F-1087-466C-80A0-9063BC282B53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0T21:01:12.153" v="1506" actId="1076"/>
        <pc:sldMkLst>
          <pc:docMk/>
          <pc:sldMk cId="281089481" sldId="279"/>
        </pc:sldMkLst>
        <pc:picChg chg="del">
          <ac:chgData name="Miao, Catherine" userId="2f80fa44-951d-45aa-8067-be181f1dab5e" providerId="ADAL" clId="{0B4EB35B-6BB5-47F6-B896-A58562075FF9}" dt="2021-09-10T21:00:55.404" v="1501" actId="478"/>
          <ac:picMkLst>
            <pc:docMk/>
            <pc:sldMk cId="281089481" sldId="279"/>
            <ac:picMk id="3" creationId="{E446B023-1ED5-4484-B83F-C09595D20B91}"/>
          </ac:picMkLst>
        </pc:picChg>
        <pc:picChg chg="add mod">
          <ac:chgData name="Miao, Catherine" userId="2f80fa44-951d-45aa-8067-be181f1dab5e" providerId="ADAL" clId="{0B4EB35B-6BB5-47F6-B896-A58562075FF9}" dt="2021-09-10T21:01:12.153" v="1506" actId="1076"/>
          <ac:picMkLst>
            <pc:docMk/>
            <pc:sldMk cId="281089481" sldId="279"/>
            <ac:picMk id="4" creationId="{A323DFF2-13C3-44E6-A775-F985F8612CCC}"/>
          </ac:picMkLst>
        </pc:picChg>
        <pc:picChg chg="del">
          <ac:chgData name="Miao, Catherine" userId="2f80fa44-951d-45aa-8067-be181f1dab5e" providerId="ADAL" clId="{0B4EB35B-6BB5-47F6-B896-A58562075FF9}" dt="2021-09-10T21:00:54.599" v="1500" actId="478"/>
          <ac:picMkLst>
            <pc:docMk/>
            <pc:sldMk cId="281089481" sldId="279"/>
            <ac:picMk id="5" creationId="{6AB360F7-D396-415B-AEB9-090DF441416E}"/>
          </ac:picMkLst>
        </pc:picChg>
      </pc:sldChg>
      <pc:sldChg chg="add del">
        <pc:chgData name="Miao, Catherine" userId="2f80fa44-951d-45aa-8067-be181f1dab5e" providerId="ADAL" clId="{0B4EB35B-6BB5-47F6-B896-A58562075FF9}" dt="2021-09-10T20:58:53.244" v="1488" actId="47"/>
        <pc:sldMkLst>
          <pc:docMk/>
          <pc:sldMk cId="369446663" sldId="279"/>
        </pc:sldMkLst>
      </pc:sldChg>
      <pc:sldChg chg="addSp delSp modSp add mod">
        <pc:chgData name="Miao, Catherine" userId="2f80fa44-951d-45aa-8067-be181f1dab5e" providerId="ADAL" clId="{0B4EB35B-6BB5-47F6-B896-A58562075FF9}" dt="2021-09-10T21:03:44.823" v="1525" actId="1076"/>
        <pc:sldMkLst>
          <pc:docMk/>
          <pc:sldMk cId="3819679626" sldId="280"/>
        </pc:sldMkLst>
        <pc:picChg chg="del">
          <ac:chgData name="Miao, Catherine" userId="2f80fa44-951d-45aa-8067-be181f1dab5e" providerId="ADAL" clId="{0B4EB35B-6BB5-47F6-B896-A58562075FF9}" dt="2021-09-10T21:01:03.676" v="1504" actId="478"/>
          <ac:picMkLst>
            <pc:docMk/>
            <pc:sldMk cId="3819679626" sldId="280"/>
            <ac:picMk id="3" creationId="{E446B023-1ED5-4484-B83F-C09595D20B91}"/>
          </ac:picMkLst>
        </pc:picChg>
        <pc:picChg chg="add mod">
          <ac:chgData name="Miao, Catherine" userId="2f80fa44-951d-45aa-8067-be181f1dab5e" providerId="ADAL" clId="{0B4EB35B-6BB5-47F6-B896-A58562075FF9}" dt="2021-09-10T21:03:12.916" v="1517" actId="1076"/>
          <ac:picMkLst>
            <pc:docMk/>
            <pc:sldMk cId="3819679626" sldId="280"/>
            <ac:picMk id="4" creationId="{765610C5-5897-4560-9384-BBCD45ACD91F}"/>
          </ac:picMkLst>
        </pc:picChg>
        <pc:picChg chg="del">
          <ac:chgData name="Miao, Catherine" userId="2f80fa44-951d-45aa-8067-be181f1dab5e" providerId="ADAL" clId="{0B4EB35B-6BB5-47F6-B896-A58562075FF9}" dt="2021-09-10T21:01:02.418" v="1503" actId="478"/>
          <ac:picMkLst>
            <pc:docMk/>
            <pc:sldMk cId="3819679626" sldId="280"/>
            <ac:picMk id="5" creationId="{6AB360F7-D396-415B-AEB9-090DF441416E}"/>
          </ac:picMkLst>
        </pc:picChg>
        <pc:picChg chg="add mod modCrop">
          <ac:chgData name="Miao, Catherine" userId="2f80fa44-951d-45aa-8067-be181f1dab5e" providerId="ADAL" clId="{0B4EB35B-6BB5-47F6-B896-A58562075FF9}" dt="2021-09-10T21:03:44.823" v="1525" actId="1076"/>
          <ac:picMkLst>
            <pc:docMk/>
            <pc:sldMk cId="3819679626" sldId="280"/>
            <ac:picMk id="6" creationId="{B941AACF-03CA-40F1-A1B6-D2132221E427}"/>
          </ac:picMkLst>
        </pc:picChg>
      </pc:sldChg>
      <pc:sldChg chg="addSp delSp modSp add mod">
        <pc:chgData name="Miao, Catherine" userId="2f80fa44-951d-45aa-8067-be181f1dab5e" providerId="ADAL" clId="{0B4EB35B-6BB5-47F6-B896-A58562075FF9}" dt="2021-09-14T15:07:00.748" v="3226" actId="732"/>
        <pc:sldMkLst>
          <pc:docMk/>
          <pc:sldMk cId="1773710872" sldId="281"/>
        </pc:sldMkLst>
        <pc:picChg chg="add mod">
          <ac:chgData name="Miao, Catherine" userId="2f80fa44-951d-45aa-8067-be181f1dab5e" providerId="ADAL" clId="{0B4EB35B-6BB5-47F6-B896-A58562075FF9}" dt="2021-09-10T21:05:31.302" v="1538" actId="1076"/>
          <ac:picMkLst>
            <pc:docMk/>
            <pc:sldMk cId="1773710872" sldId="281"/>
            <ac:picMk id="3" creationId="{8B8C05B4-62D1-461D-8BD8-F80FB96F52CB}"/>
          </ac:picMkLst>
        </pc:picChg>
        <pc:picChg chg="del">
          <ac:chgData name="Miao, Catherine" userId="2f80fa44-951d-45aa-8067-be181f1dab5e" providerId="ADAL" clId="{0B4EB35B-6BB5-47F6-B896-A58562075FF9}" dt="2021-09-10T21:04:32.076" v="1527" actId="478"/>
          <ac:picMkLst>
            <pc:docMk/>
            <pc:sldMk cId="1773710872" sldId="281"/>
            <ac:picMk id="4" creationId="{765610C5-5897-4560-9384-BBCD45ACD91F}"/>
          </ac:picMkLst>
        </pc:picChg>
        <pc:picChg chg="add mod modCrop">
          <ac:chgData name="Miao, Catherine" userId="2f80fa44-951d-45aa-8067-be181f1dab5e" providerId="ADAL" clId="{0B4EB35B-6BB5-47F6-B896-A58562075FF9}" dt="2021-09-14T15:07:00.748" v="3226" actId="732"/>
          <ac:picMkLst>
            <pc:docMk/>
            <pc:sldMk cId="1773710872" sldId="281"/>
            <ac:picMk id="5" creationId="{7D5F82AE-8B79-481C-B766-223452A31D0E}"/>
          </ac:picMkLst>
        </pc:picChg>
        <pc:picChg chg="del">
          <ac:chgData name="Miao, Catherine" userId="2f80fa44-951d-45aa-8067-be181f1dab5e" providerId="ADAL" clId="{0B4EB35B-6BB5-47F6-B896-A58562075FF9}" dt="2021-09-10T21:04:32.771" v="1528" actId="478"/>
          <ac:picMkLst>
            <pc:docMk/>
            <pc:sldMk cId="1773710872" sldId="281"/>
            <ac:picMk id="6" creationId="{B941AACF-03CA-40F1-A1B6-D2132221E427}"/>
          </ac:picMkLst>
        </pc:picChg>
      </pc:sldChg>
      <pc:sldChg chg="delSp modSp add mod">
        <pc:chgData name="Miao, Catherine" userId="2f80fa44-951d-45aa-8067-be181f1dab5e" providerId="ADAL" clId="{0B4EB35B-6BB5-47F6-B896-A58562075FF9}" dt="2021-09-10T21:06:15.529" v="1583" actId="478"/>
        <pc:sldMkLst>
          <pc:docMk/>
          <pc:sldMk cId="3841469185" sldId="282"/>
        </pc:sldMkLst>
        <pc:spChg chg="mod">
          <ac:chgData name="Miao, Catherine" userId="2f80fa44-951d-45aa-8067-be181f1dab5e" providerId="ADAL" clId="{0B4EB35B-6BB5-47F6-B896-A58562075FF9}" dt="2021-09-10T21:06:12.201" v="1581" actId="20577"/>
          <ac:spMkLst>
            <pc:docMk/>
            <pc:sldMk cId="3841469185" sldId="282"/>
            <ac:spMk id="62" creationId="{9DA5307B-4072-4AB2-BDC3-746940965F9E}"/>
          </ac:spMkLst>
        </pc:spChg>
        <pc:picChg chg="del">
          <ac:chgData name="Miao, Catherine" userId="2f80fa44-951d-45aa-8067-be181f1dab5e" providerId="ADAL" clId="{0B4EB35B-6BB5-47F6-B896-A58562075FF9}" dt="2021-09-10T21:06:15.032" v="1582" actId="478"/>
          <ac:picMkLst>
            <pc:docMk/>
            <pc:sldMk cId="3841469185" sldId="282"/>
            <ac:picMk id="3" creationId="{BAECFB55-D31C-43CF-902F-033494E4CB56}"/>
          </ac:picMkLst>
        </pc:picChg>
        <pc:picChg chg="del">
          <ac:chgData name="Miao, Catherine" userId="2f80fa44-951d-45aa-8067-be181f1dab5e" providerId="ADAL" clId="{0B4EB35B-6BB5-47F6-B896-A58562075FF9}" dt="2021-09-10T21:06:15.529" v="1583" actId="478"/>
          <ac:picMkLst>
            <pc:docMk/>
            <pc:sldMk cId="3841469185" sldId="282"/>
            <ac:picMk id="59" creationId="{71C6B47D-AC61-41B8-AB1C-9C5C5A329096}"/>
          </ac:picMkLst>
        </pc:picChg>
      </pc:sldChg>
      <pc:sldChg chg="modSp mod">
        <pc:chgData name="Miao, Catherine" userId="2f80fa44-951d-45aa-8067-be181f1dab5e" providerId="ADAL" clId="{0B4EB35B-6BB5-47F6-B896-A58562075FF9}" dt="2021-09-13T18:34:12.238" v="3135" actId="20577"/>
        <pc:sldMkLst>
          <pc:docMk/>
          <pc:sldMk cId="1257602603" sldId="284"/>
        </pc:sldMkLst>
        <pc:spChg chg="mod">
          <ac:chgData name="Miao, Catherine" userId="2f80fa44-951d-45aa-8067-be181f1dab5e" providerId="ADAL" clId="{0B4EB35B-6BB5-47F6-B896-A58562075FF9}" dt="2021-09-13T16:53:12.367" v="1756" actId="20577"/>
          <ac:spMkLst>
            <pc:docMk/>
            <pc:sldMk cId="1257602603" sldId="284"/>
            <ac:spMk id="105" creationId="{18E5C95E-950F-4199-B5AE-C287E925FFC6}"/>
          </ac:spMkLst>
        </pc:spChg>
        <pc:spChg chg="mod">
          <ac:chgData name="Miao, Catherine" userId="2f80fa44-951d-45aa-8067-be181f1dab5e" providerId="ADAL" clId="{0B4EB35B-6BB5-47F6-B896-A58562075FF9}" dt="2021-09-13T16:53:47.431" v="1761" actId="1076"/>
          <ac:spMkLst>
            <pc:docMk/>
            <pc:sldMk cId="1257602603" sldId="284"/>
            <ac:spMk id="466" creationId="{47ADEEAA-05EC-474B-882D-B83DCDD314DA}"/>
          </ac:spMkLst>
        </pc:spChg>
        <pc:spChg chg="mod">
          <ac:chgData name="Miao, Catherine" userId="2f80fa44-951d-45aa-8067-be181f1dab5e" providerId="ADAL" clId="{0B4EB35B-6BB5-47F6-B896-A58562075FF9}" dt="2021-09-13T18:34:12.238" v="3135" actId="20577"/>
          <ac:spMkLst>
            <pc:docMk/>
            <pc:sldMk cId="1257602603" sldId="284"/>
            <ac:spMk id="531" creationId="{FCB5082F-9F74-4030-8DF8-84EB6477465C}"/>
          </ac:spMkLst>
        </pc:spChg>
        <pc:spChg chg="mod">
          <ac:chgData name="Miao, Catherine" userId="2f80fa44-951d-45aa-8067-be181f1dab5e" providerId="ADAL" clId="{0B4EB35B-6BB5-47F6-B896-A58562075FF9}" dt="2021-09-13T17:01:56.757" v="2169" actId="1076"/>
          <ac:spMkLst>
            <pc:docMk/>
            <pc:sldMk cId="1257602603" sldId="284"/>
            <ac:spMk id="535" creationId="{423A5BFD-3005-44AC-B605-A3B3A6BD6326}"/>
          </ac:spMkLst>
        </pc:spChg>
        <pc:spChg chg="mod">
          <ac:chgData name="Miao, Catherine" userId="2f80fa44-951d-45aa-8067-be181f1dab5e" providerId="ADAL" clId="{0B4EB35B-6BB5-47F6-B896-A58562075FF9}" dt="2021-09-13T18:33:46.447" v="3078" actId="20577"/>
          <ac:spMkLst>
            <pc:docMk/>
            <pc:sldMk cId="1257602603" sldId="284"/>
            <ac:spMk id="539" creationId="{9326DF5B-6C02-42E3-82C0-6A30DA22E31D}"/>
          </ac:spMkLst>
        </pc:spChg>
      </pc:sldChg>
      <pc:sldChg chg="addSp delSp modSp mod">
        <pc:chgData name="Miao, Catherine" userId="2f80fa44-951d-45aa-8067-be181f1dab5e" providerId="ADAL" clId="{0B4EB35B-6BB5-47F6-B896-A58562075FF9}" dt="2021-09-13T18:37:25.736" v="3225" actId="20577"/>
        <pc:sldMkLst>
          <pc:docMk/>
          <pc:sldMk cId="3811223707" sldId="288"/>
        </pc:sldMkLst>
        <pc:spChg chg="add del mod">
          <ac:chgData name="Miao, Catherine" userId="2f80fa44-951d-45aa-8067-be181f1dab5e" providerId="ADAL" clId="{0B4EB35B-6BB5-47F6-B896-A58562075FF9}" dt="2021-09-13T18:37:25.736" v="3225" actId="20577"/>
          <ac:spMkLst>
            <pc:docMk/>
            <pc:sldMk cId="3811223707" sldId="288"/>
            <ac:spMk id="3" creationId="{41805ACA-0411-4866-83B2-44D41797EC6A}"/>
          </ac:spMkLst>
        </pc:spChg>
        <pc:spChg chg="del">
          <ac:chgData name="Miao, Catherine" userId="2f80fa44-951d-45aa-8067-be181f1dab5e" providerId="ADAL" clId="{0B4EB35B-6BB5-47F6-B896-A58562075FF9}" dt="2021-09-13T18:36:44.569" v="3146" actId="478"/>
          <ac:spMkLst>
            <pc:docMk/>
            <pc:sldMk cId="3811223707" sldId="288"/>
            <ac:spMk id="94" creationId="{FBA90476-223F-4DBA-A0EF-EB25ED720A78}"/>
          </ac:spMkLst>
        </pc:spChg>
        <pc:spChg chg="del mod">
          <ac:chgData name="Miao, Catherine" userId="2f80fa44-951d-45aa-8067-be181f1dab5e" providerId="ADAL" clId="{0B4EB35B-6BB5-47F6-B896-A58562075FF9}" dt="2021-09-13T18:36:40.273" v="3145" actId="478"/>
          <ac:spMkLst>
            <pc:docMk/>
            <pc:sldMk cId="3811223707" sldId="288"/>
            <ac:spMk id="95" creationId="{5B7360DB-6918-449D-830B-0625126B925E}"/>
          </ac:spMkLst>
        </pc:spChg>
        <pc:spChg chg="add del">
          <ac:chgData name="Miao, Catherine" userId="2f80fa44-951d-45aa-8067-be181f1dab5e" providerId="ADAL" clId="{0B4EB35B-6BB5-47F6-B896-A58562075FF9}" dt="2021-09-13T18:36:30.276" v="3142" actId="478"/>
          <ac:spMkLst>
            <pc:docMk/>
            <pc:sldMk cId="3811223707" sldId="288"/>
            <ac:spMk id="108" creationId="{E5879A7E-DEF2-4E20-A7A2-22BFA6176F48}"/>
          </ac:spMkLst>
        </pc:spChg>
        <pc:spChg chg="topLvl">
          <ac:chgData name="Miao, Catherine" userId="2f80fa44-951d-45aa-8067-be181f1dab5e" providerId="ADAL" clId="{0B4EB35B-6BB5-47F6-B896-A58562075FF9}" dt="2021-09-13T18:36:37.619" v="3143" actId="478"/>
          <ac:spMkLst>
            <pc:docMk/>
            <pc:sldMk cId="3811223707" sldId="288"/>
            <ac:spMk id="119" creationId="{6EDAE882-30BD-4F07-B4EF-1D6AB71D17F6}"/>
          </ac:spMkLst>
        </pc:spChg>
        <pc:grpChg chg="del">
          <ac:chgData name="Miao, Catherine" userId="2f80fa44-951d-45aa-8067-be181f1dab5e" providerId="ADAL" clId="{0B4EB35B-6BB5-47F6-B896-A58562075FF9}" dt="2021-09-13T18:36:37.619" v="3143" actId="478"/>
          <ac:grpSpMkLst>
            <pc:docMk/>
            <pc:sldMk cId="3811223707" sldId="288"/>
            <ac:grpSpMk id="118" creationId="{061E9FF2-1946-4B2E-9C58-9DEB14BEE55D}"/>
          </ac:grpSpMkLst>
        </pc:grpChg>
        <pc:graphicFrameChg chg="del topLvl">
          <ac:chgData name="Miao, Catherine" userId="2f80fa44-951d-45aa-8067-be181f1dab5e" providerId="ADAL" clId="{0B4EB35B-6BB5-47F6-B896-A58562075FF9}" dt="2021-09-13T18:36:37.619" v="3143" actId="478"/>
          <ac:graphicFrameMkLst>
            <pc:docMk/>
            <pc:sldMk cId="3811223707" sldId="288"/>
            <ac:graphicFrameMk id="120" creationId="{1CEA9A97-86D6-4570-8D83-1668077DA044}"/>
          </ac:graphicFrameMkLst>
        </pc:graphicFrameChg>
      </pc:sldChg>
      <pc:sldChg chg="del">
        <pc:chgData name="Miao, Catherine" userId="2f80fa44-951d-45aa-8067-be181f1dab5e" providerId="ADAL" clId="{0B4EB35B-6BB5-47F6-B896-A58562075FF9}" dt="2021-09-13T16:56:00.195" v="1840" actId="47"/>
        <pc:sldMkLst>
          <pc:docMk/>
          <pc:sldMk cId="4168632503" sldId="290"/>
        </pc:sldMkLst>
      </pc:sldChg>
      <pc:sldChg chg="modSp mod">
        <pc:chgData name="Miao, Catherine" userId="2f80fa44-951d-45aa-8067-be181f1dab5e" providerId="ADAL" clId="{0B4EB35B-6BB5-47F6-B896-A58562075FF9}" dt="2021-09-13T16:49:37.044" v="1625" actId="14100"/>
        <pc:sldMkLst>
          <pc:docMk/>
          <pc:sldMk cId="1068218177" sldId="293"/>
        </pc:sldMkLst>
        <pc:picChg chg="mod">
          <ac:chgData name="Miao, Catherine" userId="2f80fa44-951d-45aa-8067-be181f1dab5e" providerId="ADAL" clId="{0B4EB35B-6BB5-47F6-B896-A58562075FF9}" dt="2021-09-13T16:49:37.044" v="1625" actId="14100"/>
          <ac:picMkLst>
            <pc:docMk/>
            <pc:sldMk cId="1068218177" sldId="293"/>
            <ac:picMk id="14" creationId="{21C30125-B7F5-473E-8B29-C6B811A4A808}"/>
          </ac:picMkLst>
        </pc:picChg>
      </pc:sldChg>
      <pc:sldChg chg="addSp delSp modSp new mod">
        <pc:chgData name="Miao, Catherine" userId="2f80fa44-951d-45aa-8067-be181f1dab5e" providerId="ADAL" clId="{0B4EB35B-6BB5-47F6-B896-A58562075FF9}" dt="2021-09-13T18:28:50.794" v="2790" actId="207"/>
        <pc:sldMkLst>
          <pc:docMk/>
          <pc:sldMk cId="2195655323" sldId="308"/>
        </pc:sldMkLst>
        <pc:spChg chg="mod">
          <ac:chgData name="Miao, Catherine" userId="2f80fa44-951d-45aa-8067-be181f1dab5e" providerId="ADAL" clId="{0B4EB35B-6BB5-47F6-B896-A58562075FF9}" dt="2021-09-13T18:22:33.554" v="2684" actId="20577"/>
          <ac:spMkLst>
            <pc:docMk/>
            <pc:sldMk cId="2195655323" sldId="308"/>
            <ac:spMk id="2" creationId="{868D3934-8E4F-4DFD-9086-CB8692F47448}"/>
          </ac:spMkLst>
        </pc:spChg>
        <pc:spChg chg="del">
          <ac:chgData name="Miao, Catherine" userId="2f80fa44-951d-45aa-8067-be181f1dab5e" providerId="ADAL" clId="{0B4EB35B-6BB5-47F6-B896-A58562075FF9}" dt="2021-09-13T17:06:11.136" v="2204" actId="3680"/>
          <ac:spMkLst>
            <pc:docMk/>
            <pc:sldMk cId="2195655323" sldId="308"/>
            <ac:spMk id="3" creationId="{A05706B4-83D8-4C1E-898C-1AC0609A632A}"/>
          </ac:spMkLst>
        </pc:spChg>
        <pc:graphicFrameChg chg="add mod ord modGraphic">
          <ac:chgData name="Miao, Catherine" userId="2f80fa44-951d-45aa-8067-be181f1dab5e" providerId="ADAL" clId="{0B4EB35B-6BB5-47F6-B896-A58562075FF9}" dt="2021-09-13T18:28:50.794" v="2790" actId="207"/>
          <ac:graphicFrameMkLst>
            <pc:docMk/>
            <pc:sldMk cId="2195655323" sldId="308"/>
            <ac:graphicFrameMk id="5" creationId="{A1CE391A-FE5E-4B3E-84A0-10518A6838AB}"/>
          </ac:graphicFrameMkLst>
        </pc:graphicFrameChg>
      </pc:sldChg>
      <pc:sldChg chg="addSp delSp modSp new mod">
        <pc:chgData name="Miao, Catherine" userId="2f80fa44-951d-45aa-8067-be181f1dab5e" providerId="ADAL" clId="{0B4EB35B-6BB5-47F6-B896-A58562075FF9}" dt="2021-09-14T17:46:14.415" v="3342" actId="1076"/>
        <pc:sldMkLst>
          <pc:docMk/>
          <pc:sldMk cId="19097214" sldId="310"/>
        </pc:sldMkLst>
        <pc:spChg chg="mod">
          <ac:chgData name="Miao, Catherine" userId="2f80fa44-951d-45aa-8067-be181f1dab5e" providerId="ADAL" clId="{0B4EB35B-6BB5-47F6-B896-A58562075FF9}" dt="2021-09-14T17:40:32.203" v="3249" actId="20577"/>
          <ac:spMkLst>
            <pc:docMk/>
            <pc:sldMk cId="19097214" sldId="310"/>
            <ac:spMk id="2" creationId="{85868D3F-9FD1-4504-B990-CE79A50B6F36}"/>
          </ac:spMkLst>
        </pc:spChg>
        <pc:spChg chg="del">
          <ac:chgData name="Miao, Catherine" userId="2f80fa44-951d-45aa-8067-be181f1dab5e" providerId="ADAL" clId="{0B4EB35B-6BB5-47F6-B896-A58562075FF9}" dt="2021-09-14T17:40:09.565" v="3228"/>
          <ac:spMkLst>
            <pc:docMk/>
            <pc:sldMk cId="19097214" sldId="310"/>
            <ac:spMk id="3" creationId="{7E866EBE-0F45-46C9-BD09-C8A67D6197EF}"/>
          </ac:spMkLst>
        </pc:spChg>
        <pc:spChg chg="add mod">
          <ac:chgData name="Miao, Catherine" userId="2f80fa44-951d-45aa-8067-be181f1dab5e" providerId="ADAL" clId="{0B4EB35B-6BB5-47F6-B896-A58562075FF9}" dt="2021-09-14T17:46:14.415" v="3342" actId="1076"/>
          <ac:spMkLst>
            <pc:docMk/>
            <pc:sldMk cId="19097214" sldId="310"/>
            <ac:spMk id="6" creationId="{9E38FA94-D06F-4692-8F67-4CB882657A3E}"/>
          </ac:spMkLst>
        </pc:spChg>
        <pc:picChg chg="add mod modCrop">
          <ac:chgData name="Miao, Catherine" userId="2f80fa44-951d-45aa-8067-be181f1dab5e" providerId="ADAL" clId="{0B4EB35B-6BB5-47F6-B896-A58562075FF9}" dt="2021-09-14T17:41:06.549" v="3255" actId="14100"/>
          <ac:picMkLst>
            <pc:docMk/>
            <pc:sldMk cId="19097214" sldId="310"/>
            <ac:picMk id="5" creationId="{65552782-7EBA-445E-B007-DC0654A1EE51}"/>
          </ac:picMkLst>
        </pc:picChg>
      </pc:sldChg>
      <pc:sldChg chg="addSp delSp modSp new mod">
        <pc:chgData name="Miao, Catherine" userId="2f80fa44-951d-45aa-8067-be181f1dab5e" providerId="ADAL" clId="{0B4EB35B-6BB5-47F6-B896-A58562075FF9}" dt="2021-09-14T17:50:24.932" v="3435" actId="20577"/>
        <pc:sldMkLst>
          <pc:docMk/>
          <pc:sldMk cId="1103308220" sldId="311"/>
        </pc:sldMkLst>
        <pc:spChg chg="mod">
          <ac:chgData name="Miao, Catherine" userId="2f80fa44-951d-45aa-8067-be181f1dab5e" providerId="ADAL" clId="{0B4EB35B-6BB5-47F6-B896-A58562075FF9}" dt="2021-09-14T17:42:36.076" v="3264"/>
          <ac:spMkLst>
            <pc:docMk/>
            <pc:sldMk cId="1103308220" sldId="311"/>
            <ac:spMk id="2" creationId="{F22DA72C-2850-4761-B572-DE5BC3A47932}"/>
          </ac:spMkLst>
        </pc:spChg>
        <pc:spChg chg="del">
          <ac:chgData name="Miao, Catherine" userId="2f80fa44-951d-45aa-8067-be181f1dab5e" providerId="ADAL" clId="{0B4EB35B-6BB5-47F6-B896-A58562075FF9}" dt="2021-09-14T17:42:12.253" v="3260" actId="478"/>
          <ac:spMkLst>
            <pc:docMk/>
            <pc:sldMk cId="1103308220" sldId="311"/>
            <ac:spMk id="3" creationId="{238C7DB2-2A41-48CF-AF53-1EAF98301D77}"/>
          </ac:spMkLst>
        </pc:spChg>
        <pc:spChg chg="add mod">
          <ac:chgData name="Miao, Catherine" userId="2f80fa44-951d-45aa-8067-be181f1dab5e" providerId="ADAL" clId="{0B4EB35B-6BB5-47F6-B896-A58562075FF9}" dt="2021-09-14T17:43:50.878" v="3278" actId="13926"/>
          <ac:spMkLst>
            <pc:docMk/>
            <pc:sldMk cId="1103308220" sldId="311"/>
            <ac:spMk id="6" creationId="{77E30E97-1405-4469-8FF9-D6817B2BE588}"/>
          </ac:spMkLst>
        </pc:spChg>
        <pc:spChg chg="add mod">
          <ac:chgData name="Miao, Catherine" userId="2f80fa44-951d-45aa-8067-be181f1dab5e" providerId="ADAL" clId="{0B4EB35B-6BB5-47F6-B896-A58562075FF9}" dt="2021-09-14T17:45:44.172" v="3336" actId="113"/>
          <ac:spMkLst>
            <pc:docMk/>
            <pc:sldMk cId="1103308220" sldId="311"/>
            <ac:spMk id="7" creationId="{65EDD5F9-0E69-4FF7-B760-B027482E931B}"/>
          </ac:spMkLst>
        </pc:spChg>
        <pc:spChg chg="add mod">
          <ac:chgData name="Miao, Catherine" userId="2f80fa44-951d-45aa-8067-be181f1dab5e" providerId="ADAL" clId="{0B4EB35B-6BB5-47F6-B896-A58562075FF9}" dt="2021-09-14T17:50:24.932" v="3435" actId="20577"/>
          <ac:spMkLst>
            <pc:docMk/>
            <pc:sldMk cId="1103308220" sldId="311"/>
            <ac:spMk id="8" creationId="{348FE470-12B1-4815-8760-45F3C8BC904D}"/>
          </ac:spMkLst>
        </pc:spChg>
        <pc:picChg chg="add mod">
          <ac:chgData name="Miao, Catherine" userId="2f80fa44-951d-45aa-8067-be181f1dab5e" providerId="ADAL" clId="{0B4EB35B-6BB5-47F6-B896-A58562075FF9}" dt="2021-09-14T17:43:29.639" v="3275" actId="1076"/>
          <ac:picMkLst>
            <pc:docMk/>
            <pc:sldMk cId="1103308220" sldId="311"/>
            <ac:picMk id="5" creationId="{CB569C69-F6F7-4AD0-B73D-8ECA2073FD45}"/>
          </ac:picMkLst>
        </pc:picChg>
      </pc:sldChg>
      <pc:sldChg chg="addSp delSp modSp mod">
        <pc:chgData name="Miao, Catherine" userId="2f80fa44-951d-45aa-8067-be181f1dab5e" providerId="ADAL" clId="{0B4EB35B-6BB5-47F6-B896-A58562075FF9}" dt="2021-09-19T19:19:25.079" v="3441" actId="478"/>
        <pc:sldMkLst>
          <pc:docMk/>
          <pc:sldMk cId="365928129" sldId="316"/>
        </pc:sldMkLst>
        <pc:spChg chg="mod">
          <ac:chgData name="Miao, Catherine" userId="2f80fa44-951d-45aa-8067-be181f1dab5e" providerId="ADAL" clId="{0B4EB35B-6BB5-47F6-B896-A58562075FF9}" dt="2021-09-19T19:19:22.909" v="3440" actId="20577"/>
          <ac:spMkLst>
            <pc:docMk/>
            <pc:sldMk cId="365928129" sldId="316"/>
            <ac:spMk id="2" creationId="{C7B838FD-C1FD-40B9-9F72-2E8A22D69B17}"/>
          </ac:spMkLst>
        </pc:spChg>
        <pc:picChg chg="add del">
          <ac:chgData name="Miao, Catherine" userId="2f80fa44-951d-45aa-8067-be181f1dab5e" providerId="ADAL" clId="{0B4EB35B-6BB5-47F6-B896-A58562075FF9}" dt="2021-09-19T19:19:25.079" v="3441" actId="478"/>
          <ac:picMkLst>
            <pc:docMk/>
            <pc:sldMk cId="365928129" sldId="316"/>
            <ac:picMk id="36" creationId="{66AF54D8-D6A6-422B-A50B-661E874319EB}"/>
          </ac:picMkLst>
        </pc:picChg>
      </pc:sldChg>
    </pc:docChg>
  </pc:docChgLst>
  <pc:docChgLst>
    <pc:chgData name="Thomas2, Anthony" userId="S::anthony_thomas2@dell.com::e170cca0-fe16-4f20-8d1d-58fb19989c9a" providerId="AD" clId="Web-{850D3526-CD18-429D-83B5-8BB7630743BB}"/>
    <pc:docChg chg="modSld">
      <pc:chgData name="Thomas2, Anthony" userId="S::anthony_thomas2@dell.com::e170cca0-fe16-4f20-8d1d-58fb19989c9a" providerId="AD" clId="Web-{850D3526-CD18-429D-83B5-8BB7630743BB}" dt="2021-09-24T12:54:19.755" v="6" actId="20577"/>
      <pc:docMkLst>
        <pc:docMk/>
      </pc:docMkLst>
      <pc:sldChg chg="modSp">
        <pc:chgData name="Thomas2, Anthony" userId="S::anthony_thomas2@dell.com::e170cca0-fe16-4f20-8d1d-58fb19989c9a" providerId="AD" clId="Web-{850D3526-CD18-429D-83B5-8BB7630743BB}" dt="2021-09-24T12:54:19.755" v="6" actId="20577"/>
        <pc:sldMkLst>
          <pc:docMk/>
          <pc:sldMk cId="4147963851" sldId="287"/>
        </pc:sldMkLst>
        <pc:spChg chg="mod">
          <ac:chgData name="Thomas2, Anthony" userId="S::anthony_thomas2@dell.com::e170cca0-fe16-4f20-8d1d-58fb19989c9a" providerId="AD" clId="Web-{850D3526-CD18-429D-83B5-8BB7630743BB}" dt="2021-09-24T12:54:19.755" v="6" actId="20577"/>
          <ac:spMkLst>
            <pc:docMk/>
            <pc:sldMk cId="4147963851" sldId="287"/>
            <ac:spMk id="55" creationId="{3A6CCD32-996B-430B-96DE-486B5340F640}"/>
          </ac:spMkLst>
        </pc:spChg>
      </pc:sldChg>
    </pc:docChg>
  </pc:docChgLst>
  <pc:docChgLst>
    <pc:chgData name="Thomas2, Anthony" userId="S::anthony_thomas2@dell.com::e170cca0-fe16-4f20-8d1d-58fb19989c9a" providerId="AD" clId="Web-{020AC950-AD59-4DC1-9BE3-C040DC82465B}"/>
    <pc:docChg chg="modSld">
      <pc:chgData name="Thomas2, Anthony" userId="S::anthony_thomas2@dell.com::e170cca0-fe16-4f20-8d1d-58fb19989c9a" providerId="AD" clId="Web-{020AC950-AD59-4DC1-9BE3-C040DC82465B}" dt="2021-09-16T11:09:54.064" v="1" actId="14100"/>
      <pc:docMkLst>
        <pc:docMk/>
      </pc:docMkLst>
      <pc:sldChg chg="modSp">
        <pc:chgData name="Thomas2, Anthony" userId="S::anthony_thomas2@dell.com::e170cca0-fe16-4f20-8d1d-58fb19989c9a" providerId="AD" clId="Web-{020AC950-AD59-4DC1-9BE3-C040DC82465B}" dt="2021-09-16T11:09:54.064" v="1" actId="14100"/>
        <pc:sldMkLst>
          <pc:docMk/>
          <pc:sldMk cId="2235950224" sldId="256"/>
        </pc:sldMkLst>
        <pc:spChg chg="mod">
          <ac:chgData name="Thomas2, Anthony" userId="S::anthony_thomas2@dell.com::e170cca0-fe16-4f20-8d1d-58fb19989c9a" providerId="AD" clId="Web-{020AC950-AD59-4DC1-9BE3-C040DC82465B}" dt="2021-09-16T11:09:54.064" v="1" actId="14100"/>
          <ac:spMkLst>
            <pc:docMk/>
            <pc:sldMk cId="2235950224" sldId="256"/>
            <ac:spMk id="1195" creationId="{62B7CDE1-0902-4C61-B4DE-97766E505AD5}"/>
          </ac:spMkLst>
        </pc:spChg>
      </pc:sldChg>
    </pc:docChg>
  </pc:docChgLst>
  <pc:docChgLst>
    <pc:chgData name="Kopper, Jordan" userId="S::jordan_kopper@dell.com::b70b14be-98b2-4048-a278-0b2ff614ef08" providerId="AD" clId="Web-{047A5BE7-76AA-4358-8A8D-62944FF2E7CE}"/>
    <pc:docChg chg="modSld">
      <pc:chgData name="Kopper, Jordan" userId="S::jordan_kopper@dell.com::b70b14be-98b2-4048-a278-0b2ff614ef08" providerId="AD" clId="Web-{047A5BE7-76AA-4358-8A8D-62944FF2E7CE}" dt="2021-09-17T11:56:21.234" v="28"/>
      <pc:docMkLst>
        <pc:docMk/>
      </pc:docMkLst>
      <pc:sldChg chg="modSp addAnim modAnim">
        <pc:chgData name="Kopper, Jordan" userId="S::jordan_kopper@dell.com::b70b14be-98b2-4048-a278-0b2ff614ef08" providerId="AD" clId="Web-{047A5BE7-76AA-4358-8A8D-62944FF2E7CE}" dt="2021-09-17T11:56:21.234" v="28"/>
        <pc:sldMkLst>
          <pc:docMk/>
          <pc:sldMk cId="3811223707" sldId="288"/>
        </pc:sldMkLst>
        <pc:spChg chg="mod">
          <ac:chgData name="Kopper, Jordan" userId="S::jordan_kopper@dell.com::b70b14be-98b2-4048-a278-0b2ff614ef08" providerId="AD" clId="Web-{047A5BE7-76AA-4358-8A8D-62944FF2E7CE}" dt="2021-09-17T11:56:06.968" v="26" actId="20577"/>
          <ac:spMkLst>
            <pc:docMk/>
            <pc:sldMk cId="3811223707" sldId="288"/>
            <ac:spMk id="102" creationId="{2CDCAFBE-3778-49E7-8C48-E0AD96A70260}"/>
          </ac:spMkLst>
        </pc:spChg>
      </pc:sldChg>
    </pc:docChg>
  </pc:docChgLst>
  <pc:docChgLst>
    <pc:chgData name="Thomas2, Anthony" userId="S::anthony_thomas2@dell.com::e170cca0-fe16-4f20-8d1d-58fb19989c9a" providerId="AD" clId="Web-{827C0AEF-EBDE-4D40-99BC-A1EC88F80572}"/>
    <pc:docChg chg="modSld">
      <pc:chgData name="Thomas2, Anthony" userId="S::anthony_thomas2@dell.com::e170cca0-fe16-4f20-8d1d-58fb19989c9a" providerId="AD" clId="Web-{827C0AEF-EBDE-4D40-99BC-A1EC88F80572}" dt="2021-09-21T13:14:01.335" v="11" actId="20577"/>
      <pc:docMkLst>
        <pc:docMk/>
      </pc:docMkLst>
      <pc:sldChg chg="modSp">
        <pc:chgData name="Thomas2, Anthony" userId="S::anthony_thomas2@dell.com::e170cca0-fe16-4f20-8d1d-58fb19989c9a" providerId="AD" clId="Web-{827C0AEF-EBDE-4D40-99BC-A1EC88F80572}" dt="2021-09-21T13:14:01.335" v="11" actId="20577"/>
        <pc:sldMkLst>
          <pc:docMk/>
          <pc:sldMk cId="4147963851" sldId="287"/>
        </pc:sldMkLst>
        <pc:spChg chg="mod">
          <ac:chgData name="Thomas2, Anthony" userId="S::anthony_thomas2@dell.com::e170cca0-fe16-4f20-8d1d-58fb19989c9a" providerId="AD" clId="Web-{827C0AEF-EBDE-4D40-99BC-A1EC88F80572}" dt="2021-09-21T13:13:58.523" v="8" actId="20577"/>
          <ac:spMkLst>
            <pc:docMk/>
            <pc:sldMk cId="4147963851" sldId="287"/>
            <ac:spMk id="58" creationId="{48221C70-A571-4EE2-B419-3255DCDA07FA}"/>
          </ac:spMkLst>
        </pc:spChg>
        <pc:spChg chg="mod">
          <ac:chgData name="Thomas2, Anthony" userId="S::anthony_thomas2@dell.com::e170cca0-fe16-4f20-8d1d-58fb19989c9a" providerId="AD" clId="Web-{827C0AEF-EBDE-4D40-99BC-A1EC88F80572}" dt="2021-09-21T13:14:01.335" v="11" actId="20577"/>
          <ac:spMkLst>
            <pc:docMk/>
            <pc:sldMk cId="4147963851" sldId="287"/>
            <ac:spMk id="61" creationId="{582E0B8F-EB59-43C8-B8C9-035FF9844C68}"/>
          </ac:spMkLst>
        </pc:spChg>
      </pc:sldChg>
    </pc:docChg>
  </pc:docChgLst>
  <pc:docChgLst>
    <pc:chgData name="Jordan" userId="b70b14be-98b2-4048-a278-0b2ff614ef08" providerId="ADAL" clId="{C306FF50-8479-4715-8969-CDEBA8863634}"/>
    <pc:docChg chg="undo custSel delSld modSld sldOrd">
      <pc:chgData name="Jordan" userId="b70b14be-98b2-4048-a278-0b2ff614ef08" providerId="ADAL" clId="{C306FF50-8479-4715-8969-CDEBA8863634}" dt="2021-09-21T21:12:14.929" v="229" actId="1076"/>
      <pc:docMkLst>
        <pc:docMk/>
      </pc:docMkLst>
      <pc:sldChg chg="del">
        <pc:chgData name="Jordan" userId="b70b14be-98b2-4048-a278-0b2ff614ef08" providerId="ADAL" clId="{C306FF50-8479-4715-8969-CDEBA8863634}" dt="2021-09-21T14:47:48.556" v="28" actId="47"/>
        <pc:sldMkLst>
          <pc:docMk/>
          <pc:sldMk cId="3382610705" sldId="259"/>
        </pc:sldMkLst>
      </pc:sldChg>
      <pc:sldChg chg="addSp delSp modSp mod">
        <pc:chgData name="Jordan" userId="b70b14be-98b2-4048-a278-0b2ff614ef08" providerId="ADAL" clId="{C306FF50-8479-4715-8969-CDEBA8863634}" dt="2021-09-21T14:47:20.973" v="27"/>
        <pc:sldMkLst>
          <pc:docMk/>
          <pc:sldMk cId="3738259123" sldId="272"/>
        </pc:sldMkLst>
        <pc:picChg chg="del">
          <ac:chgData name="Jordan" userId="b70b14be-98b2-4048-a278-0b2ff614ef08" providerId="ADAL" clId="{C306FF50-8479-4715-8969-CDEBA8863634}" dt="2021-09-21T14:47:20.692" v="26" actId="478"/>
          <ac:picMkLst>
            <pc:docMk/>
            <pc:sldMk cId="3738259123" sldId="272"/>
            <ac:picMk id="55" creationId="{D317F4BF-4DF9-4CF6-9C47-8C3C9BD4B819}"/>
          </ac:picMkLst>
        </pc:picChg>
        <pc:picChg chg="add mod">
          <ac:chgData name="Jordan" userId="b70b14be-98b2-4048-a278-0b2ff614ef08" providerId="ADAL" clId="{C306FF50-8479-4715-8969-CDEBA8863634}" dt="2021-09-21T14:47:20.973" v="27"/>
          <ac:picMkLst>
            <pc:docMk/>
            <pc:sldMk cId="3738259123" sldId="272"/>
            <ac:picMk id="56" creationId="{93C031E0-0045-43E4-8C52-D8D00E61B42A}"/>
          </ac:picMkLst>
        </pc:picChg>
      </pc:sldChg>
      <pc:sldChg chg="modSp mod">
        <pc:chgData name="Jordan" userId="b70b14be-98b2-4048-a278-0b2ff614ef08" providerId="ADAL" clId="{C306FF50-8479-4715-8969-CDEBA8863634}" dt="2021-09-21T18:38:05.661" v="29" actId="108"/>
        <pc:sldMkLst>
          <pc:docMk/>
          <pc:sldMk cId="281089481" sldId="279"/>
        </pc:sldMkLst>
        <pc:picChg chg="mod">
          <ac:chgData name="Jordan" userId="b70b14be-98b2-4048-a278-0b2ff614ef08" providerId="ADAL" clId="{C306FF50-8479-4715-8969-CDEBA8863634}" dt="2021-09-21T18:38:05.661" v="29" actId="108"/>
          <ac:picMkLst>
            <pc:docMk/>
            <pc:sldMk cId="281089481" sldId="279"/>
            <ac:picMk id="4" creationId="{A323DFF2-13C3-44E6-A775-F985F8612CCC}"/>
          </ac:picMkLst>
        </pc:picChg>
      </pc:sldChg>
      <pc:sldChg chg="modSp mod">
        <pc:chgData name="Jordan" userId="b70b14be-98b2-4048-a278-0b2ff614ef08" providerId="ADAL" clId="{C306FF50-8479-4715-8969-CDEBA8863634}" dt="2021-09-21T18:38:13.095" v="31" actId="108"/>
        <pc:sldMkLst>
          <pc:docMk/>
          <pc:sldMk cId="3819679626" sldId="280"/>
        </pc:sldMkLst>
        <pc:picChg chg="mod">
          <ac:chgData name="Jordan" userId="b70b14be-98b2-4048-a278-0b2ff614ef08" providerId="ADAL" clId="{C306FF50-8479-4715-8969-CDEBA8863634}" dt="2021-09-21T18:38:13.095" v="31" actId="108"/>
          <ac:picMkLst>
            <pc:docMk/>
            <pc:sldMk cId="3819679626" sldId="280"/>
            <ac:picMk id="4" creationId="{765610C5-5897-4560-9384-BBCD45ACD91F}"/>
          </ac:picMkLst>
        </pc:picChg>
      </pc:sldChg>
      <pc:sldChg chg="modSp mod">
        <pc:chgData name="Jordan" userId="b70b14be-98b2-4048-a278-0b2ff614ef08" providerId="ADAL" clId="{C306FF50-8479-4715-8969-CDEBA8863634}" dt="2021-09-21T18:38:37.859" v="44" actId="1035"/>
        <pc:sldMkLst>
          <pc:docMk/>
          <pc:sldMk cId="1773710872" sldId="281"/>
        </pc:sldMkLst>
        <pc:spChg chg="mod">
          <ac:chgData name="Jordan" userId="b70b14be-98b2-4048-a278-0b2ff614ef08" providerId="ADAL" clId="{C306FF50-8479-4715-8969-CDEBA8863634}" dt="2021-09-21T18:38:24.803" v="34" actId="108"/>
          <ac:spMkLst>
            <pc:docMk/>
            <pc:sldMk cId="1773710872" sldId="281"/>
            <ac:spMk id="2" creationId="{837EB5BE-E15E-4BB7-9DF9-57CAF803CCF0}"/>
          </ac:spMkLst>
        </pc:spChg>
        <pc:picChg chg="mod">
          <ac:chgData name="Jordan" userId="b70b14be-98b2-4048-a278-0b2ff614ef08" providerId="ADAL" clId="{C306FF50-8479-4715-8969-CDEBA8863634}" dt="2021-09-21T18:38:37.859" v="44" actId="1035"/>
          <ac:picMkLst>
            <pc:docMk/>
            <pc:sldMk cId="1773710872" sldId="281"/>
            <ac:picMk id="3" creationId="{8B8C05B4-62D1-461D-8BD8-F80FB96F52CB}"/>
          </ac:picMkLst>
        </pc:picChg>
        <pc:picChg chg="mod">
          <ac:chgData name="Jordan" userId="b70b14be-98b2-4048-a278-0b2ff614ef08" providerId="ADAL" clId="{C306FF50-8479-4715-8969-CDEBA8863634}" dt="2021-09-21T18:38:20.252" v="32" actId="108"/>
          <ac:picMkLst>
            <pc:docMk/>
            <pc:sldMk cId="1773710872" sldId="281"/>
            <ac:picMk id="5" creationId="{7D5F82AE-8B79-481C-B766-223452A31D0E}"/>
          </ac:picMkLst>
        </pc:picChg>
      </pc:sldChg>
      <pc:sldChg chg="delSp modSp mod">
        <pc:chgData name="Jordan" userId="b70b14be-98b2-4048-a278-0b2ff614ef08" providerId="ADAL" clId="{C306FF50-8479-4715-8969-CDEBA8863634}" dt="2021-09-21T14:37:37.171" v="23" actId="478"/>
        <pc:sldMkLst>
          <pc:docMk/>
          <pc:sldMk cId="4147963851" sldId="287"/>
        </pc:sldMkLst>
        <pc:spChg chg="mod">
          <ac:chgData name="Jordan" userId="b70b14be-98b2-4048-a278-0b2ff614ef08" providerId="ADAL" clId="{C306FF50-8479-4715-8969-CDEBA8863634}" dt="2021-09-21T14:37:24.766" v="19" actId="1076"/>
          <ac:spMkLst>
            <pc:docMk/>
            <pc:sldMk cId="4147963851" sldId="287"/>
            <ac:spMk id="42" creationId="{05725F0B-4685-4DA5-84CB-30A24F702C42}"/>
          </ac:spMkLst>
        </pc:spChg>
        <pc:spChg chg="mod">
          <ac:chgData name="Jordan" userId="b70b14be-98b2-4048-a278-0b2ff614ef08" providerId="ADAL" clId="{C306FF50-8479-4715-8969-CDEBA8863634}" dt="2021-09-21T14:37:31.062" v="20" actId="1076"/>
          <ac:spMkLst>
            <pc:docMk/>
            <pc:sldMk cId="4147963851" sldId="287"/>
            <ac:spMk id="44" creationId="{80AA1634-4F7D-4A70-A767-79C2E1D40D7A}"/>
          </ac:spMkLst>
        </pc:spChg>
        <pc:spChg chg="mod topLvl">
          <ac:chgData name="Jordan" userId="b70b14be-98b2-4048-a278-0b2ff614ef08" providerId="ADAL" clId="{C306FF50-8479-4715-8969-CDEBA8863634}" dt="2021-09-21T14:37:04.542" v="14" actId="1076"/>
          <ac:spMkLst>
            <pc:docMk/>
            <pc:sldMk cId="4147963851" sldId="287"/>
            <ac:spMk id="55" creationId="{3A6CCD32-996B-430B-96DE-486B5340F640}"/>
          </ac:spMkLst>
        </pc:spChg>
        <pc:spChg chg="del topLvl">
          <ac:chgData name="Jordan" userId="b70b14be-98b2-4048-a278-0b2ff614ef08" providerId="ADAL" clId="{C306FF50-8479-4715-8969-CDEBA8863634}" dt="2021-09-21T14:36:47.574" v="8" actId="478"/>
          <ac:spMkLst>
            <pc:docMk/>
            <pc:sldMk cId="4147963851" sldId="287"/>
            <ac:spMk id="56" creationId="{CC6E341E-7BC2-426F-8711-8B2C91B30BD4}"/>
          </ac:spMkLst>
        </pc:spChg>
        <pc:spChg chg="mod topLvl">
          <ac:chgData name="Jordan" userId="b70b14be-98b2-4048-a278-0b2ff614ef08" providerId="ADAL" clId="{C306FF50-8479-4715-8969-CDEBA8863634}" dt="2021-09-21T14:37:24.766" v="19" actId="1076"/>
          <ac:spMkLst>
            <pc:docMk/>
            <pc:sldMk cId="4147963851" sldId="287"/>
            <ac:spMk id="58" creationId="{48221C70-A571-4EE2-B419-3255DCDA07FA}"/>
          </ac:spMkLst>
        </pc:spChg>
        <pc:spChg chg="del topLvl">
          <ac:chgData name="Jordan" userId="b70b14be-98b2-4048-a278-0b2ff614ef08" providerId="ADAL" clId="{C306FF50-8479-4715-8969-CDEBA8863634}" dt="2021-09-21T14:36:36.993" v="6" actId="478"/>
          <ac:spMkLst>
            <pc:docMk/>
            <pc:sldMk cId="4147963851" sldId="287"/>
            <ac:spMk id="59" creationId="{7DA31DE9-279B-4BFE-9455-62239FB20CEA}"/>
          </ac:spMkLst>
        </pc:spChg>
        <pc:spChg chg="mod topLvl">
          <ac:chgData name="Jordan" userId="b70b14be-98b2-4048-a278-0b2ff614ef08" providerId="ADAL" clId="{C306FF50-8479-4715-8969-CDEBA8863634}" dt="2021-09-21T14:37:31.062" v="20" actId="1076"/>
          <ac:spMkLst>
            <pc:docMk/>
            <pc:sldMk cId="4147963851" sldId="287"/>
            <ac:spMk id="61" creationId="{582E0B8F-EB59-43C8-B8C9-035FF9844C68}"/>
          </ac:spMkLst>
        </pc:spChg>
        <pc:spChg chg="del topLvl">
          <ac:chgData name="Jordan" userId="b70b14be-98b2-4048-a278-0b2ff614ef08" providerId="ADAL" clId="{C306FF50-8479-4715-8969-CDEBA8863634}" dt="2021-09-21T14:36:31.001" v="4" actId="478"/>
          <ac:spMkLst>
            <pc:docMk/>
            <pc:sldMk cId="4147963851" sldId="287"/>
            <ac:spMk id="62" creationId="{822F99EB-F389-4D13-B141-1ACA54E4C94D}"/>
          </ac:spMkLst>
        </pc:spChg>
        <pc:spChg chg="del mod">
          <ac:chgData name="Jordan" userId="b70b14be-98b2-4048-a278-0b2ff614ef08" providerId="ADAL" clId="{C306FF50-8479-4715-8969-CDEBA8863634}" dt="2021-09-21T14:37:36.126" v="22" actId="478"/>
          <ac:spMkLst>
            <pc:docMk/>
            <pc:sldMk cId="4147963851" sldId="287"/>
            <ac:spMk id="89" creationId="{693A950A-486B-466C-B47C-7D435501198A}"/>
          </ac:spMkLst>
        </pc:spChg>
        <pc:spChg chg="del mod">
          <ac:chgData name="Jordan" userId="b70b14be-98b2-4048-a278-0b2ff614ef08" providerId="ADAL" clId="{C306FF50-8479-4715-8969-CDEBA8863634}" dt="2021-09-21T14:37:37.171" v="23" actId="478"/>
          <ac:spMkLst>
            <pc:docMk/>
            <pc:sldMk cId="4147963851" sldId="287"/>
            <ac:spMk id="90" creationId="{900020FD-385D-49CE-BA9B-DA630F80C4D1}"/>
          </ac:spMkLst>
        </pc:spChg>
        <pc:grpChg chg="del">
          <ac:chgData name="Jordan" userId="b70b14be-98b2-4048-a278-0b2ff614ef08" providerId="ADAL" clId="{C306FF50-8479-4715-8969-CDEBA8863634}" dt="2021-09-21T14:36:47.574" v="8" actId="478"/>
          <ac:grpSpMkLst>
            <pc:docMk/>
            <pc:sldMk cId="4147963851" sldId="287"/>
            <ac:grpSpMk id="54" creationId="{1F3D4CA7-7925-4A59-B48D-285F8BA7B493}"/>
          </ac:grpSpMkLst>
        </pc:grpChg>
        <pc:grpChg chg="del">
          <ac:chgData name="Jordan" userId="b70b14be-98b2-4048-a278-0b2ff614ef08" providerId="ADAL" clId="{C306FF50-8479-4715-8969-CDEBA8863634}" dt="2021-09-21T14:36:36.993" v="6" actId="478"/>
          <ac:grpSpMkLst>
            <pc:docMk/>
            <pc:sldMk cId="4147963851" sldId="287"/>
            <ac:grpSpMk id="57" creationId="{44DD80B8-EA31-48DD-96AA-F2B51FB5A210}"/>
          </ac:grpSpMkLst>
        </pc:grpChg>
        <pc:grpChg chg="del">
          <ac:chgData name="Jordan" userId="b70b14be-98b2-4048-a278-0b2ff614ef08" providerId="ADAL" clId="{C306FF50-8479-4715-8969-CDEBA8863634}" dt="2021-09-21T14:36:31.001" v="4" actId="478"/>
          <ac:grpSpMkLst>
            <pc:docMk/>
            <pc:sldMk cId="4147963851" sldId="287"/>
            <ac:grpSpMk id="60" creationId="{71D0C9C6-BB4E-48D8-8320-80AEA26581DD}"/>
          </ac:grpSpMkLst>
        </pc:grpChg>
        <pc:grpChg chg="del">
          <ac:chgData name="Jordan" userId="b70b14be-98b2-4048-a278-0b2ff614ef08" providerId="ADAL" clId="{C306FF50-8479-4715-8969-CDEBA8863634}" dt="2021-09-21T14:37:34.709" v="21" actId="478"/>
          <ac:grpSpMkLst>
            <pc:docMk/>
            <pc:sldMk cId="4147963851" sldId="287"/>
            <ac:grpSpMk id="83" creationId="{0E3229AF-A5AF-4320-8775-B4D0243C5D0B}"/>
          </ac:grpSpMkLst>
        </pc:grpChg>
      </pc:sldChg>
      <pc:sldChg chg="delSp mod modAnim">
        <pc:chgData name="Jordan" userId="b70b14be-98b2-4048-a278-0b2ff614ef08" providerId="ADAL" clId="{C306FF50-8479-4715-8969-CDEBA8863634}" dt="2021-09-21T21:11:28.321" v="224" actId="21"/>
        <pc:sldMkLst>
          <pc:docMk/>
          <pc:sldMk cId="3811223707" sldId="288"/>
        </pc:sldMkLst>
        <pc:spChg chg="del">
          <ac:chgData name="Jordan" userId="b70b14be-98b2-4048-a278-0b2ff614ef08" providerId="ADAL" clId="{C306FF50-8479-4715-8969-CDEBA8863634}" dt="2021-09-21T21:11:28.321" v="224" actId="21"/>
          <ac:spMkLst>
            <pc:docMk/>
            <pc:sldMk cId="3811223707" sldId="288"/>
            <ac:spMk id="102" creationId="{2CDCAFBE-3778-49E7-8C48-E0AD96A70260}"/>
          </ac:spMkLst>
        </pc:spChg>
      </pc:sldChg>
      <pc:sldChg chg="modAnim">
        <pc:chgData name="Jordan" userId="b70b14be-98b2-4048-a278-0b2ff614ef08" providerId="ADAL" clId="{C306FF50-8479-4715-8969-CDEBA8863634}" dt="2021-09-21T14:33:53.371" v="0"/>
        <pc:sldMkLst>
          <pc:docMk/>
          <pc:sldMk cId="1421285614" sldId="304"/>
        </pc:sldMkLst>
      </pc:sldChg>
      <pc:sldChg chg="ord">
        <pc:chgData name="Jordan" userId="b70b14be-98b2-4048-a278-0b2ff614ef08" providerId="ADAL" clId="{C306FF50-8479-4715-8969-CDEBA8863634}" dt="2021-09-21T14:34:47.987" v="2"/>
        <pc:sldMkLst>
          <pc:docMk/>
          <pc:sldMk cId="19097214" sldId="310"/>
        </pc:sldMkLst>
      </pc:sldChg>
      <pc:sldChg chg="addSp delSp modSp mod delAnim modAnim">
        <pc:chgData name="Jordan" userId="b70b14be-98b2-4048-a278-0b2ff614ef08" providerId="ADAL" clId="{C306FF50-8479-4715-8969-CDEBA8863634}" dt="2021-09-21T21:12:14.929" v="229" actId="1076"/>
        <pc:sldMkLst>
          <pc:docMk/>
          <pc:sldMk cId="1621564224" sldId="314"/>
        </pc:sldMkLst>
        <pc:spChg chg="add mod">
          <ac:chgData name="Jordan" userId="b70b14be-98b2-4048-a278-0b2ff614ef08" providerId="ADAL" clId="{C306FF50-8479-4715-8969-CDEBA8863634}" dt="2021-09-21T20:57:37.189" v="203" actId="1076"/>
          <ac:spMkLst>
            <pc:docMk/>
            <pc:sldMk cId="1621564224" sldId="314"/>
            <ac:spMk id="3" creationId="{0B7CF994-BEA8-4F7F-B9E8-5D536B9606C3}"/>
          </ac:spMkLst>
        </pc:spChg>
        <pc:spChg chg="mod">
          <ac:chgData name="Jordan" userId="b70b14be-98b2-4048-a278-0b2ff614ef08" providerId="ADAL" clId="{C306FF50-8479-4715-8969-CDEBA8863634}" dt="2021-09-21T20:42:53.152" v="97" actId="14100"/>
          <ac:spMkLst>
            <pc:docMk/>
            <pc:sldMk cId="1621564224" sldId="314"/>
            <ac:spMk id="15" creationId="{8D418F3F-24C0-4443-AB3B-6B97C8583F81}"/>
          </ac:spMkLst>
        </pc:spChg>
        <pc:spChg chg="mod">
          <ac:chgData name="Jordan" userId="b70b14be-98b2-4048-a278-0b2ff614ef08" providerId="ADAL" clId="{C306FF50-8479-4715-8969-CDEBA8863634}" dt="2021-09-21T20:43:04.919" v="100" actId="14100"/>
          <ac:spMkLst>
            <pc:docMk/>
            <pc:sldMk cId="1621564224" sldId="314"/>
            <ac:spMk id="18" creationId="{F5E420C8-CA50-452B-9325-4E98F8819367}"/>
          </ac:spMkLst>
        </pc:spChg>
        <pc:spChg chg="mod">
          <ac:chgData name="Jordan" userId="b70b14be-98b2-4048-a278-0b2ff614ef08" providerId="ADAL" clId="{C306FF50-8479-4715-8969-CDEBA8863634}" dt="2021-09-21T20:43:15.496" v="104" actId="14100"/>
          <ac:spMkLst>
            <pc:docMk/>
            <pc:sldMk cId="1621564224" sldId="314"/>
            <ac:spMk id="22" creationId="{3712EF34-BAE0-4BFD-B359-7AFFB9AE74D6}"/>
          </ac:spMkLst>
        </pc:spChg>
        <pc:spChg chg="mod">
          <ac:chgData name="Jordan" userId="b70b14be-98b2-4048-a278-0b2ff614ef08" providerId="ADAL" clId="{C306FF50-8479-4715-8969-CDEBA8863634}" dt="2021-09-21T20:43:25.440" v="107" actId="14100"/>
          <ac:spMkLst>
            <pc:docMk/>
            <pc:sldMk cId="1621564224" sldId="314"/>
            <ac:spMk id="23" creationId="{4AC5DD38-93A6-425C-A659-C6B058C0DCAB}"/>
          </ac:spMkLst>
        </pc:spChg>
        <pc:spChg chg="del">
          <ac:chgData name="Jordan" userId="b70b14be-98b2-4048-a278-0b2ff614ef08" providerId="ADAL" clId="{C306FF50-8479-4715-8969-CDEBA8863634}" dt="2021-09-21T20:42:25.100" v="88" actId="478"/>
          <ac:spMkLst>
            <pc:docMk/>
            <pc:sldMk cId="1621564224" sldId="314"/>
            <ac:spMk id="24" creationId="{917C0F9D-4C2D-40D6-A0BA-C70922208950}"/>
          </ac:spMkLst>
        </pc:spChg>
        <pc:spChg chg="mod">
          <ac:chgData name="Jordan" userId="b70b14be-98b2-4048-a278-0b2ff614ef08" providerId="ADAL" clId="{C306FF50-8479-4715-8969-CDEBA8863634}" dt="2021-09-21T20:42:42.603" v="94" actId="1037"/>
          <ac:spMkLst>
            <pc:docMk/>
            <pc:sldMk cId="1621564224" sldId="314"/>
            <ac:spMk id="25" creationId="{3B3993FF-8C04-43B4-83E2-E95353EE1DBD}"/>
          </ac:spMkLst>
        </pc:spChg>
        <pc:spChg chg="add mod">
          <ac:chgData name="Jordan" userId="b70b14be-98b2-4048-a278-0b2ff614ef08" providerId="ADAL" clId="{C306FF50-8479-4715-8969-CDEBA8863634}" dt="2021-09-21T20:57:48.662" v="204" actId="1076"/>
          <ac:spMkLst>
            <pc:docMk/>
            <pc:sldMk cId="1621564224" sldId="314"/>
            <ac:spMk id="26" creationId="{621E4F60-7B57-4799-834B-EAF995331D76}"/>
          </ac:spMkLst>
        </pc:spChg>
        <pc:spChg chg="add del mod">
          <ac:chgData name="Jordan" userId="b70b14be-98b2-4048-a278-0b2ff614ef08" providerId="ADAL" clId="{C306FF50-8479-4715-8969-CDEBA8863634}" dt="2021-09-21T20:46:49.504" v="155" actId="478"/>
          <ac:spMkLst>
            <pc:docMk/>
            <pc:sldMk cId="1621564224" sldId="314"/>
            <ac:spMk id="28" creationId="{BA4C353D-2F51-4ECB-9817-8D8E501EF6D2}"/>
          </ac:spMkLst>
        </pc:spChg>
        <pc:spChg chg="mod">
          <ac:chgData name="Jordan" userId="b70b14be-98b2-4048-a278-0b2ff614ef08" providerId="ADAL" clId="{C306FF50-8479-4715-8969-CDEBA8863634}" dt="2021-09-21T20:55:22.283" v="172" actId="1076"/>
          <ac:spMkLst>
            <pc:docMk/>
            <pc:sldMk cId="1621564224" sldId="314"/>
            <ac:spMk id="29" creationId="{5856DDE5-6677-4240-9E9D-48136144F18C}"/>
          </ac:spMkLst>
        </pc:spChg>
        <pc:spChg chg="mod">
          <ac:chgData name="Jordan" userId="b70b14be-98b2-4048-a278-0b2ff614ef08" providerId="ADAL" clId="{C306FF50-8479-4715-8969-CDEBA8863634}" dt="2021-09-21T20:55:22.283" v="172" actId="1076"/>
          <ac:spMkLst>
            <pc:docMk/>
            <pc:sldMk cId="1621564224" sldId="314"/>
            <ac:spMk id="31" creationId="{2ACD1C9D-E1E5-406A-B0DE-892B04AA2DC6}"/>
          </ac:spMkLst>
        </pc:spChg>
        <pc:spChg chg="mod">
          <ac:chgData name="Jordan" userId="b70b14be-98b2-4048-a278-0b2ff614ef08" providerId="ADAL" clId="{C306FF50-8479-4715-8969-CDEBA8863634}" dt="2021-09-21T20:55:22.283" v="172" actId="1076"/>
          <ac:spMkLst>
            <pc:docMk/>
            <pc:sldMk cId="1621564224" sldId="314"/>
            <ac:spMk id="33" creationId="{A7BA0AC6-956A-4369-A1F9-43EEE2F73AE5}"/>
          </ac:spMkLst>
        </pc:spChg>
        <pc:spChg chg="add del mod">
          <ac:chgData name="Jordan" userId="b70b14be-98b2-4048-a278-0b2ff614ef08" providerId="ADAL" clId="{C306FF50-8479-4715-8969-CDEBA8863634}" dt="2021-09-21T20:56:51.417" v="191"/>
          <ac:spMkLst>
            <pc:docMk/>
            <pc:sldMk cId="1621564224" sldId="314"/>
            <ac:spMk id="38" creationId="{E9F9A773-ED1C-4F7B-BFA1-3B43326CFBCE}"/>
          </ac:spMkLst>
        </pc:spChg>
        <pc:spChg chg="add mod">
          <ac:chgData name="Jordan" userId="b70b14be-98b2-4048-a278-0b2ff614ef08" providerId="ADAL" clId="{C306FF50-8479-4715-8969-CDEBA8863634}" dt="2021-09-21T21:12:14.929" v="229" actId="1076"/>
          <ac:spMkLst>
            <pc:docMk/>
            <pc:sldMk cId="1621564224" sldId="314"/>
            <ac:spMk id="40" creationId="{A0F497C9-5CED-4F83-AA8D-B5A8478837B7}"/>
          </ac:spMkLst>
        </pc:spChg>
        <pc:picChg chg="mod modCrop">
          <ac:chgData name="Jordan" userId="b70b14be-98b2-4048-a278-0b2ff614ef08" providerId="ADAL" clId="{C306FF50-8479-4715-8969-CDEBA8863634}" dt="2021-09-21T20:59:00.494" v="205" actId="732"/>
          <ac:picMkLst>
            <pc:docMk/>
            <pc:sldMk cId="1621564224" sldId="314"/>
            <ac:picMk id="11" creationId="{4A6B2D85-12A4-4DF9-A7BF-07D54B4E83EB}"/>
          </ac:picMkLst>
        </pc:picChg>
        <pc:picChg chg="add mod ord modCrop">
          <ac:chgData name="Jordan" userId="b70b14be-98b2-4048-a278-0b2ff614ef08" providerId="ADAL" clId="{C306FF50-8479-4715-8969-CDEBA8863634}" dt="2021-09-21T20:59:31.469" v="214" actId="1076"/>
          <ac:picMkLst>
            <pc:docMk/>
            <pc:sldMk cId="1621564224" sldId="314"/>
            <ac:picMk id="39" creationId="{986EDB0F-6E61-41BD-8923-4B9678B06057}"/>
          </ac:picMkLst>
        </pc:picChg>
        <pc:cxnChg chg="add del mod">
          <ac:chgData name="Jordan" userId="b70b14be-98b2-4048-a278-0b2ff614ef08" providerId="ADAL" clId="{C306FF50-8479-4715-8969-CDEBA8863634}" dt="2021-09-21T21:04:04.384" v="223" actId="478"/>
          <ac:cxnSpMkLst>
            <pc:docMk/>
            <pc:sldMk cId="1621564224" sldId="314"/>
            <ac:cxnSpMk id="6" creationId="{CAEA819C-3952-4D2C-8760-B0C14C7903C1}"/>
          </ac:cxnSpMkLst>
        </pc:cxnChg>
        <pc:cxnChg chg="mod">
          <ac:chgData name="Jordan" userId="b70b14be-98b2-4048-a278-0b2ff614ef08" providerId="ADAL" clId="{C306FF50-8479-4715-8969-CDEBA8863634}" dt="2021-09-21T20:42:28.079" v="89" actId="1076"/>
          <ac:cxnSpMkLst>
            <pc:docMk/>
            <pc:sldMk cId="1621564224" sldId="314"/>
            <ac:cxnSpMk id="20" creationId="{4E208697-2616-4189-BCD4-A1576CA6EFF0}"/>
          </ac:cxnSpMkLst>
        </pc:cxnChg>
        <pc:cxnChg chg="mod">
          <ac:chgData name="Jordan" userId="b70b14be-98b2-4048-a278-0b2ff614ef08" providerId="ADAL" clId="{C306FF50-8479-4715-8969-CDEBA8863634}" dt="2021-09-21T20:55:22.283" v="172" actId="1076"/>
          <ac:cxnSpMkLst>
            <pc:docMk/>
            <pc:sldMk cId="1621564224" sldId="314"/>
            <ac:cxnSpMk id="27" creationId="{08FCC9BC-D41A-45F1-870E-BBA7E5AA1554}"/>
          </ac:cxnSpMkLst>
        </pc:cxnChg>
        <pc:cxnChg chg="mod">
          <ac:chgData name="Jordan" userId="b70b14be-98b2-4048-a278-0b2ff614ef08" providerId="ADAL" clId="{C306FF50-8479-4715-8969-CDEBA8863634}" dt="2021-09-21T20:55:22.283" v="172" actId="1076"/>
          <ac:cxnSpMkLst>
            <pc:docMk/>
            <pc:sldMk cId="1621564224" sldId="314"/>
            <ac:cxnSpMk id="30" creationId="{B6387F69-237A-47BF-BD06-F3D4FB0AB2B7}"/>
          </ac:cxnSpMkLst>
        </pc:cxnChg>
        <pc:cxnChg chg="mod">
          <ac:chgData name="Jordan" userId="b70b14be-98b2-4048-a278-0b2ff614ef08" providerId="ADAL" clId="{C306FF50-8479-4715-8969-CDEBA8863634}" dt="2021-09-21T20:55:22.283" v="172" actId="1076"/>
          <ac:cxnSpMkLst>
            <pc:docMk/>
            <pc:sldMk cId="1621564224" sldId="314"/>
            <ac:cxnSpMk id="32" creationId="{EA68D72D-47FA-4C24-82C5-16C69D41DC39}"/>
          </ac:cxnSpMkLst>
        </pc:cxnChg>
      </pc:sldChg>
    </pc:docChg>
  </pc:docChgLst>
  <pc:docChgLst>
    <pc:chgData name="Kopper, Jordan" userId="b70b14be-98b2-4048-a278-0b2ff614ef08" providerId="ADAL" clId="{C306FF50-8479-4715-8969-CDEBA8863634}"/>
    <pc:docChg chg="undo redo custSel addSld delSld modSld sldOrd">
      <pc:chgData name="Kopper, Jordan" userId="b70b14be-98b2-4048-a278-0b2ff614ef08" providerId="ADAL" clId="{C306FF50-8479-4715-8969-CDEBA8863634}" dt="2021-09-23T14:14:02.143" v="9330" actId="20577"/>
      <pc:docMkLst>
        <pc:docMk/>
      </pc:docMkLst>
      <pc:sldChg chg="addSp delSp modSp mod modAnim">
        <pc:chgData name="Kopper, Jordan" userId="b70b14be-98b2-4048-a278-0b2ff614ef08" providerId="ADAL" clId="{C306FF50-8479-4715-8969-CDEBA8863634}" dt="2021-09-17T04:44:02.393" v="8909" actId="207"/>
        <pc:sldMkLst>
          <pc:docMk/>
          <pc:sldMk cId="2235950224" sldId="256"/>
        </pc:sldMkLst>
        <pc:spChg chg="add mod">
          <ac:chgData name="Kopper, Jordan" userId="b70b14be-98b2-4048-a278-0b2ff614ef08" providerId="ADAL" clId="{C306FF50-8479-4715-8969-CDEBA8863634}" dt="2021-09-11T12:21:40.539" v="379" actId="164"/>
          <ac:spMkLst>
            <pc:docMk/>
            <pc:sldMk cId="2235950224" sldId="256"/>
            <ac:spMk id="224" creationId="{4A903CAA-84C9-46E1-98D5-D437105AE405}"/>
          </ac:spMkLst>
        </pc:spChg>
        <pc:spChg chg="add del mod">
          <ac:chgData name="Kopper, Jordan" userId="b70b14be-98b2-4048-a278-0b2ff614ef08" providerId="ADAL" clId="{C306FF50-8479-4715-8969-CDEBA8863634}" dt="2021-09-11T12:21:33.909" v="378" actId="164"/>
          <ac:spMkLst>
            <pc:docMk/>
            <pc:sldMk cId="2235950224" sldId="256"/>
            <ac:spMk id="225" creationId="{73DADF9F-C4EC-45A0-A27F-552FBFEA50E8}"/>
          </ac:spMkLst>
        </pc:spChg>
        <pc:spChg chg="add mod">
          <ac:chgData name="Kopper, Jordan" userId="b70b14be-98b2-4048-a278-0b2ff614ef08" providerId="ADAL" clId="{C306FF50-8479-4715-8969-CDEBA8863634}" dt="2021-09-11T12:21:30.607" v="377" actId="164"/>
          <ac:spMkLst>
            <pc:docMk/>
            <pc:sldMk cId="2235950224" sldId="256"/>
            <ac:spMk id="226" creationId="{C3E68EDF-2F4D-4CF2-BE04-AB4B358DCFDC}"/>
          </ac:spMkLst>
        </pc:spChg>
        <pc:spChg chg="add mod">
          <ac:chgData name="Kopper, Jordan" userId="b70b14be-98b2-4048-a278-0b2ff614ef08" providerId="ADAL" clId="{C306FF50-8479-4715-8969-CDEBA8863634}" dt="2021-09-11T12:21:27.532" v="376" actId="164"/>
          <ac:spMkLst>
            <pc:docMk/>
            <pc:sldMk cId="2235950224" sldId="256"/>
            <ac:spMk id="227" creationId="{3E25E05E-5360-47EA-AE80-9A21777B20CB}"/>
          </ac:spMkLst>
        </pc:spChg>
        <pc:spChg chg="add mod">
          <ac:chgData name="Kopper, Jordan" userId="b70b14be-98b2-4048-a278-0b2ff614ef08" providerId="ADAL" clId="{C306FF50-8479-4715-8969-CDEBA8863634}" dt="2021-09-11T12:21:23.852" v="375" actId="164"/>
          <ac:spMkLst>
            <pc:docMk/>
            <pc:sldMk cId="2235950224" sldId="256"/>
            <ac:spMk id="228" creationId="{DF23420D-9071-4395-B6F3-C8188D133E88}"/>
          </ac:spMkLst>
        </pc:spChg>
        <pc:spChg chg="add mod">
          <ac:chgData name="Kopper, Jordan" userId="b70b14be-98b2-4048-a278-0b2ff614ef08" providerId="ADAL" clId="{C306FF50-8479-4715-8969-CDEBA8863634}" dt="2021-09-11T12:21:53.114" v="381" actId="571"/>
          <ac:spMkLst>
            <pc:docMk/>
            <pc:sldMk cId="2235950224" sldId="256"/>
            <ac:spMk id="234" creationId="{7CEEA3C2-EB5B-4596-A332-C395E929D7A7}"/>
          </ac:spMkLst>
        </pc:spChg>
        <pc:spChg chg="ord">
          <ac:chgData name="Kopper, Jordan" userId="b70b14be-98b2-4048-a278-0b2ff614ef08" providerId="ADAL" clId="{C306FF50-8479-4715-8969-CDEBA8863634}" dt="2021-09-11T13:36:21.634" v="1981" actId="167"/>
          <ac:spMkLst>
            <pc:docMk/>
            <pc:sldMk cId="2235950224" sldId="256"/>
            <ac:spMk id="553" creationId="{E39FF8C9-88A5-4449-ABD8-968B7C7916A1}"/>
          </ac:spMkLst>
        </pc:spChg>
        <pc:spChg chg="mod">
          <ac:chgData name="Kopper, Jordan" userId="b70b14be-98b2-4048-a278-0b2ff614ef08" providerId="ADAL" clId="{C306FF50-8479-4715-8969-CDEBA8863634}" dt="2021-09-17T04:44:02.393" v="8909" actId="207"/>
          <ac:spMkLst>
            <pc:docMk/>
            <pc:sldMk cId="2235950224" sldId="256"/>
            <ac:spMk id="570" creationId="{FE248338-9B86-4C4E-9AC0-173B433446CD}"/>
          </ac:spMkLst>
        </pc:spChg>
        <pc:spChg chg="del mod">
          <ac:chgData name="Kopper, Jordan" userId="b70b14be-98b2-4048-a278-0b2ff614ef08" providerId="ADAL" clId="{C306FF50-8479-4715-8969-CDEBA8863634}" dt="2021-09-11T12:14:49.668" v="163" actId="478"/>
          <ac:spMkLst>
            <pc:docMk/>
            <pc:sldMk cId="2235950224" sldId="256"/>
            <ac:spMk id="768" creationId="{EAE291D3-177F-4094-9C33-650F7D8BDB45}"/>
          </ac:spMkLst>
        </pc:spChg>
        <pc:spChg chg="del mod">
          <ac:chgData name="Kopper, Jordan" userId="b70b14be-98b2-4048-a278-0b2ff614ef08" providerId="ADAL" clId="{C306FF50-8479-4715-8969-CDEBA8863634}" dt="2021-09-11T12:13:28.772" v="138" actId="478"/>
          <ac:spMkLst>
            <pc:docMk/>
            <pc:sldMk cId="2235950224" sldId="256"/>
            <ac:spMk id="769" creationId="{D5B19033-C546-49D2-BD3C-97D7E317A41B}"/>
          </ac:spMkLst>
        </pc:spChg>
        <pc:spChg chg="del mod">
          <ac:chgData name="Kopper, Jordan" userId="b70b14be-98b2-4048-a278-0b2ff614ef08" providerId="ADAL" clId="{C306FF50-8479-4715-8969-CDEBA8863634}" dt="2021-09-11T12:14:49.668" v="163" actId="478"/>
          <ac:spMkLst>
            <pc:docMk/>
            <pc:sldMk cId="2235950224" sldId="256"/>
            <ac:spMk id="772" creationId="{2ED2AB66-5CEB-493B-B098-A2841CE4FFCF}"/>
          </ac:spMkLst>
        </pc:spChg>
        <pc:spChg chg="del mod">
          <ac:chgData name="Kopper, Jordan" userId="b70b14be-98b2-4048-a278-0b2ff614ef08" providerId="ADAL" clId="{C306FF50-8479-4715-8969-CDEBA8863634}" dt="2021-09-11T12:14:49.668" v="163" actId="478"/>
          <ac:spMkLst>
            <pc:docMk/>
            <pc:sldMk cId="2235950224" sldId="256"/>
            <ac:spMk id="773" creationId="{E0A7AA07-26DC-457E-83E2-61C0954FB6B6}"/>
          </ac:spMkLst>
        </pc:spChg>
        <pc:spChg chg="del">
          <ac:chgData name="Kopper, Jordan" userId="b70b14be-98b2-4048-a278-0b2ff614ef08" providerId="ADAL" clId="{C306FF50-8479-4715-8969-CDEBA8863634}" dt="2021-09-11T12:12:16.328" v="121" actId="478"/>
          <ac:spMkLst>
            <pc:docMk/>
            <pc:sldMk cId="2235950224" sldId="256"/>
            <ac:spMk id="774" creationId="{52DBEFD8-6ACB-4666-9357-38FFE2951CF3}"/>
          </ac:spMkLst>
        </pc:spChg>
        <pc:spChg chg="mod">
          <ac:chgData name="Kopper, Jordan" userId="b70b14be-98b2-4048-a278-0b2ff614ef08" providerId="ADAL" clId="{C306FF50-8479-4715-8969-CDEBA8863634}" dt="2021-09-11T13:36:07.140" v="1980" actId="207"/>
          <ac:spMkLst>
            <pc:docMk/>
            <pc:sldMk cId="2235950224" sldId="256"/>
            <ac:spMk id="1195" creationId="{62B7CDE1-0902-4C61-B4DE-97766E505AD5}"/>
          </ac:spMkLst>
        </pc:spChg>
        <pc:spChg chg="mod">
          <ac:chgData name="Kopper, Jordan" userId="b70b14be-98b2-4048-a278-0b2ff614ef08" providerId="ADAL" clId="{C306FF50-8479-4715-8969-CDEBA8863634}" dt="2021-09-11T12:10:20.812" v="62"/>
          <ac:spMkLst>
            <pc:docMk/>
            <pc:sldMk cId="2235950224" sldId="256"/>
            <ac:spMk id="1529" creationId="{2B43CBED-9160-44E4-9861-C3422E375C7D}"/>
          </ac:spMkLst>
        </pc:spChg>
        <pc:grpChg chg="add mod">
          <ac:chgData name="Kopper, Jordan" userId="b70b14be-98b2-4048-a278-0b2ff614ef08" providerId="ADAL" clId="{C306FF50-8479-4715-8969-CDEBA8863634}" dt="2021-09-11T12:21:23.852" v="375" actId="164"/>
          <ac:grpSpMkLst>
            <pc:docMk/>
            <pc:sldMk cId="2235950224" sldId="256"/>
            <ac:grpSpMk id="2" creationId="{20DBC51E-036B-42A3-AD53-AB78B0B600C4}"/>
          </ac:grpSpMkLst>
        </pc:grpChg>
        <pc:grpChg chg="add mod">
          <ac:chgData name="Kopper, Jordan" userId="b70b14be-98b2-4048-a278-0b2ff614ef08" providerId="ADAL" clId="{C306FF50-8479-4715-8969-CDEBA8863634}" dt="2021-09-11T12:21:27.532" v="376" actId="164"/>
          <ac:grpSpMkLst>
            <pc:docMk/>
            <pc:sldMk cId="2235950224" sldId="256"/>
            <ac:grpSpMk id="8" creationId="{DD476D01-7FC2-4952-9CC7-55E5FD99D412}"/>
          </ac:grpSpMkLst>
        </pc:grpChg>
        <pc:grpChg chg="add mod">
          <ac:chgData name="Kopper, Jordan" userId="b70b14be-98b2-4048-a278-0b2ff614ef08" providerId="ADAL" clId="{C306FF50-8479-4715-8969-CDEBA8863634}" dt="2021-09-11T12:21:30.607" v="377" actId="164"/>
          <ac:grpSpMkLst>
            <pc:docMk/>
            <pc:sldMk cId="2235950224" sldId="256"/>
            <ac:grpSpMk id="9" creationId="{6106C6D4-15AD-48B5-920F-3F4EA7E0E2D3}"/>
          </ac:grpSpMkLst>
        </pc:grpChg>
        <pc:grpChg chg="add mod">
          <ac:chgData name="Kopper, Jordan" userId="b70b14be-98b2-4048-a278-0b2ff614ef08" providerId="ADAL" clId="{C306FF50-8479-4715-8969-CDEBA8863634}" dt="2021-09-11T12:21:33.909" v="378" actId="164"/>
          <ac:grpSpMkLst>
            <pc:docMk/>
            <pc:sldMk cId="2235950224" sldId="256"/>
            <ac:grpSpMk id="10" creationId="{7394C729-D752-4588-956B-E8B80857EAA4}"/>
          </ac:grpSpMkLst>
        </pc:grpChg>
        <pc:grpChg chg="add mod">
          <ac:chgData name="Kopper, Jordan" userId="b70b14be-98b2-4048-a278-0b2ff614ef08" providerId="ADAL" clId="{C306FF50-8479-4715-8969-CDEBA8863634}" dt="2021-09-11T12:21:40.539" v="379" actId="164"/>
          <ac:grpSpMkLst>
            <pc:docMk/>
            <pc:sldMk cId="2235950224" sldId="256"/>
            <ac:grpSpMk id="11" creationId="{A6D9359E-B3CD-4304-8FC2-5F4F907322C3}"/>
          </ac:grpSpMkLst>
        </pc:grpChg>
        <pc:grpChg chg="mod">
          <ac:chgData name="Kopper, Jordan" userId="b70b14be-98b2-4048-a278-0b2ff614ef08" providerId="ADAL" clId="{C306FF50-8479-4715-8969-CDEBA8863634}" dt="2021-09-11T12:21:30.607" v="377" actId="164"/>
          <ac:grpSpMkLst>
            <pc:docMk/>
            <pc:sldMk cId="2235950224" sldId="256"/>
            <ac:grpSpMk id="554" creationId="{438A6156-2303-4125-98A8-3AD16A0B7C16}"/>
          </ac:grpSpMkLst>
        </pc:grpChg>
        <pc:grpChg chg="mod">
          <ac:chgData name="Kopper, Jordan" userId="b70b14be-98b2-4048-a278-0b2ff614ef08" providerId="ADAL" clId="{C306FF50-8479-4715-8969-CDEBA8863634}" dt="2021-09-11T12:21:27.532" v="376" actId="164"/>
          <ac:grpSpMkLst>
            <pc:docMk/>
            <pc:sldMk cId="2235950224" sldId="256"/>
            <ac:grpSpMk id="596" creationId="{9F93AF35-0CA7-4D0B-B76B-16DCBB237408}"/>
          </ac:grpSpMkLst>
        </pc:grpChg>
        <pc:grpChg chg="mod">
          <ac:chgData name="Kopper, Jordan" userId="b70b14be-98b2-4048-a278-0b2ff614ef08" providerId="ADAL" clId="{C306FF50-8479-4715-8969-CDEBA8863634}" dt="2021-09-11T12:21:40.539" v="379" actId="164"/>
          <ac:grpSpMkLst>
            <pc:docMk/>
            <pc:sldMk cId="2235950224" sldId="256"/>
            <ac:grpSpMk id="622" creationId="{5D28ACDE-DFAD-42FA-8BFA-D394DF167DD4}"/>
          </ac:grpSpMkLst>
        </pc:grpChg>
        <pc:grpChg chg="mod">
          <ac:chgData name="Kopper, Jordan" userId="b70b14be-98b2-4048-a278-0b2ff614ef08" providerId="ADAL" clId="{C306FF50-8479-4715-8969-CDEBA8863634}" dt="2021-09-11T12:21:23.852" v="375" actId="164"/>
          <ac:grpSpMkLst>
            <pc:docMk/>
            <pc:sldMk cId="2235950224" sldId="256"/>
            <ac:grpSpMk id="650" creationId="{151F2983-D071-405C-B624-2E2D1267A1AA}"/>
          </ac:grpSpMkLst>
        </pc:grpChg>
        <pc:grpChg chg="mod">
          <ac:chgData name="Kopper, Jordan" userId="b70b14be-98b2-4048-a278-0b2ff614ef08" providerId="ADAL" clId="{C306FF50-8479-4715-8969-CDEBA8863634}" dt="2021-09-11T12:21:33.909" v="378" actId="164"/>
          <ac:grpSpMkLst>
            <pc:docMk/>
            <pc:sldMk cId="2235950224" sldId="256"/>
            <ac:grpSpMk id="704" creationId="{2DB50107-4E37-4B92-A711-75024A86D5DB}"/>
          </ac:grpSpMkLst>
        </pc:grpChg>
        <pc:picChg chg="mod modCrop">
          <ac:chgData name="Kopper, Jordan" userId="b70b14be-98b2-4048-a278-0b2ff614ef08" providerId="ADAL" clId="{C306FF50-8479-4715-8969-CDEBA8863634}" dt="2021-09-11T12:21:27.532" v="376" actId="164"/>
          <ac:picMkLst>
            <pc:docMk/>
            <pc:sldMk cId="2235950224" sldId="256"/>
            <ac:picMk id="3" creationId="{E462BB70-7B29-48B4-B720-2844DC9F2753}"/>
          </ac:picMkLst>
        </pc:picChg>
        <pc:picChg chg="mod modCrop">
          <ac:chgData name="Kopper, Jordan" userId="b70b14be-98b2-4048-a278-0b2ff614ef08" providerId="ADAL" clId="{C306FF50-8479-4715-8969-CDEBA8863634}" dt="2021-09-11T12:21:30.607" v="377" actId="164"/>
          <ac:picMkLst>
            <pc:docMk/>
            <pc:sldMk cId="2235950224" sldId="256"/>
            <ac:picMk id="4" creationId="{65EDF357-6A95-43E2-992F-22253C1B45E9}"/>
          </ac:picMkLst>
        </pc:picChg>
        <pc:picChg chg="mod modCrop">
          <ac:chgData name="Kopper, Jordan" userId="b70b14be-98b2-4048-a278-0b2ff614ef08" providerId="ADAL" clId="{C306FF50-8479-4715-8969-CDEBA8863634}" dt="2021-09-11T12:21:33.909" v="378" actId="164"/>
          <ac:picMkLst>
            <pc:docMk/>
            <pc:sldMk cId="2235950224" sldId="256"/>
            <ac:picMk id="5" creationId="{F033166B-87B8-4568-AEE6-ACC4D4F5DD84}"/>
          </ac:picMkLst>
        </pc:picChg>
        <pc:picChg chg="mod modCrop">
          <ac:chgData name="Kopper, Jordan" userId="b70b14be-98b2-4048-a278-0b2ff614ef08" providerId="ADAL" clId="{C306FF50-8479-4715-8969-CDEBA8863634}" dt="2021-09-11T12:21:40.539" v="379" actId="164"/>
          <ac:picMkLst>
            <pc:docMk/>
            <pc:sldMk cId="2235950224" sldId="256"/>
            <ac:picMk id="6" creationId="{FC76B81E-7970-4599-AAE2-28CCC27CE69E}"/>
          </ac:picMkLst>
        </pc:picChg>
        <pc:picChg chg="mod modCrop">
          <ac:chgData name="Kopper, Jordan" userId="b70b14be-98b2-4048-a278-0b2ff614ef08" providerId="ADAL" clId="{C306FF50-8479-4715-8969-CDEBA8863634}" dt="2021-09-11T12:21:23.852" v="375" actId="164"/>
          <ac:picMkLst>
            <pc:docMk/>
            <pc:sldMk cId="2235950224" sldId="256"/>
            <ac:picMk id="7" creationId="{F8FA8E1B-274B-4C04-8BE4-42967C646C18}"/>
          </ac:picMkLst>
        </pc:picChg>
      </pc:sldChg>
      <pc:sldChg chg="addSp delSp modTransition">
        <pc:chgData name="Kopper, Jordan" userId="b70b14be-98b2-4048-a278-0b2ff614ef08" providerId="ADAL" clId="{C306FF50-8479-4715-8969-CDEBA8863634}" dt="2021-09-17T03:24:36.592" v="6841" actId="478"/>
        <pc:sldMkLst>
          <pc:docMk/>
          <pc:sldMk cId="1224709678" sldId="257"/>
        </pc:sldMkLst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39" creationId="{3391AFB7-4006-423F-BF25-B348B5D34053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40" creationId="{B5114739-651E-4F7A-A652-EF684A21FFC6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1" creationId="{D3D5195E-FACF-4323-9D58-B476EF04577B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42" creationId="{05725F0B-4685-4DA5-84CB-30A24F702C42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3" creationId="{47ED573E-C941-4AF5-AC31-033EB83BED9F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44" creationId="{80AA1634-4F7D-4A70-A767-79C2E1D40D7A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5" creationId="{9DFA985A-DDBB-416B-AA28-F61B66E4B68B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6" creationId="{8CBF3842-E8D5-4105-9426-6FEADB6B427E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49" creationId="{77BE9510-FF65-4074-91DD-B3DA6629A19C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50" creationId="{DC16D5E8-BB88-4767-B72C-0F3E76E00D49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52" creationId="{25491A41-6070-4292-B80E-4136F40B3B6E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53" creationId="{CF86E901-272A-451B-9E0C-A2A977361C3C}"/>
          </ac:spMkLst>
        </pc:spChg>
        <pc:spChg chg="add del">
          <ac:chgData name="Kopper, Jordan" userId="b70b14be-98b2-4048-a278-0b2ff614ef08" providerId="ADAL" clId="{C306FF50-8479-4715-8969-CDEBA8863634}" dt="2021-09-17T03:24:36.592" v="6841" actId="478"/>
          <ac:spMkLst>
            <pc:docMk/>
            <pc:sldMk cId="1224709678" sldId="257"/>
            <ac:spMk id="74" creationId="{02A69F23-4BB1-4F52-B80F-76AC5FA46FCF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89" creationId="{693A950A-486B-466C-B47C-7D435501198A}"/>
          </ac:spMkLst>
        </pc:spChg>
        <pc:spChg chg="add del">
          <ac:chgData name="Kopper, Jordan" userId="b70b14be-98b2-4048-a278-0b2ff614ef08" providerId="ADAL" clId="{C306FF50-8479-4715-8969-CDEBA8863634}" dt="2021-09-17T03:24:36.360" v="6840" actId="478"/>
          <ac:spMkLst>
            <pc:docMk/>
            <pc:sldMk cId="1224709678" sldId="257"/>
            <ac:spMk id="90" creationId="{900020FD-385D-49CE-BA9B-DA630F80C4D1}"/>
          </ac:spMkLst>
        </pc:spChg>
        <pc:grpChg chg="add del">
          <ac:chgData name="Kopper, Jordan" userId="b70b14be-98b2-4048-a278-0b2ff614ef08" providerId="ADAL" clId="{C306FF50-8479-4715-8969-CDEBA8863634}" dt="2021-09-17T03:24:36.360" v="6840" actId="478"/>
          <ac:grpSpMkLst>
            <pc:docMk/>
            <pc:sldMk cId="1224709678" sldId="257"/>
            <ac:grpSpMk id="54" creationId="{1F3D4CA7-7925-4A59-B48D-285F8BA7B493}"/>
          </ac:grpSpMkLst>
        </pc:grpChg>
        <pc:grpChg chg="add del">
          <ac:chgData name="Kopper, Jordan" userId="b70b14be-98b2-4048-a278-0b2ff614ef08" providerId="ADAL" clId="{C306FF50-8479-4715-8969-CDEBA8863634}" dt="2021-09-17T03:24:36.360" v="6840" actId="478"/>
          <ac:grpSpMkLst>
            <pc:docMk/>
            <pc:sldMk cId="1224709678" sldId="257"/>
            <ac:grpSpMk id="57" creationId="{44DD80B8-EA31-48DD-96AA-F2B51FB5A210}"/>
          </ac:grpSpMkLst>
        </pc:grpChg>
        <pc:grpChg chg="add del">
          <ac:chgData name="Kopper, Jordan" userId="b70b14be-98b2-4048-a278-0b2ff614ef08" providerId="ADAL" clId="{C306FF50-8479-4715-8969-CDEBA8863634}" dt="2021-09-17T03:24:36.360" v="6840" actId="478"/>
          <ac:grpSpMkLst>
            <pc:docMk/>
            <pc:sldMk cId="1224709678" sldId="257"/>
            <ac:grpSpMk id="60" creationId="{71D0C9C6-BB4E-48D8-8320-80AEA26581DD}"/>
          </ac:grpSpMkLst>
        </pc:grpChg>
        <pc:grpChg chg="add del">
          <ac:chgData name="Kopper, Jordan" userId="b70b14be-98b2-4048-a278-0b2ff614ef08" providerId="ADAL" clId="{C306FF50-8479-4715-8969-CDEBA8863634}" dt="2021-09-17T03:24:36.592" v="6841" actId="478"/>
          <ac:grpSpMkLst>
            <pc:docMk/>
            <pc:sldMk cId="1224709678" sldId="257"/>
            <ac:grpSpMk id="76" creationId="{41F2C462-148A-4C53-82E1-5245EDAED0A3}"/>
          </ac:grpSpMkLst>
        </pc:grpChg>
        <pc:grpChg chg="add del">
          <ac:chgData name="Kopper, Jordan" userId="b70b14be-98b2-4048-a278-0b2ff614ef08" providerId="ADAL" clId="{C306FF50-8479-4715-8969-CDEBA8863634}" dt="2021-09-17T03:24:36.592" v="6841" actId="478"/>
          <ac:grpSpMkLst>
            <pc:docMk/>
            <pc:sldMk cId="1224709678" sldId="257"/>
            <ac:grpSpMk id="80" creationId="{BE9E2572-69A2-4B60-8F55-BBABF3E7DABE}"/>
          </ac:grpSpMkLst>
        </pc:grpChg>
        <pc:grpChg chg="add del">
          <ac:chgData name="Kopper, Jordan" userId="b70b14be-98b2-4048-a278-0b2ff614ef08" providerId="ADAL" clId="{C306FF50-8479-4715-8969-CDEBA8863634}" dt="2021-09-17T03:24:36.360" v="6840" actId="478"/>
          <ac:grpSpMkLst>
            <pc:docMk/>
            <pc:sldMk cId="1224709678" sldId="257"/>
            <ac:grpSpMk id="83" creationId="{0E3229AF-A5AF-4320-8775-B4D0243C5D0B}"/>
          </ac:grpSpMkLst>
        </pc:grpChg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294216279" sldId="258"/>
        </pc:sldMkLst>
      </pc:sldChg>
      <pc:sldChg chg="addSp delSp modSp add del mod">
        <pc:chgData name="Kopper, Jordan" userId="b70b14be-98b2-4048-a278-0b2ff614ef08" providerId="ADAL" clId="{C306FF50-8479-4715-8969-CDEBA8863634}" dt="2021-09-17T02:29:20.935" v="5638" actId="478"/>
        <pc:sldMkLst>
          <pc:docMk/>
          <pc:sldMk cId="3382610705" sldId="259"/>
        </pc:sldMkLst>
        <pc:spChg chg="mod">
          <ac:chgData name="Kopper, Jordan" userId="b70b14be-98b2-4048-a278-0b2ff614ef08" providerId="ADAL" clId="{C306FF50-8479-4715-8969-CDEBA8863634}" dt="2021-09-11T12:23:08.886" v="405" actId="20577"/>
          <ac:spMkLst>
            <pc:docMk/>
            <pc:sldMk cId="3382610705" sldId="259"/>
            <ac:spMk id="353" creationId="{88064A65-B8EE-4CC5-8777-5171834A8C73}"/>
          </ac:spMkLst>
        </pc:spChg>
        <pc:picChg chg="add del mod">
          <ac:chgData name="Kopper, Jordan" userId="b70b14be-98b2-4048-a278-0b2ff614ef08" providerId="ADAL" clId="{C306FF50-8479-4715-8969-CDEBA8863634}" dt="2021-09-17T02:29:20.935" v="5638" actId="478"/>
          <ac:picMkLst>
            <pc:docMk/>
            <pc:sldMk cId="3382610705" sldId="259"/>
            <ac:picMk id="55" creationId="{34AF8071-6DE8-468F-B223-8DB0CDE7FA45}"/>
          </ac:picMkLst>
        </pc:picChg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293555595" sldId="260"/>
        </pc:sldMkLst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729631512" sldId="261"/>
        </pc:sldMkLst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624810676" sldId="262"/>
        </pc:sldMkLst>
      </pc:sldChg>
      <pc:sldChg chg="addSp modSp del mod">
        <pc:chgData name="Kopper, Jordan" userId="b70b14be-98b2-4048-a278-0b2ff614ef08" providerId="ADAL" clId="{C306FF50-8479-4715-8969-CDEBA8863634}" dt="2021-09-11T13:30:45.935" v="1843" actId="47"/>
        <pc:sldMkLst>
          <pc:docMk/>
          <pc:sldMk cId="443722242" sldId="263"/>
        </pc:sldMkLst>
        <pc:spChg chg="mod">
          <ac:chgData name="Kopper, Jordan" userId="b70b14be-98b2-4048-a278-0b2ff614ef08" providerId="ADAL" clId="{C306FF50-8479-4715-8969-CDEBA8863634}" dt="2021-09-11T12:23:44.274" v="479" actId="20577"/>
          <ac:spMkLst>
            <pc:docMk/>
            <pc:sldMk cId="443722242" sldId="263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1T13:29:39.270" v="1834" actId="1076"/>
          <ac:spMkLst>
            <pc:docMk/>
            <pc:sldMk cId="443722242" sldId="263"/>
            <ac:spMk id="3" creationId="{1D7F73F8-87E6-4D20-9DDD-802123B19706}"/>
          </ac:spMkLst>
        </pc:spChg>
      </pc:sldChg>
      <pc:sldChg chg="modTransition">
        <pc:chgData name="Kopper, Jordan" userId="b70b14be-98b2-4048-a278-0b2ff614ef08" providerId="ADAL" clId="{C306FF50-8479-4715-8969-CDEBA8863634}" dt="2021-09-11T13:13:23.264" v="1370"/>
        <pc:sldMkLst>
          <pc:docMk/>
          <pc:sldMk cId="256733430" sldId="264"/>
        </pc:sldMkLst>
      </pc:sldChg>
      <pc:sldChg chg="modSp mod ord modAnim">
        <pc:chgData name="Kopper, Jordan" userId="b70b14be-98b2-4048-a278-0b2ff614ef08" providerId="ADAL" clId="{C306FF50-8479-4715-8969-CDEBA8863634}" dt="2021-09-17T14:11:00.196" v="9077" actId="1076"/>
        <pc:sldMkLst>
          <pc:docMk/>
          <pc:sldMk cId="1956169838" sldId="265"/>
        </pc:sldMkLst>
        <pc:spChg chg="mod">
          <ac:chgData name="Kopper, Jordan" userId="b70b14be-98b2-4048-a278-0b2ff614ef08" providerId="ADAL" clId="{C306FF50-8479-4715-8969-CDEBA8863634}" dt="2021-09-11T13:15:29.151" v="1372" actId="20577"/>
          <ac:spMkLst>
            <pc:docMk/>
            <pc:sldMk cId="1956169838" sldId="265"/>
            <ac:spMk id="61" creationId="{ECD72DF2-BDC0-4528-A86C-FDC8DB6DAB0D}"/>
          </ac:spMkLst>
        </pc:spChg>
        <pc:spChg chg="mod">
          <ac:chgData name="Kopper, Jordan" userId="b70b14be-98b2-4048-a278-0b2ff614ef08" providerId="ADAL" clId="{C306FF50-8479-4715-8969-CDEBA8863634}" dt="2021-09-17T14:11:00.196" v="9077" actId="1076"/>
          <ac:spMkLst>
            <pc:docMk/>
            <pc:sldMk cId="1956169838" sldId="265"/>
            <ac:spMk id="610" creationId="{AC85F261-DAEE-4062-A0C4-BC881FDC1A6F}"/>
          </ac:spMkLst>
        </pc:spChg>
      </pc:sldChg>
      <pc:sldChg chg="del">
        <pc:chgData name="Kopper, Jordan" userId="b70b14be-98b2-4048-a278-0b2ff614ef08" providerId="ADAL" clId="{C306FF50-8479-4715-8969-CDEBA8863634}" dt="2021-09-11T12:57:22.473" v="977" actId="47"/>
        <pc:sldMkLst>
          <pc:docMk/>
          <pc:sldMk cId="2528007512" sldId="266"/>
        </pc:sldMkLst>
      </pc:sldChg>
      <pc:sldChg chg="addSp delSp modSp mod setBg modAnim">
        <pc:chgData name="Kopper, Jordan" userId="b70b14be-98b2-4048-a278-0b2ff614ef08" providerId="ADAL" clId="{C306FF50-8479-4715-8969-CDEBA8863634}" dt="2021-09-17T02:41:20.426" v="5925" actId="1076"/>
        <pc:sldMkLst>
          <pc:docMk/>
          <pc:sldMk cId="598982058" sldId="267"/>
        </pc:sldMkLst>
        <pc:spChg chg="mod">
          <ac:chgData name="Kopper, Jordan" userId="b70b14be-98b2-4048-a278-0b2ff614ef08" providerId="ADAL" clId="{C306FF50-8479-4715-8969-CDEBA8863634}" dt="2021-09-17T02:35:51.765" v="5791"/>
          <ac:spMkLst>
            <pc:docMk/>
            <pc:sldMk cId="598982058" sldId="267"/>
            <ac:spMk id="2" creationId="{837EB5BE-E15E-4BB7-9DF9-57CAF803CCF0}"/>
          </ac:spMkLst>
        </pc:spChg>
        <pc:spChg chg="add del mod">
          <ac:chgData name="Kopper, Jordan" userId="b70b14be-98b2-4048-a278-0b2ff614ef08" providerId="ADAL" clId="{C306FF50-8479-4715-8969-CDEBA8863634}" dt="2021-09-17T02:37:58.308" v="5854"/>
          <ac:spMkLst>
            <pc:docMk/>
            <pc:sldMk cId="598982058" sldId="267"/>
            <ac:spMk id="4" creationId="{76A2461C-3A93-425D-83C4-611B037B9172}"/>
          </ac:spMkLst>
        </pc:spChg>
        <pc:spChg chg="mod">
          <ac:chgData name="Kopper, Jordan" userId="b70b14be-98b2-4048-a278-0b2ff614ef08" providerId="ADAL" clId="{C306FF50-8479-4715-8969-CDEBA8863634}" dt="2021-09-17T02:35:13.307" v="5741"/>
          <ac:spMkLst>
            <pc:docMk/>
            <pc:sldMk cId="598982058" sldId="267"/>
            <ac:spMk id="13" creationId="{0CEA2CDC-0323-4B0C-AA79-A029A9FFC7DA}"/>
          </ac:spMkLst>
        </pc:spChg>
        <pc:spChg chg="mod">
          <ac:chgData name="Kopper, Jordan" userId="b70b14be-98b2-4048-a278-0b2ff614ef08" providerId="ADAL" clId="{C306FF50-8479-4715-8969-CDEBA8863634}" dt="2021-09-17T02:39:16.624" v="5887" actId="1076"/>
          <ac:spMkLst>
            <pc:docMk/>
            <pc:sldMk cId="598982058" sldId="267"/>
            <ac:spMk id="14" creationId="{76DE7E25-94D1-4921-BD44-CFA2311E4837}"/>
          </ac:spMkLst>
        </pc:spChg>
        <pc:spChg chg="mod">
          <ac:chgData name="Kopper, Jordan" userId="b70b14be-98b2-4048-a278-0b2ff614ef08" providerId="ADAL" clId="{C306FF50-8479-4715-8969-CDEBA8863634}" dt="2021-09-17T02:39:25.680" v="5890" actId="14100"/>
          <ac:spMkLst>
            <pc:docMk/>
            <pc:sldMk cId="598982058" sldId="267"/>
            <ac:spMk id="16" creationId="{EF0AC04A-A174-4AF2-B46C-60B49FEE3556}"/>
          </ac:spMkLst>
        </pc:spChg>
        <pc:spChg chg="mod">
          <ac:chgData name="Kopper, Jordan" userId="b70b14be-98b2-4048-a278-0b2ff614ef08" providerId="ADAL" clId="{C306FF50-8479-4715-8969-CDEBA8863634}" dt="2021-09-17T02:39:23.329" v="5889" actId="1076"/>
          <ac:spMkLst>
            <pc:docMk/>
            <pc:sldMk cId="598982058" sldId="267"/>
            <ac:spMk id="17" creationId="{B9DB2A58-9A9F-40C7-8402-F76631DE1141}"/>
          </ac:spMkLst>
        </pc:spChg>
        <pc:spChg chg="add del mod">
          <ac:chgData name="Kopper, Jordan" userId="b70b14be-98b2-4048-a278-0b2ff614ef08" providerId="ADAL" clId="{C306FF50-8479-4715-8969-CDEBA8863634}" dt="2021-09-17T02:39:39.290" v="5893"/>
          <ac:spMkLst>
            <pc:docMk/>
            <pc:sldMk cId="598982058" sldId="267"/>
            <ac:spMk id="18" creationId="{6DAE231B-0F3C-45E1-A930-ED14B061B791}"/>
          </ac:spMkLst>
        </pc:spChg>
        <pc:spChg chg="mod">
          <ac:chgData name="Kopper, Jordan" userId="b70b14be-98b2-4048-a278-0b2ff614ef08" providerId="ADAL" clId="{C306FF50-8479-4715-8969-CDEBA8863634}" dt="2021-09-17T02:39:41.038" v="5894"/>
          <ac:spMkLst>
            <pc:docMk/>
            <pc:sldMk cId="598982058" sldId="267"/>
            <ac:spMk id="20" creationId="{6AF9EA9F-9603-44B8-8212-14932B03AEED}"/>
          </ac:spMkLst>
        </pc:spChg>
        <pc:spChg chg="mod">
          <ac:chgData name="Kopper, Jordan" userId="b70b14be-98b2-4048-a278-0b2ff614ef08" providerId="ADAL" clId="{C306FF50-8479-4715-8969-CDEBA8863634}" dt="2021-09-17T02:39:41.038" v="5894"/>
          <ac:spMkLst>
            <pc:docMk/>
            <pc:sldMk cId="598982058" sldId="267"/>
            <ac:spMk id="21" creationId="{D96FDA25-6576-423C-8776-1975659ADC62}"/>
          </ac:spMkLst>
        </pc:spChg>
        <pc:spChg chg="mod">
          <ac:chgData name="Kopper, Jordan" userId="b70b14be-98b2-4048-a278-0b2ff614ef08" providerId="ADAL" clId="{C306FF50-8479-4715-8969-CDEBA8863634}" dt="2021-09-17T02:40:34.015" v="5917" actId="1076"/>
          <ac:spMkLst>
            <pc:docMk/>
            <pc:sldMk cId="598982058" sldId="267"/>
            <ac:spMk id="23" creationId="{65F20EFA-548C-44A9-B909-F19FA70E8FDC}"/>
          </ac:spMkLst>
        </pc:spChg>
        <pc:spChg chg="mod">
          <ac:chgData name="Kopper, Jordan" userId="b70b14be-98b2-4048-a278-0b2ff614ef08" providerId="ADAL" clId="{C306FF50-8479-4715-8969-CDEBA8863634}" dt="2021-09-17T02:40:12.147" v="5912" actId="14100"/>
          <ac:spMkLst>
            <pc:docMk/>
            <pc:sldMk cId="598982058" sldId="267"/>
            <ac:spMk id="24" creationId="{A377EEDF-61BC-436F-BBC2-838DC556BFEF}"/>
          </ac:spMkLst>
        </pc:spChg>
        <pc:spChg chg="mod">
          <ac:chgData name="Kopper, Jordan" userId="b70b14be-98b2-4048-a278-0b2ff614ef08" providerId="ADAL" clId="{C306FF50-8479-4715-8969-CDEBA8863634}" dt="2021-09-17T02:35:51.765" v="5791"/>
          <ac:spMkLst>
            <pc:docMk/>
            <pc:sldMk cId="598982058" sldId="267"/>
            <ac:spMk id="489" creationId="{72839817-4B15-4F99-BEC5-4AB7827F6315}"/>
          </ac:spMkLst>
        </pc:spChg>
        <pc:grpChg chg="add mod">
          <ac:chgData name="Kopper, Jordan" userId="b70b14be-98b2-4048-a278-0b2ff614ef08" providerId="ADAL" clId="{C306FF50-8479-4715-8969-CDEBA8863634}" dt="2021-09-17T02:41:11.314" v="5923" actId="1076"/>
          <ac:grpSpMkLst>
            <pc:docMk/>
            <pc:sldMk cId="598982058" sldId="267"/>
            <ac:grpSpMk id="12" creationId="{63021B25-E7D3-4164-93AF-2329F43B1584}"/>
          </ac:grpSpMkLst>
        </pc:grpChg>
        <pc:grpChg chg="add mod">
          <ac:chgData name="Kopper, Jordan" userId="b70b14be-98b2-4048-a278-0b2ff614ef08" providerId="ADAL" clId="{C306FF50-8479-4715-8969-CDEBA8863634}" dt="2021-09-17T02:41:20.426" v="5925" actId="1076"/>
          <ac:grpSpMkLst>
            <pc:docMk/>
            <pc:sldMk cId="598982058" sldId="267"/>
            <ac:grpSpMk id="15" creationId="{CAD09DC3-3AA0-4BF5-8E73-BA9328E92A79}"/>
          </ac:grpSpMkLst>
        </pc:grpChg>
        <pc:grpChg chg="add del mod">
          <ac:chgData name="Kopper, Jordan" userId="b70b14be-98b2-4048-a278-0b2ff614ef08" providerId="ADAL" clId="{C306FF50-8479-4715-8969-CDEBA8863634}" dt="2021-09-17T02:39:42.098" v="5895"/>
          <ac:grpSpMkLst>
            <pc:docMk/>
            <pc:sldMk cId="598982058" sldId="267"/>
            <ac:grpSpMk id="19" creationId="{78251EFE-BFAC-4B81-94D9-C784A3EE2D91}"/>
          </ac:grpSpMkLst>
        </pc:grpChg>
        <pc:grpChg chg="add mod">
          <ac:chgData name="Kopper, Jordan" userId="b70b14be-98b2-4048-a278-0b2ff614ef08" providerId="ADAL" clId="{C306FF50-8479-4715-8969-CDEBA8863634}" dt="2021-09-17T02:41:03.161" v="5921" actId="1076"/>
          <ac:grpSpMkLst>
            <pc:docMk/>
            <pc:sldMk cId="598982058" sldId="267"/>
            <ac:grpSpMk id="22" creationId="{6A1DAF35-F26C-498E-86C6-5C4E0E395542}"/>
          </ac:grpSpMkLst>
        </pc:grpChg>
        <pc:picChg chg="mod ord modCrop">
          <ac:chgData name="Kopper, Jordan" userId="b70b14be-98b2-4048-a278-0b2ff614ef08" providerId="ADAL" clId="{C306FF50-8479-4715-8969-CDEBA8863634}" dt="2021-09-17T02:41:08.879" v="5922" actId="1076"/>
          <ac:picMkLst>
            <pc:docMk/>
            <pc:sldMk cId="598982058" sldId="267"/>
            <ac:picMk id="3" creationId="{0ACC8E51-5104-4E87-9CC4-FB7B2776E9BC}"/>
          </ac:picMkLst>
        </pc:picChg>
        <pc:picChg chg="add mod">
          <ac:chgData name="Kopper, Jordan" userId="b70b14be-98b2-4048-a278-0b2ff614ef08" providerId="ADAL" clId="{C306FF50-8479-4715-8969-CDEBA8863634}" dt="2021-09-17T02:30:35.667" v="5655" actId="1076"/>
          <ac:picMkLst>
            <pc:docMk/>
            <pc:sldMk cId="598982058" sldId="267"/>
            <ac:picMk id="7" creationId="{E1CC3A61-5E3E-4181-9840-FDA38D388B77}"/>
          </ac:picMkLst>
        </pc:picChg>
        <pc:picChg chg="mod modCrop">
          <ac:chgData name="Kopper, Jordan" userId="b70b14be-98b2-4048-a278-0b2ff614ef08" providerId="ADAL" clId="{C306FF50-8479-4715-8969-CDEBA8863634}" dt="2021-09-17T02:41:20.426" v="5925" actId="1076"/>
          <ac:picMkLst>
            <pc:docMk/>
            <pc:sldMk cId="598982058" sldId="267"/>
            <ac:picMk id="8" creationId="{61B5725F-9DAA-4357-8793-9FE0983AC34A}"/>
          </ac:picMkLst>
        </pc:picChg>
        <pc:picChg chg="mod modCrop">
          <ac:chgData name="Kopper, Jordan" userId="b70b14be-98b2-4048-a278-0b2ff614ef08" providerId="ADAL" clId="{C306FF50-8479-4715-8969-CDEBA8863634}" dt="2021-09-17T02:41:03.161" v="5921" actId="1076"/>
          <ac:picMkLst>
            <pc:docMk/>
            <pc:sldMk cId="598982058" sldId="267"/>
            <ac:picMk id="9" creationId="{638C1CC5-78A5-4BF4-B76D-375B78C645CF}"/>
          </ac:picMkLst>
        </pc:picChg>
        <pc:picChg chg="add del mod">
          <ac:chgData name="Kopper, Jordan" userId="b70b14be-98b2-4048-a278-0b2ff614ef08" providerId="ADAL" clId="{C306FF50-8479-4715-8969-CDEBA8863634}" dt="2021-09-17T02:30:22.936" v="5649" actId="478"/>
          <ac:picMkLst>
            <pc:docMk/>
            <pc:sldMk cId="598982058" sldId="267"/>
            <ac:picMk id="10" creationId="{735D8E62-10F2-437A-971D-26A85C8B40C4}"/>
          </ac:picMkLst>
        </pc:picChg>
        <pc:picChg chg="add del mod">
          <ac:chgData name="Kopper, Jordan" userId="b70b14be-98b2-4048-a278-0b2ff614ef08" providerId="ADAL" clId="{C306FF50-8479-4715-8969-CDEBA8863634}" dt="2021-09-17T02:30:32.653" v="5653" actId="478"/>
          <ac:picMkLst>
            <pc:docMk/>
            <pc:sldMk cId="598982058" sldId="267"/>
            <ac:picMk id="11" creationId="{6E737E88-FBEE-4735-89B0-B49B5824D84A}"/>
          </ac:picMkLst>
        </pc:picChg>
      </pc:sldChg>
      <pc:sldChg chg="addSp modSp mod">
        <pc:chgData name="Kopper, Jordan" userId="b70b14be-98b2-4048-a278-0b2ff614ef08" providerId="ADAL" clId="{C306FF50-8479-4715-8969-CDEBA8863634}" dt="2021-09-11T14:35:27.631" v="2910" actId="20577"/>
        <pc:sldMkLst>
          <pc:docMk/>
          <pc:sldMk cId="413352085" sldId="268"/>
        </pc:sldMkLst>
        <pc:spChg chg="add mod">
          <ac:chgData name="Kopper, Jordan" userId="b70b14be-98b2-4048-a278-0b2ff614ef08" providerId="ADAL" clId="{C306FF50-8479-4715-8969-CDEBA8863634}" dt="2021-09-11T14:35:27.631" v="2910" actId="20577"/>
          <ac:spMkLst>
            <pc:docMk/>
            <pc:sldMk cId="413352085" sldId="268"/>
            <ac:spMk id="3" creationId="{E046EB0F-7B17-497D-9C90-603580F77B02}"/>
          </ac:spMkLst>
        </pc:spChg>
      </pc:sldChg>
      <pc:sldChg chg="del">
        <pc:chgData name="Kopper, Jordan" userId="b70b14be-98b2-4048-a278-0b2ff614ef08" providerId="ADAL" clId="{C306FF50-8479-4715-8969-CDEBA8863634}" dt="2021-09-11T12:58:23.539" v="1051" actId="47"/>
        <pc:sldMkLst>
          <pc:docMk/>
          <pc:sldMk cId="762356839" sldId="270"/>
        </pc:sldMkLst>
      </pc:sldChg>
      <pc:sldChg chg="addSp delSp modSp mod">
        <pc:chgData name="Kopper, Jordan" userId="b70b14be-98b2-4048-a278-0b2ff614ef08" providerId="ADAL" clId="{C306FF50-8479-4715-8969-CDEBA8863634}" dt="2021-09-17T02:29:22.407" v="5639" actId="478"/>
        <pc:sldMkLst>
          <pc:docMk/>
          <pc:sldMk cId="4158106495" sldId="271"/>
        </pc:sldMkLst>
        <pc:spChg chg="mod">
          <ac:chgData name="Kopper, Jordan" userId="b70b14be-98b2-4048-a278-0b2ff614ef08" providerId="ADAL" clId="{C306FF50-8479-4715-8969-CDEBA8863634}" dt="2021-09-11T12:23:22.795" v="435" actId="20577"/>
          <ac:spMkLst>
            <pc:docMk/>
            <pc:sldMk cId="4158106495" sldId="271"/>
            <ac:spMk id="353" creationId="{88064A65-B8EE-4CC5-8777-5171834A8C73}"/>
          </ac:spMkLst>
        </pc:spChg>
        <pc:picChg chg="add del mod">
          <ac:chgData name="Kopper, Jordan" userId="b70b14be-98b2-4048-a278-0b2ff614ef08" providerId="ADAL" clId="{C306FF50-8479-4715-8969-CDEBA8863634}" dt="2021-09-17T02:29:22.407" v="5639" actId="478"/>
          <ac:picMkLst>
            <pc:docMk/>
            <pc:sldMk cId="4158106495" sldId="271"/>
            <ac:picMk id="55" creationId="{3FB5AE12-CD7C-4214-9020-BAF6D76A66A4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14:04:45.187" v="9063"/>
        <pc:sldMkLst>
          <pc:docMk/>
          <pc:sldMk cId="3738259123" sldId="272"/>
        </pc:sldMkLst>
        <pc:spChg chg="mod">
          <ac:chgData name="Kopper, Jordan" userId="b70b14be-98b2-4048-a278-0b2ff614ef08" providerId="ADAL" clId="{C306FF50-8479-4715-8969-CDEBA8863634}" dt="2021-09-11T12:23:32.413" v="451" actId="20577"/>
          <ac:spMkLst>
            <pc:docMk/>
            <pc:sldMk cId="3738259123" sldId="272"/>
            <ac:spMk id="353" creationId="{88064A65-B8EE-4CC5-8777-5171834A8C73}"/>
          </ac:spMkLst>
        </pc:spChg>
        <pc:picChg chg="add del mod">
          <ac:chgData name="Kopper, Jordan" userId="b70b14be-98b2-4048-a278-0b2ff614ef08" providerId="ADAL" clId="{C306FF50-8479-4715-8969-CDEBA8863634}" dt="2021-09-17T02:29:48.553" v="5644" actId="478"/>
          <ac:picMkLst>
            <pc:docMk/>
            <pc:sldMk cId="3738259123" sldId="272"/>
            <ac:picMk id="55" creationId="{C48DFBAA-66AE-4981-99BC-4FCC7727CE77}"/>
          </ac:picMkLst>
        </pc:picChg>
        <pc:picChg chg="add mod">
          <ac:chgData name="Kopper, Jordan" userId="b70b14be-98b2-4048-a278-0b2ff614ef08" providerId="ADAL" clId="{C306FF50-8479-4715-8969-CDEBA8863634}" dt="2021-09-17T14:04:45.187" v="9063"/>
          <ac:picMkLst>
            <pc:docMk/>
            <pc:sldMk cId="3738259123" sldId="272"/>
            <ac:picMk id="55" creationId="{D317F4BF-4DF9-4CF6-9C47-8C3C9BD4B819}"/>
          </ac:picMkLst>
        </pc:picChg>
      </pc:sldChg>
      <pc:sldChg chg="del">
        <pc:chgData name="Kopper, Jordan" userId="b70b14be-98b2-4048-a278-0b2ff614ef08" providerId="ADAL" clId="{C306FF50-8479-4715-8969-CDEBA8863634}" dt="2021-09-11T12:58:24.560" v="1052" actId="47"/>
        <pc:sldMkLst>
          <pc:docMk/>
          <pc:sldMk cId="2260479988" sldId="273"/>
        </pc:sldMkLst>
      </pc:sldChg>
      <pc:sldChg chg="addSp delSp modSp mod">
        <pc:chgData name="Kopper, Jordan" userId="b70b14be-98b2-4048-a278-0b2ff614ef08" providerId="ADAL" clId="{C306FF50-8479-4715-8969-CDEBA8863634}" dt="2021-09-17T14:06:40.715" v="9070"/>
        <pc:sldMkLst>
          <pc:docMk/>
          <pc:sldMk cId="2893859315" sldId="274"/>
        </pc:sldMkLst>
        <pc:picChg chg="add del mod">
          <ac:chgData name="Kopper, Jordan" userId="b70b14be-98b2-4048-a278-0b2ff614ef08" providerId="ADAL" clId="{C306FF50-8479-4715-8969-CDEBA8863634}" dt="2021-09-17T02:41:39.576" v="5928" actId="478"/>
          <ac:picMkLst>
            <pc:docMk/>
            <pc:sldMk cId="2893859315" sldId="274"/>
            <ac:picMk id="55" creationId="{699F8778-378F-4CCD-AE0A-5C15AA2EA884}"/>
          </ac:picMkLst>
        </pc:picChg>
        <pc:picChg chg="add del mod">
          <ac:chgData name="Kopper, Jordan" userId="b70b14be-98b2-4048-a278-0b2ff614ef08" providerId="ADAL" clId="{C306FF50-8479-4715-8969-CDEBA8863634}" dt="2021-09-17T14:06:40.326" v="9069" actId="478"/>
          <ac:picMkLst>
            <pc:docMk/>
            <pc:sldMk cId="2893859315" sldId="274"/>
            <ac:picMk id="55" creationId="{E05663E7-9887-4001-8E9F-951724EB32C4}"/>
          </ac:picMkLst>
        </pc:picChg>
        <pc:picChg chg="add del mod">
          <ac:chgData name="Kopper, Jordan" userId="b70b14be-98b2-4048-a278-0b2ff614ef08" providerId="ADAL" clId="{C306FF50-8479-4715-8969-CDEBA8863634}" dt="2021-09-17T02:41:45.516" v="5930" actId="478"/>
          <ac:picMkLst>
            <pc:docMk/>
            <pc:sldMk cId="2893859315" sldId="274"/>
            <ac:picMk id="56" creationId="{5AECE99E-8949-4405-B8BA-60AE3C08516E}"/>
          </ac:picMkLst>
        </pc:picChg>
        <pc:picChg chg="add mod">
          <ac:chgData name="Kopper, Jordan" userId="b70b14be-98b2-4048-a278-0b2ff614ef08" providerId="ADAL" clId="{C306FF50-8479-4715-8969-CDEBA8863634}" dt="2021-09-17T14:06:40.715" v="9070"/>
          <ac:picMkLst>
            <pc:docMk/>
            <pc:sldMk cId="2893859315" sldId="274"/>
            <ac:picMk id="56" creationId="{F7234A83-6C92-45C6-A571-EEE579CCF13C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4:14:02.143" v="9330" actId="20577"/>
        <pc:sldMkLst>
          <pc:docMk/>
          <pc:sldMk cId="1426701770" sldId="275"/>
        </pc:sldMkLst>
        <pc:spChg chg="add mod">
          <ac:chgData name="Kopper, Jordan" userId="b70b14be-98b2-4048-a278-0b2ff614ef08" providerId="ADAL" clId="{C306FF50-8479-4715-8969-CDEBA8863634}" dt="2021-09-17T13:53:10.881" v="8982" actId="1036"/>
          <ac:spMkLst>
            <pc:docMk/>
            <pc:sldMk cId="1426701770" sldId="275"/>
            <ac:spMk id="2" creationId="{6AC3BBE9-4782-491D-A1A2-01FC9981AB8D}"/>
          </ac:spMkLst>
        </pc:spChg>
        <pc:spChg chg="add del mod">
          <ac:chgData name="Kopper, Jordan" userId="b70b14be-98b2-4048-a278-0b2ff614ef08" providerId="ADAL" clId="{C306FF50-8479-4715-8969-CDEBA8863634}" dt="2021-09-17T03:13:23.077" v="6646"/>
          <ac:spMkLst>
            <pc:docMk/>
            <pc:sldMk cId="1426701770" sldId="275"/>
            <ac:spMk id="2" creationId="{DDB892DD-1CBE-4FAA-B3C6-C9E1271A005E}"/>
          </ac:spMkLst>
        </pc:spChg>
        <pc:spChg chg="add del mod">
          <ac:chgData name="Kopper, Jordan" userId="b70b14be-98b2-4048-a278-0b2ff614ef08" providerId="ADAL" clId="{C306FF50-8479-4715-8969-CDEBA8863634}" dt="2021-09-17T03:14:03.829" v="6670" actId="478"/>
          <ac:spMkLst>
            <pc:docMk/>
            <pc:sldMk cId="1426701770" sldId="275"/>
            <ac:spMk id="4" creationId="{D27699CF-40E8-412A-BCFD-87A02981F0AA}"/>
          </ac:spMkLst>
        </pc:spChg>
        <pc:spChg chg="add mod">
          <ac:chgData name="Kopper, Jordan" userId="b70b14be-98b2-4048-a278-0b2ff614ef08" providerId="ADAL" clId="{C306FF50-8479-4715-8969-CDEBA8863634}" dt="2021-09-23T14:14:02.143" v="9330" actId="20577"/>
          <ac:spMkLst>
            <pc:docMk/>
            <pc:sldMk cId="1426701770" sldId="275"/>
            <ac:spMk id="9" creationId="{0F207AB5-BEC0-44DE-AC6E-C4F1D23A3342}"/>
          </ac:spMkLst>
        </pc:spChg>
        <pc:spChg chg="add mod">
          <ac:chgData name="Kopper, Jordan" userId="b70b14be-98b2-4048-a278-0b2ff614ef08" providerId="ADAL" clId="{C306FF50-8479-4715-8969-CDEBA8863634}" dt="2021-09-23T14:13:59.887" v="9329" actId="20577"/>
          <ac:spMkLst>
            <pc:docMk/>
            <pc:sldMk cId="1426701770" sldId="275"/>
            <ac:spMk id="15" creationId="{59FBDB04-5AE3-456D-A8AF-E29A341B9162}"/>
          </ac:spMkLst>
        </pc:spChg>
        <pc:spChg chg="add del mod">
          <ac:chgData name="Kopper, Jordan" userId="b70b14be-98b2-4048-a278-0b2ff614ef08" providerId="ADAL" clId="{C306FF50-8479-4715-8969-CDEBA8863634}" dt="2021-09-17T03:22:41.767" v="6818" actId="1076"/>
          <ac:spMkLst>
            <pc:docMk/>
            <pc:sldMk cId="1426701770" sldId="275"/>
            <ac:spMk id="16" creationId="{136FCB63-7AB4-48BB-8F6D-48586840AA84}"/>
          </ac:spMkLst>
        </pc:spChg>
        <pc:spChg chg="add del mod">
          <ac:chgData name="Kopper, Jordan" userId="b70b14be-98b2-4048-a278-0b2ff614ef08" providerId="ADAL" clId="{C306FF50-8479-4715-8969-CDEBA8863634}" dt="2021-09-17T03:22:04.858" v="6805" actId="478"/>
          <ac:spMkLst>
            <pc:docMk/>
            <pc:sldMk cId="1426701770" sldId="275"/>
            <ac:spMk id="17" creationId="{FC9646C4-8456-4E33-8AE1-76EECA40446D}"/>
          </ac:spMkLst>
        </pc:spChg>
        <pc:spChg chg="add mod">
          <ac:chgData name="Kopper, Jordan" userId="b70b14be-98b2-4048-a278-0b2ff614ef08" providerId="ADAL" clId="{C306FF50-8479-4715-8969-CDEBA8863634}" dt="2021-09-17T03:19:54.432" v="6757" actId="14100"/>
          <ac:spMkLst>
            <pc:docMk/>
            <pc:sldMk cId="1426701770" sldId="275"/>
            <ac:spMk id="18" creationId="{5785B0BF-5849-41F0-9191-A3B80A24BC38}"/>
          </ac:spMkLst>
        </pc:spChg>
        <pc:spChg chg="add mod">
          <ac:chgData name="Kopper, Jordan" userId="b70b14be-98b2-4048-a278-0b2ff614ef08" providerId="ADAL" clId="{C306FF50-8479-4715-8969-CDEBA8863634}" dt="2021-09-17T13:53:36.629" v="8988" actId="14100"/>
          <ac:spMkLst>
            <pc:docMk/>
            <pc:sldMk cId="1426701770" sldId="275"/>
            <ac:spMk id="21" creationId="{B736B7CD-B195-437D-A2AD-47F5EF6775E5}"/>
          </ac:spMkLst>
        </pc:spChg>
        <pc:spChg chg="mod">
          <ac:chgData name="Kopper, Jordan" userId="b70b14be-98b2-4048-a278-0b2ff614ef08" providerId="ADAL" clId="{C306FF50-8479-4715-8969-CDEBA8863634}" dt="2021-09-17T03:13:21.070" v="6644" actId="27636"/>
          <ac:spMkLst>
            <pc:docMk/>
            <pc:sldMk cId="1426701770" sldId="275"/>
            <ac:spMk id="62" creationId="{9DA5307B-4072-4AB2-BDC3-746940965F9E}"/>
          </ac:spMkLst>
        </pc:spChg>
        <pc:picChg chg="del">
          <ac:chgData name="Kopper, Jordan" userId="b70b14be-98b2-4048-a278-0b2ff614ef08" providerId="ADAL" clId="{C306FF50-8479-4715-8969-CDEBA8863634}" dt="2021-09-17T03:13:00.844" v="6618" actId="478"/>
          <ac:picMkLst>
            <pc:docMk/>
            <pc:sldMk cId="1426701770" sldId="275"/>
            <ac:picMk id="3" creationId="{BAECFB55-D31C-43CF-902F-033494E4CB56}"/>
          </ac:picMkLst>
        </pc:picChg>
        <pc:picChg chg="add del mod">
          <ac:chgData name="Kopper, Jordan" userId="b70b14be-98b2-4048-a278-0b2ff614ef08" providerId="ADAL" clId="{C306FF50-8479-4715-8969-CDEBA8863634}" dt="2021-09-17T03:20:15.354" v="6760" actId="478"/>
          <ac:picMkLst>
            <pc:docMk/>
            <pc:sldMk cId="1426701770" sldId="275"/>
            <ac:picMk id="6" creationId="{934A04A2-8A3B-4557-9136-93BC77EEFAC5}"/>
          </ac:picMkLst>
        </pc:picChg>
        <pc:picChg chg="add del mod">
          <ac:chgData name="Kopper, Jordan" userId="b70b14be-98b2-4048-a278-0b2ff614ef08" providerId="ADAL" clId="{C306FF50-8479-4715-8969-CDEBA8863634}" dt="2021-09-17T13:53:17.221" v="8983" actId="478"/>
          <ac:picMkLst>
            <pc:docMk/>
            <pc:sldMk cId="1426701770" sldId="275"/>
            <ac:picMk id="7" creationId="{EB0FD46C-DFC7-4228-832E-0770C53D08E8}"/>
          </ac:picMkLst>
        </pc:picChg>
        <pc:picChg chg="add mod modCrop">
          <ac:chgData name="Kopper, Jordan" userId="b70b14be-98b2-4048-a278-0b2ff614ef08" providerId="ADAL" clId="{C306FF50-8479-4715-8969-CDEBA8863634}" dt="2021-09-17T03:19:19.255" v="6748" actId="1076"/>
          <ac:picMkLst>
            <pc:docMk/>
            <pc:sldMk cId="1426701770" sldId="275"/>
            <ac:picMk id="10" creationId="{A88BD279-5F07-4D4B-B1C7-79A84578DDD5}"/>
          </ac:picMkLst>
        </pc:picChg>
        <pc:picChg chg="add mod modCrop">
          <ac:chgData name="Kopper, Jordan" userId="b70b14be-98b2-4048-a278-0b2ff614ef08" providerId="ADAL" clId="{C306FF50-8479-4715-8969-CDEBA8863634}" dt="2021-09-17T03:19:19.255" v="6748" actId="1076"/>
          <ac:picMkLst>
            <pc:docMk/>
            <pc:sldMk cId="1426701770" sldId="275"/>
            <ac:picMk id="11" creationId="{90FCC321-4B21-4EF3-ABD1-0659D66E4C26}"/>
          </ac:picMkLst>
        </pc:picChg>
        <pc:picChg chg="add del mod">
          <ac:chgData name="Kopper, Jordan" userId="b70b14be-98b2-4048-a278-0b2ff614ef08" providerId="ADAL" clId="{C306FF50-8479-4715-8969-CDEBA8863634}" dt="2021-09-17T03:16:53.332" v="6701" actId="478"/>
          <ac:picMkLst>
            <pc:docMk/>
            <pc:sldMk cId="1426701770" sldId="275"/>
            <ac:picMk id="12" creationId="{40D3E29B-4C8E-44E2-ABDF-B32C281DFA9F}"/>
          </ac:picMkLst>
        </pc:picChg>
        <pc:picChg chg="add mod modCrop">
          <ac:chgData name="Kopper, Jordan" userId="b70b14be-98b2-4048-a278-0b2ff614ef08" providerId="ADAL" clId="{C306FF50-8479-4715-8969-CDEBA8863634}" dt="2021-09-17T03:19:19.255" v="6748" actId="1076"/>
          <ac:picMkLst>
            <pc:docMk/>
            <pc:sldMk cId="1426701770" sldId="275"/>
            <ac:picMk id="13" creationId="{4832C9CA-7A47-487E-9716-7EACC6A0575E}"/>
          </ac:picMkLst>
        </pc:picChg>
        <pc:picChg chg="add mod modCrop">
          <ac:chgData name="Kopper, Jordan" userId="b70b14be-98b2-4048-a278-0b2ff614ef08" providerId="ADAL" clId="{C306FF50-8479-4715-8969-CDEBA8863634}" dt="2021-09-17T03:19:19.255" v="6748" actId="1076"/>
          <ac:picMkLst>
            <pc:docMk/>
            <pc:sldMk cId="1426701770" sldId="275"/>
            <ac:picMk id="14" creationId="{5A27BAD9-D98E-49F3-98B7-C4F050F700AF}"/>
          </ac:picMkLst>
        </pc:picChg>
        <pc:picChg chg="add mod">
          <ac:chgData name="Kopper, Jordan" userId="b70b14be-98b2-4048-a278-0b2ff614ef08" providerId="ADAL" clId="{C306FF50-8479-4715-8969-CDEBA8863634}" dt="2021-09-17T03:20:13.783" v="6759"/>
          <ac:picMkLst>
            <pc:docMk/>
            <pc:sldMk cId="1426701770" sldId="275"/>
            <ac:picMk id="19" creationId="{16A526FB-88D8-4C6F-AF6F-39EB8137C467}"/>
          </ac:picMkLst>
        </pc:picChg>
        <pc:picChg chg="add del mod">
          <ac:chgData name="Kopper, Jordan" userId="b70b14be-98b2-4048-a278-0b2ff614ef08" providerId="ADAL" clId="{C306FF50-8479-4715-8969-CDEBA8863634}" dt="2021-09-17T13:53:18.793" v="8984" actId="478"/>
          <ac:picMkLst>
            <pc:docMk/>
            <pc:sldMk cId="1426701770" sldId="275"/>
            <ac:picMk id="20" creationId="{85B88471-7909-447E-8FC7-C0681ACF0F93}"/>
          </ac:picMkLst>
        </pc:picChg>
        <pc:picChg chg="mod">
          <ac:chgData name="Kopper, Jordan" userId="b70b14be-98b2-4048-a278-0b2ff614ef08" providerId="ADAL" clId="{C306FF50-8479-4715-8969-CDEBA8863634}" dt="2021-09-17T03:23:01.175" v="6823" actId="1076"/>
          <ac:picMkLst>
            <pc:docMk/>
            <pc:sldMk cId="1426701770" sldId="275"/>
            <ac:picMk id="59" creationId="{71C6B47D-AC61-41B8-AB1C-9C5C5A329096}"/>
          </ac:picMkLst>
        </pc:picChg>
      </pc:sldChg>
      <pc:sldChg chg="addSp modSp del">
        <pc:chgData name="Kopper, Jordan" userId="b70b14be-98b2-4048-a278-0b2ff614ef08" providerId="ADAL" clId="{C306FF50-8479-4715-8969-CDEBA8863634}" dt="2021-09-17T03:15:10.622" v="6684" actId="47"/>
        <pc:sldMkLst>
          <pc:docMk/>
          <pc:sldMk cId="2955989880" sldId="276"/>
        </pc:sldMkLst>
        <pc:picChg chg="add mod">
          <ac:chgData name="Kopper, Jordan" userId="b70b14be-98b2-4048-a278-0b2ff614ef08" providerId="ADAL" clId="{C306FF50-8479-4715-8969-CDEBA8863634}" dt="2021-09-16T13:54:49.623" v="5540"/>
          <ac:picMkLst>
            <pc:docMk/>
            <pc:sldMk cId="2955989880" sldId="276"/>
            <ac:picMk id="6" creationId="{421326C8-15D4-4660-93DB-F96A1EB89794}"/>
          </ac:picMkLst>
        </pc:picChg>
      </pc:sldChg>
      <pc:sldChg chg="addSp modSp del">
        <pc:chgData name="Kopper, Jordan" userId="b70b14be-98b2-4048-a278-0b2ff614ef08" providerId="ADAL" clId="{C306FF50-8479-4715-8969-CDEBA8863634}" dt="2021-09-17T03:23:12.651" v="6824" actId="47"/>
        <pc:sldMkLst>
          <pc:docMk/>
          <pc:sldMk cId="971943968" sldId="277"/>
        </pc:sldMkLst>
        <pc:picChg chg="add mod">
          <ac:chgData name="Kopper, Jordan" userId="b70b14be-98b2-4048-a278-0b2ff614ef08" providerId="ADAL" clId="{C306FF50-8479-4715-8969-CDEBA8863634}" dt="2021-09-16T13:54:50.735" v="5541"/>
          <ac:picMkLst>
            <pc:docMk/>
            <pc:sldMk cId="971943968" sldId="277"/>
            <ac:picMk id="6" creationId="{0A2F2BA1-E3AA-41F6-8E41-24D5C19929A2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03:39:51.491" v="7060" actId="14100"/>
        <pc:sldMkLst>
          <pc:docMk/>
          <pc:sldMk cId="1798864103" sldId="278"/>
        </pc:sldMkLst>
        <pc:spChg chg="mod">
          <ac:chgData name="Kopper, Jordan" userId="b70b14be-98b2-4048-a278-0b2ff614ef08" providerId="ADAL" clId="{C306FF50-8479-4715-8969-CDEBA8863634}" dt="2021-09-17T03:23:25.755" v="6826"/>
          <ac:spMkLst>
            <pc:docMk/>
            <pc:sldMk cId="1798864103" sldId="278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7T03:39:51.491" v="7060" actId="14100"/>
          <ac:spMkLst>
            <pc:docMk/>
            <pc:sldMk cId="1798864103" sldId="278"/>
            <ac:spMk id="9" creationId="{BEFA239C-4D55-419D-A4F1-D4FBD12B0BAA}"/>
          </ac:spMkLst>
        </pc:spChg>
        <pc:picChg chg="mod">
          <ac:chgData name="Kopper, Jordan" userId="b70b14be-98b2-4048-a278-0b2ff614ef08" providerId="ADAL" clId="{C306FF50-8479-4715-8969-CDEBA8863634}" dt="2021-09-17T03:39:43.787" v="7058" actId="1076"/>
          <ac:picMkLst>
            <pc:docMk/>
            <pc:sldMk cId="1798864103" sldId="278"/>
            <ac:picMk id="4" creationId="{0B332B15-017E-4749-A0B9-6229F9F1260E}"/>
          </ac:picMkLst>
        </pc:picChg>
        <pc:picChg chg="add del mod">
          <ac:chgData name="Kopper, Jordan" userId="b70b14be-98b2-4048-a278-0b2ff614ef08" providerId="ADAL" clId="{C306FF50-8479-4715-8969-CDEBA8863634}" dt="2021-09-17T03:24:05.749" v="6833" actId="478"/>
          <ac:picMkLst>
            <pc:docMk/>
            <pc:sldMk cId="1798864103" sldId="278"/>
            <ac:picMk id="6" creationId="{12C4AEC9-FF67-4CF3-B4AB-98960AA04492}"/>
          </ac:picMkLst>
        </pc:picChg>
        <pc:picChg chg="mod">
          <ac:chgData name="Kopper, Jordan" userId="b70b14be-98b2-4048-a278-0b2ff614ef08" providerId="ADAL" clId="{C306FF50-8479-4715-8969-CDEBA8863634}" dt="2021-09-17T03:39:08.851" v="7055" actId="1076"/>
          <ac:picMkLst>
            <pc:docMk/>
            <pc:sldMk cId="1798864103" sldId="278"/>
            <ac:picMk id="7" creationId="{CF481F2F-1087-466C-80A0-9063BC282B53}"/>
          </ac:picMkLst>
        </pc:picChg>
        <pc:picChg chg="add mod">
          <ac:chgData name="Kopper, Jordan" userId="b70b14be-98b2-4048-a278-0b2ff614ef08" providerId="ADAL" clId="{C306FF50-8479-4715-8969-CDEBA8863634}" dt="2021-09-17T03:23:56.920" v="6828"/>
          <ac:picMkLst>
            <pc:docMk/>
            <pc:sldMk cId="1798864103" sldId="278"/>
            <ac:picMk id="8" creationId="{1D1C75C3-3B3A-4C13-B106-08A35589747A}"/>
          </ac:picMkLst>
        </pc:picChg>
      </pc:sldChg>
      <pc:sldChg chg="addSp delSp modSp mod ord">
        <pc:chgData name="Kopper, Jordan" userId="b70b14be-98b2-4048-a278-0b2ff614ef08" providerId="ADAL" clId="{C306FF50-8479-4715-8969-CDEBA8863634}" dt="2021-09-23T13:52:12.986" v="9134"/>
        <pc:sldMkLst>
          <pc:docMk/>
          <pc:sldMk cId="281089481" sldId="279"/>
        </pc:sldMkLst>
        <pc:spChg chg="mod">
          <ac:chgData name="Kopper, Jordan" userId="b70b14be-98b2-4048-a278-0b2ff614ef08" providerId="ADAL" clId="{C306FF50-8479-4715-8969-CDEBA8863634}" dt="2021-09-17T03:41:56.708" v="7115" actId="20577"/>
          <ac:spMkLst>
            <pc:docMk/>
            <pc:sldMk cId="281089481" sldId="279"/>
            <ac:spMk id="2" creationId="{837EB5BE-E15E-4BB7-9DF9-57CAF803CCF0}"/>
          </ac:spMkLst>
        </pc:spChg>
        <pc:spChg chg="add del mod">
          <ac:chgData name="Kopper, Jordan" userId="b70b14be-98b2-4048-a278-0b2ff614ef08" providerId="ADAL" clId="{C306FF50-8479-4715-8969-CDEBA8863634}" dt="2021-09-17T03:39:57.484" v="7061" actId="478"/>
          <ac:spMkLst>
            <pc:docMk/>
            <pc:sldMk cId="281089481" sldId="279"/>
            <ac:spMk id="5" creationId="{0FEE9A5D-83EC-4969-8A18-923A5F2E6172}"/>
          </ac:spMkLst>
        </pc:spChg>
        <pc:spChg chg="add mod">
          <ac:chgData name="Kopper, Jordan" userId="b70b14be-98b2-4048-a278-0b2ff614ef08" providerId="ADAL" clId="{C306FF50-8479-4715-8969-CDEBA8863634}" dt="2021-09-17T03:40:23.467" v="7064" actId="14100"/>
          <ac:spMkLst>
            <pc:docMk/>
            <pc:sldMk cId="281089481" sldId="279"/>
            <ac:spMk id="8" creationId="{2F866ACC-6A75-4B12-ACB5-314E67AEEC14}"/>
          </ac:spMkLst>
        </pc:spChg>
        <pc:picChg chg="add del mod">
          <ac:chgData name="Kopper, Jordan" userId="b70b14be-98b2-4048-a278-0b2ff614ef08" providerId="ADAL" clId="{C306FF50-8479-4715-8969-CDEBA8863634}" dt="2021-09-17T03:24:07.122" v="6834" actId="478"/>
          <ac:picMkLst>
            <pc:docMk/>
            <pc:sldMk cId="281089481" sldId="279"/>
            <ac:picMk id="6" creationId="{A318D2BF-4C04-4282-B8E7-1113A6ED8DD4}"/>
          </ac:picMkLst>
        </pc:picChg>
        <pc:picChg chg="add mod">
          <ac:chgData name="Kopper, Jordan" userId="b70b14be-98b2-4048-a278-0b2ff614ef08" providerId="ADAL" clId="{C306FF50-8479-4715-8969-CDEBA8863634}" dt="2021-09-17T03:23:58.090" v="6829"/>
          <ac:picMkLst>
            <pc:docMk/>
            <pc:sldMk cId="281089481" sldId="279"/>
            <ac:picMk id="7" creationId="{B744B583-9937-442A-B684-BC7037314936}"/>
          </ac:picMkLst>
        </pc:picChg>
      </pc:sldChg>
      <pc:sldChg chg="addSp delSp modSp mod ord">
        <pc:chgData name="Kopper, Jordan" userId="b70b14be-98b2-4048-a278-0b2ff614ef08" providerId="ADAL" clId="{C306FF50-8479-4715-8969-CDEBA8863634}" dt="2021-09-23T13:51:23.029" v="9132"/>
        <pc:sldMkLst>
          <pc:docMk/>
          <pc:sldMk cId="3819679626" sldId="280"/>
        </pc:sldMkLst>
        <pc:spChg chg="mod">
          <ac:chgData name="Kopper, Jordan" userId="b70b14be-98b2-4048-a278-0b2ff614ef08" providerId="ADAL" clId="{C306FF50-8479-4715-8969-CDEBA8863634}" dt="2021-09-17T03:42:04.988" v="7123" actId="20577"/>
          <ac:spMkLst>
            <pc:docMk/>
            <pc:sldMk cId="3819679626" sldId="280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7T03:46:37.666" v="7209" actId="1076"/>
          <ac:spMkLst>
            <pc:docMk/>
            <pc:sldMk cId="3819679626" sldId="280"/>
            <ac:spMk id="9" creationId="{ACD07FAC-9443-4131-B600-67BD5F359F98}"/>
          </ac:spMkLst>
        </pc:spChg>
        <pc:spChg chg="add mod">
          <ac:chgData name="Kopper, Jordan" userId="b70b14be-98b2-4048-a278-0b2ff614ef08" providerId="ADAL" clId="{C306FF50-8479-4715-8969-CDEBA8863634}" dt="2021-09-17T03:46:37.666" v="7209" actId="1076"/>
          <ac:spMkLst>
            <pc:docMk/>
            <pc:sldMk cId="3819679626" sldId="280"/>
            <ac:spMk id="10" creationId="{1E0B0B74-A333-4917-B519-795C1B6E8AAD}"/>
          </ac:spMkLst>
        </pc:spChg>
        <pc:spChg chg="add mod">
          <ac:chgData name="Kopper, Jordan" userId="b70b14be-98b2-4048-a278-0b2ff614ef08" providerId="ADAL" clId="{C306FF50-8479-4715-8969-CDEBA8863634}" dt="2021-09-17T03:46:31.505" v="7208" actId="1076"/>
          <ac:spMkLst>
            <pc:docMk/>
            <pc:sldMk cId="3819679626" sldId="280"/>
            <ac:spMk id="12" creationId="{53AD4E14-322C-4A3D-9B2C-989CF2B94E5C}"/>
          </ac:spMkLst>
        </pc:spChg>
        <pc:picChg chg="mod modCrop">
          <ac:chgData name="Kopper, Jordan" userId="b70b14be-98b2-4048-a278-0b2ff614ef08" providerId="ADAL" clId="{C306FF50-8479-4715-8969-CDEBA8863634}" dt="2021-09-17T03:46:37.666" v="7209" actId="1076"/>
          <ac:picMkLst>
            <pc:docMk/>
            <pc:sldMk cId="3819679626" sldId="280"/>
            <ac:picMk id="4" creationId="{765610C5-5897-4560-9384-BBCD45ACD91F}"/>
          </ac:picMkLst>
        </pc:picChg>
        <pc:picChg chg="mod">
          <ac:chgData name="Kopper, Jordan" userId="b70b14be-98b2-4048-a278-0b2ff614ef08" providerId="ADAL" clId="{C306FF50-8479-4715-8969-CDEBA8863634}" dt="2021-09-17T03:46:37.666" v="7209" actId="1076"/>
          <ac:picMkLst>
            <pc:docMk/>
            <pc:sldMk cId="3819679626" sldId="280"/>
            <ac:picMk id="6" creationId="{B941AACF-03CA-40F1-A1B6-D2132221E427}"/>
          </ac:picMkLst>
        </pc:picChg>
        <pc:picChg chg="add del mod">
          <ac:chgData name="Kopper, Jordan" userId="b70b14be-98b2-4048-a278-0b2ff614ef08" providerId="ADAL" clId="{C306FF50-8479-4715-8969-CDEBA8863634}" dt="2021-09-17T03:24:08.680" v="6835" actId="478"/>
          <ac:picMkLst>
            <pc:docMk/>
            <pc:sldMk cId="3819679626" sldId="280"/>
            <ac:picMk id="7" creationId="{489F3759-0716-44D4-B6CF-FF4AD5DC0713}"/>
          </ac:picMkLst>
        </pc:picChg>
        <pc:picChg chg="add mod">
          <ac:chgData name="Kopper, Jordan" userId="b70b14be-98b2-4048-a278-0b2ff614ef08" providerId="ADAL" clId="{C306FF50-8479-4715-8969-CDEBA8863634}" dt="2021-09-17T03:23:58.842" v="6830"/>
          <ac:picMkLst>
            <pc:docMk/>
            <pc:sldMk cId="3819679626" sldId="280"/>
            <ac:picMk id="8" creationId="{4CA232B0-24AF-4CA6-A5CF-CB2D1D5424F3}"/>
          </ac:picMkLst>
        </pc:picChg>
        <pc:picChg chg="add mod modCrop">
          <ac:chgData name="Kopper, Jordan" userId="b70b14be-98b2-4048-a278-0b2ff614ef08" providerId="ADAL" clId="{C306FF50-8479-4715-8969-CDEBA8863634}" dt="2021-09-17T03:46:31.505" v="7208" actId="1076"/>
          <ac:picMkLst>
            <pc:docMk/>
            <pc:sldMk cId="3819679626" sldId="280"/>
            <ac:picMk id="11" creationId="{ED745732-B117-4077-8528-F87601E9E906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03:47:00.234" v="7211" actId="732"/>
        <pc:sldMkLst>
          <pc:docMk/>
          <pc:sldMk cId="1773710872" sldId="281"/>
        </pc:sldMkLst>
        <pc:spChg chg="add mod">
          <ac:chgData name="Kopper, Jordan" userId="b70b14be-98b2-4048-a278-0b2ff614ef08" providerId="ADAL" clId="{C306FF50-8479-4715-8969-CDEBA8863634}" dt="2021-09-17T03:46:53.035" v="7210" actId="1076"/>
          <ac:spMkLst>
            <pc:docMk/>
            <pc:sldMk cId="1773710872" sldId="281"/>
            <ac:spMk id="6" creationId="{642A5988-3549-446B-AC21-A9183C2C24FE}"/>
          </ac:spMkLst>
        </pc:spChg>
        <pc:picChg chg="mod modCrop">
          <ac:chgData name="Kopper, Jordan" userId="b70b14be-98b2-4048-a278-0b2ff614ef08" providerId="ADAL" clId="{C306FF50-8479-4715-8969-CDEBA8863634}" dt="2021-09-17T03:47:00.234" v="7211" actId="732"/>
          <ac:picMkLst>
            <pc:docMk/>
            <pc:sldMk cId="1773710872" sldId="281"/>
            <ac:picMk id="3" creationId="{8B8C05B4-62D1-461D-8BD8-F80FB96F52CB}"/>
          </ac:picMkLst>
        </pc:picChg>
        <pc:picChg chg="mod">
          <ac:chgData name="Kopper, Jordan" userId="b70b14be-98b2-4048-a278-0b2ff614ef08" providerId="ADAL" clId="{C306FF50-8479-4715-8969-CDEBA8863634}" dt="2021-09-17T03:46:53.035" v="7210" actId="1076"/>
          <ac:picMkLst>
            <pc:docMk/>
            <pc:sldMk cId="1773710872" sldId="281"/>
            <ac:picMk id="5" creationId="{7D5F82AE-8B79-481C-B766-223452A31D0E}"/>
          </ac:picMkLst>
        </pc:picChg>
        <pc:picChg chg="add del mod">
          <ac:chgData name="Kopper, Jordan" userId="b70b14be-98b2-4048-a278-0b2ff614ef08" providerId="ADAL" clId="{C306FF50-8479-4715-8969-CDEBA8863634}" dt="2021-09-17T03:24:10.291" v="6836" actId="478"/>
          <ac:picMkLst>
            <pc:docMk/>
            <pc:sldMk cId="1773710872" sldId="281"/>
            <ac:picMk id="7" creationId="{F8A0B45F-9F44-46EC-BB5F-B841EA3B258F}"/>
          </ac:picMkLst>
        </pc:picChg>
        <pc:picChg chg="add mod">
          <ac:chgData name="Kopper, Jordan" userId="b70b14be-98b2-4048-a278-0b2ff614ef08" providerId="ADAL" clId="{C306FF50-8479-4715-8969-CDEBA8863634}" dt="2021-09-17T03:24:00.609" v="6831"/>
          <ac:picMkLst>
            <pc:docMk/>
            <pc:sldMk cId="1773710872" sldId="281"/>
            <ac:picMk id="8" creationId="{99A423AC-9D4E-46AA-B740-1F26D1223DD6}"/>
          </ac:picMkLst>
        </pc:picChg>
      </pc:sldChg>
      <pc:sldChg chg="del">
        <pc:chgData name="Kopper, Jordan" userId="b70b14be-98b2-4048-a278-0b2ff614ef08" providerId="ADAL" clId="{C306FF50-8479-4715-8969-CDEBA8863634}" dt="2021-09-11T13:03:28.160" v="1168" actId="47"/>
        <pc:sldMkLst>
          <pc:docMk/>
          <pc:sldMk cId="3841469185" sldId="282"/>
        </pc:sldMkLst>
      </pc:sldChg>
      <pc:sldChg chg="addSp delSp modSp add mod modAnim">
        <pc:chgData name="Kopper, Jordan" userId="b70b14be-98b2-4048-a278-0b2ff614ef08" providerId="ADAL" clId="{C306FF50-8479-4715-8969-CDEBA8863634}" dt="2021-09-17T14:04:41.904" v="9062"/>
        <pc:sldMkLst>
          <pc:docMk/>
          <pc:sldMk cId="3948060622" sldId="283"/>
        </pc:sldMkLst>
        <pc:spChg chg="del">
          <ac:chgData name="Kopper, Jordan" userId="b70b14be-98b2-4048-a278-0b2ff614ef08" providerId="ADAL" clId="{C306FF50-8479-4715-8969-CDEBA8863634}" dt="2021-09-11T12:26:04.577" v="490" actId="478"/>
          <ac:spMkLst>
            <pc:docMk/>
            <pc:sldMk cId="3948060622" sldId="283"/>
            <ac:spMk id="2" creationId="{837EB5BE-E15E-4BB7-9DF9-57CAF803CCF0}"/>
          </ac:spMkLst>
        </pc:spChg>
        <pc:spChg chg="add del mod">
          <ac:chgData name="Kopper, Jordan" userId="b70b14be-98b2-4048-a278-0b2ff614ef08" providerId="ADAL" clId="{C306FF50-8479-4715-8969-CDEBA8863634}" dt="2021-09-11T12:26:07.597" v="491" actId="478"/>
          <ac:spMkLst>
            <pc:docMk/>
            <pc:sldMk cId="3948060622" sldId="283"/>
            <ac:spMk id="4" creationId="{0E5A0511-2570-4463-8C07-743A97FD5E0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7" creationId="{00478DA0-5F53-4BA2-B295-C43385FEDFD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8" creationId="{0A5C2A45-702E-4843-A793-1377EC06EFA8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9" creationId="{2E0D808D-4C54-4B0C-BC30-16BA81FFA58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0" creationId="{1A318375-0C4D-4095-AACF-457F31056D9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1" creationId="{07E0E795-0FC9-46BB-9E0C-AAC36C3091B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" creationId="{1F70064A-66F9-4820-9E8A-0D6EB4990E7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" creationId="{B2EB0937-BE4F-46D6-8844-CC1E8523AAE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4" creationId="{B3DA7728-1D54-4CD2-9971-E76864633D7B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5" creationId="{745BA913-D56A-4DB1-8EF4-142CE910A0E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6" creationId="{7FF0DBD5-91D0-4D80-B0A9-B591FD609D5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7" creationId="{A1E02204-1373-4DA2-801E-81F692A4E72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8" creationId="{3B81104B-700D-48C8-AABF-0791DF96A6B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9" creationId="{88CAFB05-18C8-4FB6-B2F6-7443F68DA83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0" creationId="{3878EFF8-3C94-497E-8DA7-7208C281F00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1" creationId="{5657425C-E249-4365-9F99-F7F28B727AC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2" creationId="{FDF721D3-8F37-4279-8880-788661A9E73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3" creationId="{5E0F1844-3343-4F05-92EE-F47E2055881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4" creationId="{700D01A0-F874-4973-BF09-7879DC5D4E1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5" creationId="{C49A675A-189D-46E3-9385-6B016F904E5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6" creationId="{706AA129-7117-45F2-89C6-6ABD04835E8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7" creationId="{DEDA0D49-8130-41B0-B1B9-6FED71D41C2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8" creationId="{9BFB9C1F-459E-47FB-92BF-90368AD105B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29" creationId="{475D6C64-6DB1-4DD0-8D0B-07CDCD06F5AE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0" creationId="{33FDC436-5BB1-4162-8117-E04752D3AAE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1" creationId="{458ED04C-AA93-4B3A-8A2E-4B441C9BFB5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2" creationId="{A8B99683-1F01-44BC-95E6-4DF6CEAE874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3" creationId="{51986061-8B5E-45FC-974E-BD9C794C736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4" creationId="{1DE26E8E-2775-4843-AE55-2B1060104388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5" creationId="{55B2F3CE-8432-4112-9AFA-8EF106EF3C2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6" creationId="{0606C279-74B1-4D50-B9E4-F559F9FA0C2B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7" creationId="{6B29EABE-BB06-4963-AB11-99A2AD1B4A0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8" creationId="{70AAB654-1D78-415E-9D1F-F5267964294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39" creationId="{820ADEA6-C0D6-4BE0-82D8-AA031AE7DAA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0" creationId="{F36438F2-9756-42A9-9B3D-B676F67C336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1" creationId="{8B0E109E-5809-43F1-AA07-3B3A297DAFEE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2" creationId="{EB01FB9A-1FC7-4468-9F2D-3B23722796D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3" creationId="{A084F2E0-3D69-4817-9066-7A2BD5C36E8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4" creationId="{D2EDCB2F-41BE-444E-B291-355983C7BE9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" creationId="{6CF68061-4E2F-4E2E-B8B3-36A6879272A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" creationId="{FFEEBF7F-D21E-48DF-9604-B4CBEE350E6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" creationId="{A1090BBA-6F4E-4427-9E1F-FB2D83800F3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8" creationId="{1C31E771-432F-4D7A-A7E4-2C8948B9295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9" creationId="{67F4BCA9-D16D-4149-AFFD-A33EA9502BC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0" creationId="{1C689A48-1582-4A6C-B81E-0D48E191E96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1" creationId="{74148217-DE97-42DB-BCEC-D47A83D722F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2" creationId="{8A7BE605-1DA0-42D9-B50A-373CCED0681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3" creationId="{5000FBE7-B290-4571-9642-43F783C9D38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4" creationId="{FDC7BA7F-7FD7-4672-9F52-6B37F385352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5" creationId="{0AC8A281-9621-4998-B699-2329DF65B6A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6" creationId="{07932A34-7BD6-48ED-B3ED-ACE8431DB83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7" creationId="{31CCF6D2-4BA2-414E-9C14-781A4453E35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8" creationId="{E31E52CD-0985-4BF1-8EF8-9E981A42B0F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59" creationId="{61511739-7A99-4048-BAE0-D368829A5084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60" creationId="{75F66175-9B6F-4E12-948A-9732558E29B9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61" creationId="{96A721E4-60FC-4C5F-9BAB-BCA2897FFE68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62" creationId="{65B2CFEB-18EC-424D-9942-ED8B7165488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63" creationId="{8752BC8E-41CF-4E0E-B43A-E66BBE448AEB}"/>
          </ac:spMkLst>
        </pc:spChg>
        <pc:spChg chg="del">
          <ac:chgData name="Kopper, Jordan" userId="b70b14be-98b2-4048-a278-0b2ff614ef08" providerId="ADAL" clId="{C306FF50-8479-4715-8969-CDEBA8863634}" dt="2021-09-11T12:26:04.577" v="490" actId="478"/>
          <ac:spMkLst>
            <pc:docMk/>
            <pc:sldMk cId="3948060622" sldId="283"/>
            <ac:spMk id="99" creationId="{5DCAE2BB-E704-4164-9180-D328C7BCC4E9}"/>
          </ac:spMkLst>
        </pc:spChg>
        <pc:spChg chg="del mod">
          <ac:chgData name="Kopper, Jordan" userId="b70b14be-98b2-4048-a278-0b2ff614ef08" providerId="ADAL" clId="{C306FF50-8479-4715-8969-CDEBA8863634}" dt="2021-09-11T12:33:57.775" v="643" actId="478"/>
          <ac:spMkLst>
            <pc:docMk/>
            <pc:sldMk cId="3948060622" sldId="283"/>
            <ac:spMk id="102" creationId="{08F00491-711D-49BC-8B51-2F69B990F8E6}"/>
          </ac:spMkLst>
        </pc:spChg>
        <pc:spChg chg="del mod">
          <ac:chgData name="Kopper, Jordan" userId="b70b14be-98b2-4048-a278-0b2ff614ef08" providerId="ADAL" clId="{C306FF50-8479-4715-8969-CDEBA8863634}" dt="2021-09-11T12:33:14.401" v="634" actId="478"/>
          <ac:spMkLst>
            <pc:docMk/>
            <pc:sldMk cId="3948060622" sldId="283"/>
            <ac:spMk id="103" creationId="{3790410A-026B-47E1-AD9A-709BCCE213B7}"/>
          </ac:spMkLst>
        </pc:spChg>
        <pc:spChg chg="add del 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06" creationId="{EA623B6D-D842-42F5-A7E5-9282C817ED69}"/>
          </ac:spMkLst>
        </pc:spChg>
        <pc:spChg chg="add del 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07" creationId="{873AB885-2294-4C02-9DEF-9526125C9801}"/>
          </ac:spMkLst>
        </pc:spChg>
        <pc:spChg chg="mod">
          <ac:chgData name="Kopper, Jordan" userId="b70b14be-98b2-4048-a278-0b2ff614ef08" providerId="ADAL" clId="{C306FF50-8479-4715-8969-CDEBA8863634}" dt="2021-09-11T12:26:45.998" v="494" actId="1076"/>
          <ac:spMkLst>
            <pc:docMk/>
            <pc:sldMk cId="3948060622" sldId="283"/>
            <ac:spMk id="109" creationId="{4A544B09-9AB8-40D4-97FF-FF055D84E957}"/>
          </ac:spMkLst>
        </pc:spChg>
        <pc:spChg chg="mod">
          <ac:chgData name="Kopper, Jordan" userId="b70b14be-98b2-4048-a278-0b2ff614ef08" providerId="ADAL" clId="{C306FF50-8479-4715-8969-CDEBA8863634}" dt="2021-09-11T12:26:45.998" v="494" actId="1076"/>
          <ac:spMkLst>
            <pc:docMk/>
            <pc:sldMk cId="3948060622" sldId="283"/>
            <ac:spMk id="110" creationId="{8A2364AF-2109-4636-82AF-3AD40716A2DD}"/>
          </ac:spMkLst>
        </pc:spChg>
        <pc:spChg chg="mod">
          <ac:chgData name="Kopper, Jordan" userId="b70b14be-98b2-4048-a278-0b2ff614ef08" providerId="ADAL" clId="{C306FF50-8479-4715-8969-CDEBA8863634}" dt="2021-09-11T12:26:45.998" v="494" actId="1076"/>
          <ac:spMkLst>
            <pc:docMk/>
            <pc:sldMk cId="3948060622" sldId="283"/>
            <ac:spMk id="111" creationId="{95744281-BA0B-4809-9C6C-4C70066E24B1}"/>
          </ac:spMkLst>
        </pc:spChg>
        <pc:spChg chg="del mod">
          <ac:chgData name="Kopper, Jordan" userId="b70b14be-98b2-4048-a278-0b2ff614ef08" providerId="ADAL" clId="{C306FF50-8479-4715-8969-CDEBA8863634}" dt="2021-09-11T12:33:31.477" v="639" actId="478"/>
          <ac:spMkLst>
            <pc:docMk/>
            <pc:sldMk cId="3948060622" sldId="283"/>
            <ac:spMk id="112" creationId="{B90B6BDE-8E97-46E9-A0EA-320FD5537324}"/>
          </ac:spMkLst>
        </pc:spChg>
        <pc:spChg chg="mod">
          <ac:chgData name="Kopper, Jordan" userId="b70b14be-98b2-4048-a278-0b2ff614ef08" providerId="ADAL" clId="{C306FF50-8479-4715-8969-CDEBA8863634}" dt="2021-09-11T12:29:29.705" v="579" actId="1076"/>
          <ac:spMkLst>
            <pc:docMk/>
            <pc:sldMk cId="3948060622" sldId="283"/>
            <ac:spMk id="114" creationId="{37FCEC5E-7924-414D-84E3-50BD9A57C0DA}"/>
          </ac:spMkLst>
        </pc:spChg>
        <pc:spChg chg="mod">
          <ac:chgData name="Kopper, Jordan" userId="b70b14be-98b2-4048-a278-0b2ff614ef08" providerId="ADAL" clId="{C306FF50-8479-4715-8969-CDEBA8863634}" dt="2021-09-11T12:29:29.705" v="579" actId="1076"/>
          <ac:spMkLst>
            <pc:docMk/>
            <pc:sldMk cId="3948060622" sldId="283"/>
            <ac:spMk id="115" creationId="{3A0F2048-21FA-4ED4-BAD4-D66100BC228D}"/>
          </ac:spMkLst>
        </pc:spChg>
        <pc:spChg chg="mod">
          <ac:chgData name="Kopper, Jordan" userId="b70b14be-98b2-4048-a278-0b2ff614ef08" providerId="ADAL" clId="{C306FF50-8479-4715-8969-CDEBA8863634}" dt="2021-09-11T12:29:29.705" v="579" actId="1076"/>
          <ac:spMkLst>
            <pc:docMk/>
            <pc:sldMk cId="3948060622" sldId="283"/>
            <ac:spMk id="116" creationId="{71A92A74-B178-4ABA-B989-42585310E32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17" creationId="{FAC6E736-FF4C-41EE-AA8A-35E5A5B4C90B}"/>
          </ac:spMkLst>
        </pc:spChg>
        <pc:spChg chg="del mod">
          <ac:chgData name="Kopper, Jordan" userId="b70b14be-98b2-4048-a278-0b2ff614ef08" providerId="ADAL" clId="{C306FF50-8479-4715-8969-CDEBA8863634}" dt="2021-09-11T12:32:47.768" v="627" actId="478"/>
          <ac:spMkLst>
            <pc:docMk/>
            <pc:sldMk cId="3948060622" sldId="283"/>
            <ac:spMk id="118" creationId="{CDCA6E1D-F885-4FEB-B1EC-B3F837FBBB69}"/>
          </ac:spMkLst>
        </pc:spChg>
        <pc:spChg chg="del mod">
          <ac:chgData name="Kopper, Jordan" userId="b70b14be-98b2-4048-a278-0b2ff614ef08" providerId="ADAL" clId="{C306FF50-8479-4715-8969-CDEBA8863634}" dt="2021-09-11T12:32:49.650" v="628" actId="478"/>
          <ac:spMkLst>
            <pc:docMk/>
            <pc:sldMk cId="3948060622" sldId="283"/>
            <ac:spMk id="119" creationId="{DC4E39CB-8791-41E2-979E-A067BB56E23B}"/>
          </ac:spMkLst>
        </pc:spChg>
        <pc:spChg chg="add mod">
          <ac:chgData name="Kopper, Jordan" userId="b70b14be-98b2-4048-a278-0b2ff614ef08" providerId="ADAL" clId="{C306FF50-8479-4715-8969-CDEBA8863634}" dt="2021-09-11T12:25:18.898" v="481"/>
          <ac:spMkLst>
            <pc:docMk/>
            <pc:sldMk cId="3948060622" sldId="283"/>
            <ac:spMk id="120" creationId="{EB5AF78C-BA08-44BA-877A-9DD9034786B7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2" creationId="{A84F8FD6-11BE-47A9-BB42-93A5BCB7C5D7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3" creationId="{56ED7F78-04E3-455E-B43E-3B39B91770E8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4" creationId="{A7B73376-CB0E-47E4-AC20-4883C6EBFC5D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5" creationId="{F174CCFB-267E-433F-A882-42CDCB8252AA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6" creationId="{281EAA3A-A5B0-4CBD-9A4A-73557EA58F3E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7" creationId="{49100827-5607-4920-9D4C-8654B5448FC1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28" creationId="{46D97566-034F-4C6B-ADB1-007E8D1EA0C9}"/>
          </ac:spMkLst>
        </pc:spChg>
        <pc:spChg chg="add del mod">
          <ac:chgData name="Kopper, Jordan" userId="b70b14be-98b2-4048-a278-0b2ff614ef08" providerId="ADAL" clId="{C306FF50-8479-4715-8969-CDEBA8863634}" dt="2021-09-11T12:48:47.318" v="856" actId="478"/>
          <ac:spMkLst>
            <pc:docMk/>
            <pc:sldMk cId="3948060622" sldId="283"/>
            <ac:spMk id="129" creationId="{30F4292B-9372-417B-8189-B8FABCA8E337}"/>
          </ac:spMkLst>
        </pc:spChg>
        <pc:spChg chg="add del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0" creationId="{32AD5EE7-03FC-409D-9C5A-641B976E2656}"/>
          </ac:spMkLst>
        </pc:spChg>
        <pc:spChg chg="add del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1" creationId="{28EF69AE-62F3-432B-8458-D2567446C838}"/>
          </ac:spMkLst>
        </pc:spChg>
        <pc:spChg chg="add 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2" creationId="{73DCE616-F8A6-4D42-882C-D68D9C15C580}"/>
          </ac:spMkLst>
        </pc:spChg>
        <pc:spChg chg="add 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33" creationId="{3E2C6D16-FBB8-4D4F-82E7-2871CD027B5C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40" creationId="{7D297840-D5A4-49AF-9B2A-42D07A0AA853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41" creationId="{AAAFF491-7EC6-4DF0-8BF0-17CADD6A895D}"/>
          </ac:spMkLst>
        </pc:spChg>
        <pc:spChg chg="add 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142" creationId="{E8CDD4B7-2A73-47F6-8D71-841E0AAFD7CA}"/>
          </ac:spMkLst>
        </pc:spChg>
        <pc:spChg chg="add del mod">
          <ac:chgData name="Kopper, Jordan" userId="b70b14be-98b2-4048-a278-0b2ff614ef08" providerId="ADAL" clId="{C306FF50-8479-4715-8969-CDEBA8863634}" dt="2021-09-11T12:51:06.107" v="903" actId="478"/>
          <ac:spMkLst>
            <pc:docMk/>
            <pc:sldMk cId="3948060622" sldId="283"/>
            <ac:spMk id="143" creationId="{E4932E76-1B01-4B7A-B04C-9BAC33BDED5F}"/>
          </ac:spMkLst>
        </pc:spChg>
        <pc:spChg chg="add del mod">
          <ac:chgData name="Kopper, Jordan" userId="b70b14be-98b2-4048-a278-0b2ff614ef08" providerId="ADAL" clId="{C306FF50-8479-4715-8969-CDEBA8863634}" dt="2021-09-11T12:51:06.107" v="903" actId="478"/>
          <ac:spMkLst>
            <pc:docMk/>
            <pc:sldMk cId="3948060622" sldId="283"/>
            <ac:spMk id="144" creationId="{C63734FC-E019-4ACB-8779-79637BA6B9A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48" creationId="{5C6657DA-082A-4A8B-84CB-10C43BFB2B28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49" creationId="{E3007F5B-7547-4A73-A537-6057870692E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0" creationId="{66D210FB-1B79-4800-B82E-565D0844AE7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1" creationId="{E88A92DB-58C8-4370-BAA1-16BB3E7548C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2" creationId="{13916BD3-B99B-4F9C-909C-CEBAA47FB12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3" creationId="{BEE3ACCC-9A48-4F95-A9F2-F6DD2A505867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4" creationId="{D407D952-5E58-4259-A7B7-555AD9D68D1E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5" creationId="{7BC87492-76FD-47A9-9634-85D14BE9015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6" creationId="{783CA660-B072-41C6-8025-F7A870B6455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7" creationId="{67BAD74E-CFAD-49C9-A4B2-068A31122DAB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8" creationId="{BF8190B1-E84C-4648-BEF3-1053AE18102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59" creationId="{A7136D80-1C1B-4451-B2F2-CF227FB35B4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0" creationId="{A99EF33A-D424-43AC-83DB-5C1123A813C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1" creationId="{2E6AA20D-C95B-4421-B050-67F59E84B58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2" creationId="{45D5D2FF-127E-49A9-94F3-51E054A58DFF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3" creationId="{51D7B23D-F446-4A30-ACFE-DD34ABF9B64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4" creationId="{587113E2-FE6A-4E65-8E3C-70FEFCA324D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5" creationId="{F2AA5468-747F-4193-BD57-5C61377F385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6" creationId="{2764DF5E-AD30-403C-A5D8-FABD1693741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7" creationId="{189198CB-9DA6-4117-9C7E-78CCB7D2EE5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8" creationId="{AF08C6DF-E323-4D27-9E9B-9B71EFA74682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69" creationId="{9472F27D-1B65-420D-8BA9-70909B25A47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0" creationId="{CD3FD140-4274-4734-979D-7A9CEB108B9E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1" creationId="{DFCE9C54-BB4F-4715-B7B5-5BF184D7C030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2" creationId="{A416F68A-1D0A-47E1-A79F-547D7A8D832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3" creationId="{D3045E62-D7E5-4CF3-8D4F-E796AFA8E751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4" creationId="{B46FFF2F-FAC6-4668-A1A0-8236F9E7B34B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5" creationId="{4F7AF409-A095-47EE-8AC6-0505EB87B18C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6" creationId="{DBC7F8F1-9591-4A46-AC0D-345A1A03145A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7" creationId="{9AF51D1B-C3E7-4946-8F3E-3F29ADBCE933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8" creationId="{C35473AA-589A-4146-BD2A-183448F22ADD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79" creationId="{5391834A-815A-4F41-8D98-D04403952745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80" creationId="{EB039466-EBBC-4642-AD9E-7E46BBDCFA36}"/>
          </ac:spMkLst>
        </pc:spChg>
        <pc:spChg chg="mo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82" creationId="{59D5A818-570F-4460-8D01-6E17CE2F6847}"/>
          </ac:spMkLst>
        </pc:spChg>
        <pc:spChg chg="mod ord">
          <ac:chgData name="Kopper, Jordan" userId="b70b14be-98b2-4048-a278-0b2ff614ef08" providerId="ADAL" clId="{C306FF50-8479-4715-8969-CDEBA8863634}" dt="2021-09-11T12:55:01.889" v="968" actId="1076"/>
          <ac:spMkLst>
            <pc:docMk/>
            <pc:sldMk cId="3948060622" sldId="283"/>
            <ac:spMk id="483" creationId="{1376E014-B6BC-4B8D-98DA-0483C97ABB06}"/>
          </ac:spMkLst>
        </pc:spChg>
        <pc:spChg chg="del mod">
          <ac:chgData name="Kopper, Jordan" userId="b70b14be-98b2-4048-a278-0b2ff614ef08" providerId="ADAL" clId="{C306FF50-8479-4715-8969-CDEBA8863634}" dt="2021-09-11T12:34:24.220" v="648" actId="478"/>
          <ac:spMkLst>
            <pc:docMk/>
            <pc:sldMk cId="3948060622" sldId="283"/>
            <ac:spMk id="484" creationId="{1476E30E-6D08-46D4-AAE1-BAD1255DFF24}"/>
          </ac:spMkLst>
        </pc:spChg>
        <pc:grpChg chg="del mod">
          <ac:chgData name="Kopper, Jordan" userId="b70b14be-98b2-4048-a278-0b2ff614ef08" providerId="ADAL" clId="{C306FF50-8479-4715-8969-CDEBA8863634}" dt="2021-09-11T12:33:15.387" v="635" actId="478"/>
          <ac:grpSpMkLst>
            <pc:docMk/>
            <pc:sldMk cId="3948060622" sldId="283"/>
            <ac:grpSpMk id="108" creationId="{20945CE0-A99B-4B2D-A1E9-B772E1D4E08C}"/>
          </ac:grpSpMkLst>
        </pc:grpChg>
        <pc:grpChg chg="del mod">
          <ac:chgData name="Kopper, Jordan" userId="b70b14be-98b2-4048-a278-0b2ff614ef08" providerId="ADAL" clId="{C306FF50-8479-4715-8969-CDEBA8863634}" dt="2021-09-11T12:34:22.014" v="647" actId="478"/>
          <ac:grpSpMkLst>
            <pc:docMk/>
            <pc:sldMk cId="3948060622" sldId="283"/>
            <ac:grpSpMk id="113" creationId="{936B8722-6567-4326-8ECB-DADDF6A435ED}"/>
          </ac:grpSpMkLst>
        </pc:grpChg>
        <pc:grpChg chg="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81" creationId="{CB205E7D-BE84-43AD-A479-B8F51BFC6415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2" creationId="{AB7A946B-5E17-4759-A55A-0C3857774841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3" creationId="{4B3A69ED-C50E-4275-8697-C6DBBC3965DE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4" creationId="{30B34EC7-FFB9-470C-B38C-763A2EAFAEA0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5" creationId="{88E2E88C-8FFD-419E-B46E-A6D8623470BD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6" creationId="{1FBCCCE0-67CE-4571-896F-F2F47DC2DDDB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7" creationId="{01FA0FEF-4707-47C7-9BB6-1691F344DE61}"/>
          </ac:grpSpMkLst>
        </pc:grpChg>
        <pc:grpChg chg="add mod">
          <ac:chgData name="Kopper, Jordan" userId="b70b14be-98b2-4048-a278-0b2ff614ef08" providerId="ADAL" clId="{C306FF50-8479-4715-8969-CDEBA8863634}" dt="2021-09-11T12:55:01.889" v="968" actId="1076"/>
          <ac:grpSpMkLst>
            <pc:docMk/>
            <pc:sldMk cId="3948060622" sldId="283"/>
            <ac:grpSpMk id="498" creationId="{57700113-1ABC-4C2A-8C97-E6EF635AAECD}"/>
          </ac:grpSpMkLst>
        </pc:grpChg>
        <pc:picChg chg="add mod">
          <ac:chgData name="Kopper, Jordan" userId="b70b14be-98b2-4048-a278-0b2ff614ef08" providerId="ADAL" clId="{C306FF50-8479-4715-8969-CDEBA8863634}" dt="2021-09-11T12:55:01.889" v="968" actId="1076"/>
          <ac:picMkLst>
            <pc:docMk/>
            <pc:sldMk cId="3948060622" sldId="283"/>
            <ac:picMk id="6" creationId="{712C0E81-BED1-4924-8FE9-02A97C66E40C}"/>
          </ac:picMkLst>
        </pc:picChg>
        <pc:picChg chg="mod ord">
          <ac:chgData name="Kopper, Jordan" userId="b70b14be-98b2-4048-a278-0b2ff614ef08" providerId="ADAL" clId="{C306FF50-8479-4715-8969-CDEBA8863634}" dt="2021-09-11T12:50:58.429" v="900" actId="108"/>
          <ac:picMkLst>
            <pc:docMk/>
            <pc:sldMk cId="3948060622" sldId="283"/>
            <ac:picMk id="100" creationId="{2F18C653-7C32-4F37-B735-7895F7CFDF89}"/>
          </ac:picMkLst>
        </pc:picChg>
        <pc:picChg chg="add del mod">
          <ac:chgData name="Kopper, Jordan" userId="b70b14be-98b2-4048-a278-0b2ff614ef08" providerId="ADAL" clId="{C306FF50-8479-4715-8969-CDEBA8863634}" dt="2021-09-11T12:25:59.660" v="489" actId="478"/>
          <ac:picMkLst>
            <pc:docMk/>
            <pc:sldMk cId="3948060622" sldId="283"/>
            <ac:picMk id="121" creationId="{E938E7F8-5B70-4220-830C-9358C7E39A0F}"/>
          </ac:picMkLst>
        </pc:picChg>
        <pc:picChg chg="add mod">
          <ac:chgData name="Kopper, Jordan" userId="b70b14be-98b2-4048-a278-0b2ff614ef08" providerId="ADAL" clId="{C306FF50-8479-4715-8969-CDEBA8863634}" dt="2021-09-17T14:04:41.904" v="9062"/>
          <ac:picMkLst>
            <pc:docMk/>
            <pc:sldMk cId="3948060622" sldId="283"/>
            <ac:picMk id="129" creationId="{3E67FA59-1C8C-4CAB-9A98-F22DED10DB92}"/>
          </ac:picMkLst>
        </pc:picChg>
        <pc:picChg chg="add del mod">
          <ac:chgData name="Kopper, Jordan" userId="b70b14be-98b2-4048-a278-0b2ff614ef08" providerId="ADAL" clId="{C306FF50-8479-4715-8969-CDEBA8863634}" dt="2021-09-17T02:29:51.414" v="5645" actId="478"/>
          <ac:picMkLst>
            <pc:docMk/>
            <pc:sldMk cId="3948060622" sldId="283"/>
            <ac:picMk id="129" creationId="{B9AAC964-1B36-4C93-A955-338BE25A1528}"/>
          </ac:picMkLst>
        </pc:picChg>
        <pc:picChg chg="add del mod">
          <ac:chgData name="Kopper, Jordan" userId="b70b14be-98b2-4048-a278-0b2ff614ef08" providerId="ADAL" clId="{C306FF50-8479-4715-8969-CDEBA8863634}" dt="2021-09-17T14:04:41.495" v="9061" actId="478"/>
          <ac:picMkLst>
            <pc:docMk/>
            <pc:sldMk cId="3948060622" sldId="283"/>
            <ac:picMk id="134" creationId="{72C0C3EC-B844-4CE1-B0F5-E24439308613}"/>
          </ac:picMkLst>
        </pc:picChg>
        <pc:picChg chg="add mod modCrop">
          <ac:chgData name="Kopper, Jordan" userId="b70b14be-98b2-4048-a278-0b2ff614ef08" providerId="ADAL" clId="{C306FF50-8479-4715-8969-CDEBA8863634}" dt="2021-09-11T12:56:17.029" v="973" actId="339"/>
          <ac:picMkLst>
            <pc:docMk/>
            <pc:sldMk cId="3948060622" sldId="283"/>
            <ac:picMk id="152" creationId="{728BC026-CACC-4DEA-B4C6-B512E9015E6A}"/>
          </ac:picMkLst>
        </pc:picChg>
        <pc:picChg chg="add mod">
          <ac:chgData name="Kopper, Jordan" userId="b70b14be-98b2-4048-a278-0b2ff614ef08" providerId="ADAL" clId="{C306FF50-8479-4715-8969-CDEBA8863634}" dt="2021-09-11T12:55:01.889" v="968" actId="1076"/>
          <ac:picMkLst>
            <pc:docMk/>
            <pc:sldMk cId="3948060622" sldId="283"/>
            <ac:picMk id="486" creationId="{00B09A2B-4748-4C95-B4A6-D8E8322B84F5}"/>
          </ac:picMkLst>
        </pc:picChg>
        <pc:picChg chg="add mod">
          <ac:chgData name="Kopper, Jordan" userId="b70b14be-98b2-4048-a278-0b2ff614ef08" providerId="ADAL" clId="{C306FF50-8479-4715-8969-CDEBA8863634}" dt="2021-09-11T12:55:01.889" v="968" actId="1076"/>
          <ac:picMkLst>
            <pc:docMk/>
            <pc:sldMk cId="3948060622" sldId="283"/>
            <ac:picMk id="488" creationId="{0FDCD6A5-ADEB-4DD9-8587-71869B34E748}"/>
          </ac:picMkLst>
        </pc:picChg>
        <pc:picChg chg="add mod ord">
          <ac:chgData name="Kopper, Jordan" userId="b70b14be-98b2-4048-a278-0b2ff614ef08" providerId="ADAL" clId="{C306FF50-8479-4715-8969-CDEBA8863634}" dt="2021-09-11T12:55:01.889" v="968" actId="1076"/>
          <ac:picMkLst>
            <pc:docMk/>
            <pc:sldMk cId="3948060622" sldId="283"/>
            <ac:picMk id="491" creationId="{AAEA5728-634E-44EB-AE3E-3FA567DAB619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14:06:54.537" v="9072" actId="1076"/>
        <pc:sldMkLst>
          <pc:docMk/>
          <pc:sldMk cId="1257602603" sldId="284"/>
        </pc:sldMkLst>
        <pc:spChg chg="del">
          <ac:chgData name="Kopper, Jordan" userId="b70b14be-98b2-4048-a278-0b2ff614ef08" providerId="ADAL" clId="{C306FF50-8479-4715-8969-CDEBA8863634}" dt="2021-09-14T11:41:46.056" v="3231" actId="478"/>
          <ac:spMkLst>
            <pc:docMk/>
            <pc:sldMk cId="1257602603" sldId="284"/>
            <ac:spMk id="3" creationId="{8920CF47-E440-43FC-9424-108EF1B2372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" creationId="{1180DBED-2C64-47FC-932C-16058FED1D1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" creationId="{91BB885F-844A-42EC-9822-3D701BC3CE1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" creationId="{5ECE402C-5AEB-45C1-B815-680AAFC81FD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" creationId="{D379F1F3-AF59-4C1F-B920-D9235B15E39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" creationId="{8A4A77BE-AEC9-4F27-8832-A3060A7A61AF}"/>
          </ac:spMkLst>
        </pc:spChg>
        <pc:spChg chg="add 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" creationId="{8CE2E640-0181-4415-941B-1BD21E0FFA31}"/>
          </ac:spMkLst>
        </pc:spChg>
        <pc:spChg chg="add del mod">
          <ac:chgData name="Kopper, Jordan" userId="b70b14be-98b2-4048-a278-0b2ff614ef08" providerId="ADAL" clId="{C306FF50-8479-4715-8969-CDEBA8863634}" dt="2021-09-14T12:32:29.302" v="4236" actId="478"/>
          <ac:spMkLst>
            <pc:docMk/>
            <pc:sldMk cId="1257602603" sldId="284"/>
            <ac:spMk id="31" creationId="{9F0242D7-FFDD-4D96-9713-F723FC2A7F4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94" creationId="{2AB454C7-522D-4A13-A296-393B5EC4FBD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95" creationId="{B711DB06-0E7A-42E5-924F-8B6A1D13CC39}"/>
          </ac:spMkLst>
        </pc:spChg>
        <pc:spChg chg="mod">
          <ac:chgData name="Kopper, Jordan" userId="b70b14be-98b2-4048-a278-0b2ff614ef08" providerId="ADAL" clId="{C306FF50-8479-4715-8969-CDEBA8863634}" dt="2021-09-17T03:37:46.660" v="7044" actId="1076"/>
          <ac:spMkLst>
            <pc:docMk/>
            <pc:sldMk cId="1257602603" sldId="284"/>
            <ac:spMk id="103" creationId="{191EFAC1-C2CF-4FE5-A318-B845E7BD0E5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05" creationId="{18E5C95E-950F-4199-B5AE-C287E925FFC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06" creationId="{69D79122-B845-43A0-9BAB-986E41000625}"/>
          </ac:spMkLst>
        </pc:spChg>
        <pc:spChg chg="mod">
          <ac:chgData name="Kopper, Jordan" userId="b70b14be-98b2-4048-a278-0b2ff614ef08" providerId="ADAL" clId="{C306FF50-8479-4715-8969-CDEBA8863634}" dt="2021-09-17T03:37:59.669" v="7045" actId="1076"/>
          <ac:spMkLst>
            <pc:docMk/>
            <pc:sldMk cId="1257602603" sldId="284"/>
            <ac:spMk id="127" creationId="{ACB70DD7-4426-4861-BD62-8E2DADB2A7D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46" creationId="{A2D64534-BF8C-4D2C-9097-61AA4D4C46F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49" creationId="{83CCAAC9-A63A-4002-AB1D-80168B2C739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0" creationId="{73E65EB1-D323-4962-A8C8-C60428A782B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1" creationId="{7D7D5AC8-48D4-4033-90FD-889369E1E1F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2" creationId="{B5AD7861-8421-4ACB-B185-13BE840A95B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3" creationId="{F778952E-88FE-4E33-B181-C9FA07F709C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4" creationId="{2DEECDC1-2D97-4839-A3B8-704CDB818B1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5" creationId="{E4CA0BB0-8A66-4F14-8321-1AE699071B3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6" creationId="{5DCB829E-7661-4F22-90CA-11EE6EB9DC2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7" creationId="{03936A01-92D7-46F0-8199-2E2366C1FCE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8" creationId="{6480BAE5-5D91-4D2E-B5ED-F93F7B7D99A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59" creationId="{E120F887-369D-4BF7-8BD2-49CBD51B13E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0" creationId="{63C8B6E8-ED1E-41DC-826C-22529C8A7F2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1" creationId="{07E031A4-2863-4750-97CF-3EAD682A649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2" creationId="{D93F83B1-77DE-4ED1-8D1B-4D9525AD430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3" creationId="{A7D9826B-0F00-4C7B-90D7-E3531CD56F8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4" creationId="{3C5B6B3E-D0D7-41CC-A11D-0C885F46DAB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5" creationId="{1314714B-734A-4D78-8511-F861FA8A23D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6" creationId="{D7D9CCF4-E1F3-406F-8D1C-93427DFE927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7" creationId="{B8844AF4-A8E3-4068-B849-914D467E1D9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8" creationId="{F401F6BD-97E5-45DE-9167-38C3C81D6B1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69" creationId="{17C42D7E-40D6-4068-913B-A0EE0BFEE9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0" creationId="{C5CF73B7-6D38-42EA-82D5-AF533C03BD7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1" creationId="{6AE6CE51-9B0D-4123-BB7F-CFD835B4B3D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2" creationId="{515F11FA-D3D7-4A91-936D-A798AA24B86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3" creationId="{6A83FAF1-2BA2-46A8-BF1E-C605ACA237A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4" creationId="{A5B2DCEC-8627-4315-B197-171620D610B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5" creationId="{B18586E7-7658-4B28-B956-B4381D6D7A8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6" creationId="{08238C5D-D3A0-4967-AB88-514A6FDA3E3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7" creationId="{591BC710-9E74-4629-AA1B-84A4EEDC59B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8" creationId="{8FC64306-7787-42DB-8E9F-F5A87C20F6A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79" creationId="{F31F5266-1B71-4905-9518-B5E25C19375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0" creationId="{5A5453B0-DCAB-47FD-9741-01875847C9B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1" creationId="{B8E7520D-8C1E-4913-B57B-D3555B28E6F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2" creationId="{E56A26C7-B214-4151-B81D-9A9BCFB8A15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3" creationId="{01B4E53F-3025-49BE-A33D-648AA748636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4" creationId="{C852056E-7D9E-48DF-AA58-AE7773ADE10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5" creationId="{8CFA0464-CB90-4595-B8FE-86BDC95ADAF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6" creationId="{34FCE12D-1B49-44F0-881A-22B032D59DC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7" creationId="{45405676-4747-4733-811E-77799437863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8" creationId="{A9F50FEA-8257-4B51-B6B6-4C8462C370D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89" creationId="{6E737E41-25B4-4A38-8131-547BDB497A7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0" creationId="{4AB797C9-BE14-4A14-ACDF-B89203AAF49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1" creationId="{7BE01105-38CC-4B9F-B108-1564AD9E7E4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2" creationId="{DAC96AAD-DE85-4F3B-9211-38364F641D0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3" creationId="{E7F9877B-809A-427C-84B9-C9E9682C7E6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4" creationId="{025F8096-2D2F-4FCD-B6A9-C4627BE97BA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5" creationId="{FC637227-0C19-4C0B-ADAF-68948B6175A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6" creationId="{579AEC55-0E8E-469C-B3C5-DCCED135F57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7" creationId="{CD5F32E3-8C7F-4E67-BDBF-BC5C6DA4A8D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8" creationId="{E4590B8A-A78B-4772-A6F0-6FFB9CBE6C7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199" creationId="{F542DE03-E986-49CC-88DD-A0E3CFBB20C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0" creationId="{6460D334-4B35-4956-84EB-0FCE2DC8053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1" creationId="{B54E1BA4-F82E-44A0-8424-E3FA3CE277B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2" creationId="{AFC45957-0BB7-41D2-927B-B5D47D0088A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3" creationId="{C5BDD4FB-200F-47F2-89D2-F17A0A9E49C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4" creationId="{69CF4248-E070-4A88-8D4B-617DE5C555F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5" creationId="{E3141A0A-2841-488D-BABD-76126868AF1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6" creationId="{38222287-382A-4B7D-833D-039350B951F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7" creationId="{8D5F265E-8DFD-4ECA-A9DE-199BDB63A35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8" creationId="{B81DB4F1-DEDC-40DD-9C1F-B585FB42F2C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09" creationId="{CB2F7FA8-A2F4-4893-99B6-9EF786D3746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0" creationId="{7E32BA28-AC4B-4A3D-B383-FE7170A226B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1" creationId="{2C7AC1A7-56CA-4455-ABB6-C4CEC011CA2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2" creationId="{3B1C158A-1A9B-45E5-A02B-FDA6BBFD0FF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3" creationId="{A3183FA0-80F7-4EED-83AF-E3E458AB4F9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4" creationId="{5D1FCC3A-275E-49B0-9048-08E7186C7C8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5" creationId="{152F0E03-21FD-4877-9CFD-186946B1428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6" creationId="{6E5DEB1D-7D5C-4D0F-BF1A-C51B62A43D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7" creationId="{C0BA1FF2-C094-42F4-AA87-EE6CC120B6E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8" creationId="{430D3A1E-30EC-4DE4-BB3E-BC5623BE6A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19" creationId="{DE26A1B7-31EA-4055-B5D0-6FF70F83A0F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0" creationId="{6D3CBE87-244D-4A9B-8101-1BD7AA7D419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1" creationId="{02EEF9CE-1593-4F0A-9566-3098ECC5AFA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2" creationId="{99CFC64F-F146-43DA-A6F0-189F03D5701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3" creationId="{5A77FA89-E593-4995-A195-6D08AA88495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4" creationId="{EDD4B72D-44B3-471F-A6F9-E46C74600D7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5" creationId="{82B91C37-2564-44B4-8092-D96D4CA3601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6" creationId="{D174CB63-444E-4470-AA6B-D5961BED5A3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7" creationId="{70500222-E6DA-4320-8361-3556B031CF1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8" creationId="{17922CD5-7782-4BBB-A120-AC8144F47F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29" creationId="{C5A08815-F0CA-4031-9622-A11B53B3FFA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0" creationId="{CDD40995-5F6A-4F22-B405-F9C16BA2274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1" creationId="{E4941F24-902C-43A3-A816-DB10CB390C0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2" creationId="{A0E30AE4-8786-4586-9F51-7BBFDA6DAC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3" creationId="{5C0240F5-C9C6-415F-9176-BFC636A45BA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4" creationId="{627D83FD-53F6-4D25-A61C-407C53FF0B7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5" creationId="{5A3E3E21-9167-4039-B69A-91D2A83AD65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6" creationId="{5C8412CB-6CA9-463F-86A3-AB3F2C9DAD7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7" creationId="{15E89294-85F2-4861-B7C8-DA0D1BFE96A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8" creationId="{0678B03E-81F8-4C4F-B26A-1B96DE3CCBE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39" creationId="{EC67293C-02C7-4F80-A8DF-1AEB586DC08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0" creationId="{EB4CF8D5-35E6-472C-8A81-244E60CAC5C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1" creationId="{730D8EE9-C076-4C14-AD7B-724306B500E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2" creationId="{8B9441AF-C517-4C66-A9FC-49FBCA5B26D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3" creationId="{7BBF4235-CB7F-4597-AC42-207A3F1D8A4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4" creationId="{D155114C-AF94-4F4D-AD8E-B8DAFB3BBAD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5" creationId="{1AD4174A-C6BD-4A08-B73A-7FB9F8F96C0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6" creationId="{21ED1CD0-7AEB-444F-8A92-8A97EE4C5E4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7" creationId="{07FBA21E-33FF-4317-B064-4235CDE93AC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8" creationId="{D4FCD1CF-F4DD-45B4-9E39-633A173652C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49" creationId="{DC45BB76-7722-46FC-BE16-D8A5039E10B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0" creationId="{27F3BE0C-96E0-4A46-A0EF-1B51B43B989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1" creationId="{275AD9C1-1A00-4A83-9006-634345A0974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2" creationId="{7811B690-1183-4E34-B73F-BD84617E971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3" creationId="{5C508ADA-A451-4196-9221-697702B8BE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4" creationId="{C0DC2B27-7A1D-4E50-84F3-9191AC3AA1A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5" creationId="{2B4FBEF4-6499-4108-81B4-4A174905274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6" creationId="{29B461A7-FD3A-44CF-9A16-399B1CD9BD6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7" creationId="{90A318BF-B4C4-4119-94CD-1C1416FCEA3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8" creationId="{270762EA-55D0-44CE-B7A2-CF668E353C9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59" creationId="{5885295C-E3EF-48D1-A81C-6F9B43F6C28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0" creationId="{E4136DBD-80FC-4AFC-AD06-8D2D5055339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1" creationId="{BB21CF15-54FC-4EFA-9343-3EBD42D770A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2" creationId="{9BC3CF9A-8277-43F0-A9A2-DA3BA4BEB0F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3" creationId="{68CB5E84-F64A-4326-908D-202DA2F6794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4" creationId="{D497FD08-ABEF-4310-9C5E-1D51276F51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5" creationId="{402B4AE7-FDDE-4864-BB3A-6B2FD47E811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6" creationId="{6D5D7CC9-234A-4795-818C-C6A9E140084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7" creationId="{F872B4BF-D981-47C9-AA72-0035E3D30C4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8" creationId="{E0F32AA0-5A2C-47A3-9FE5-CA858AF5530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69" creationId="{34DE6DBF-CF49-40A9-BF57-FBDBDDE87B5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0" creationId="{9E8F17D4-B93B-44D5-8F46-011368329E8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1" creationId="{72509122-5D6C-49CD-A9CB-E6C39FEDCFE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2" creationId="{9E56FFDB-D186-492E-A482-CAFE83BD9CC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3" creationId="{404A4C07-CD4C-4654-AD57-8B8E54BF337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4" creationId="{E8F344B5-A004-495D-A89C-11A75013F5F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5" creationId="{A02BC290-51C6-44BC-9FC5-710B166A137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6" creationId="{06FAFE9F-4B11-44AE-B1CE-1F66E70019F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7" creationId="{4B12A06C-B8F4-46B7-A64F-A61A5F9B53C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8" creationId="{BE20FAFE-167B-44F4-ACA5-F8FF5122AF2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79" creationId="{79622900-B5C1-4E5B-89CB-DBA859A62D5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0" creationId="{38F01E56-9991-40C1-9DB8-7C1958113DD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1" creationId="{BB902B48-24CB-421F-AA75-F018BD04542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2" creationId="{FA68AA91-E0A7-4AA0-9DF5-EC0FC807A8F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3" creationId="{B989568F-EB1D-47A5-9B41-46B85ACBC63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4" creationId="{6A63987D-7619-4EF8-B86B-0A939A4FAAB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5" creationId="{4023D367-D9C2-4428-B377-3B1FC8382F2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6" creationId="{A6ED87F0-AD3C-4C50-A416-329E6FABA99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7" creationId="{5F385EDD-FD08-44AC-958F-7F4E6FCF061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8" creationId="{A4CD2CE7-A2C3-48FA-9D47-978B44B84EB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89" creationId="{56682E4D-EFA8-46B8-BFFE-17C49CAB3D3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0" creationId="{A013DEA0-3AAD-4031-99F3-B7B6FA18941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1" creationId="{153BC549-7B13-430D-B6E6-E8180866B13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2" creationId="{1CCC7F27-99CE-4839-BDE2-E54F4E8FF2F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3" creationId="{D3CE2D2E-AE47-4FC3-9252-8BF49487B46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4" creationId="{6B748D4C-ED39-4597-B9CC-D914C4ECF69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5" creationId="{13C4C12C-85C4-46A8-84A3-F2D0FCF0057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6" creationId="{3FA550D4-951C-4753-A5DC-CA039F47FCD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7" creationId="{BB25D263-87A5-4DC3-90EC-C97658E4455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8" creationId="{ED91630D-579B-4069-9BD5-BC321017D33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299" creationId="{A1E8E325-8771-4A36-B40D-53CCCF3F48D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0" creationId="{B4C6D5F9-C645-4A75-B4B0-84CA30E6FC3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1" creationId="{15155F15-06BC-4BE2-A6CB-4CF95BA2751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2" creationId="{BC1E9E2D-6008-423E-91E6-068816E95E7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3" creationId="{315A28C6-B7D1-4AEB-8D32-9E11825E0EB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4" creationId="{9326A840-4E05-4DB5-853D-BE6CB4F0695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5" creationId="{2CC3D061-EB6B-46E3-8382-F2FC4068DC8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6" creationId="{AF2CDD88-BE0D-4F76-8CE4-8FD7C188BEE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7" creationId="{C472EA65-017A-4D9D-B789-A3020036876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8" creationId="{7EC6A3FD-1650-4731-9726-9375B85F814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09" creationId="{F7A1954C-2D6B-44B7-99FC-EE58D76DA2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0" creationId="{77109C86-8ED5-4032-BFE4-73705522C1D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1" creationId="{E97956CA-DD16-4B7C-B00C-203F62B5E0E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2" creationId="{D626C310-A892-4A41-B7E0-CCB654870C5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3" creationId="{E3A0CC43-85B5-49A5-90F3-AFEFB954BFE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4" creationId="{ABEA9D72-F902-40B8-987A-4DC0594BF23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5" creationId="{23226842-2857-4750-927F-8B2FECF40A0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6" creationId="{2C27E359-2554-4820-A91B-0157A5CE629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7" creationId="{CAED99C3-D79B-48FB-A731-77F4FBE9E0A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8" creationId="{723BD4EF-D08D-4DD1-A611-6C949CBA64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19" creationId="{78EDE796-4B9B-442C-8B8C-ED26F66614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0" creationId="{C322A671-BC62-4994-BF88-5D317282858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1" creationId="{EED81A25-E7CE-4A55-9A2A-09C17616CBA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2" creationId="{920B0C59-46EF-495F-B780-63426D955A2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3" creationId="{4D1AADFF-949E-426D-AF2F-4985978E074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4" creationId="{CC90F578-A6C2-4277-AE15-FD2777C2E95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5" creationId="{425469EA-81F2-40AE-AAC5-5B270602B9A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6" creationId="{E9CC688C-7D6C-4A0F-B133-8191F12501D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7" creationId="{65B792AF-5384-440C-A671-7701D6704B5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8" creationId="{DDABFB02-A253-45D6-9F64-8D492184790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29" creationId="{1B964CA3-4FB7-445C-B6F5-3EA3C7999FD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0" creationId="{76B31678-7D93-4676-90DD-BB6AE2AB4B9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1" creationId="{89E442E3-027D-4956-91AE-7D8E213CF9B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2" creationId="{8590FA01-5CCF-413B-81BE-4ACEF29C1C2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3" creationId="{8B9B9ED8-C241-440E-80DC-0B3BADE6FB0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4" creationId="{A1E05DBE-E2D9-4102-9E46-E69562B025C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5" creationId="{859B741B-F6AF-4BC2-B122-3112A6F8270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6" creationId="{75DBF4F9-CFBA-40C2-B232-8D6C4E959ED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7" creationId="{5D9B209D-2FE1-470A-8E12-9A1E28DAE5B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8" creationId="{517F9408-AF97-437D-A178-29C3B9D0C32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39" creationId="{7D74F55B-47BA-4C9A-91EB-14D7E80EAAF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0" creationId="{B5A2F8AD-F5BA-45AB-9AF1-B6096DD28B3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1" creationId="{9F9D356E-CD77-488A-9BA2-88A085E8052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2" creationId="{75512C9A-E46E-4DA6-A07C-821E95D83AF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3" creationId="{2E689EF3-49B7-4704-8FDA-C993DD7EABF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4" creationId="{795D9347-C3EE-435E-9891-91B3FA5E32C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5" creationId="{D770B3A6-FD2F-4BFC-BBCA-83E20E69916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6" creationId="{DAF27191-66BF-444F-9249-631961CF65B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7" creationId="{FC8558E8-688F-4351-BFFD-DD70EC1CB76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8" creationId="{ABBAE965-40AE-48E1-ADF5-CF9A046F510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49" creationId="{60B07A0E-B1DB-478C-882A-98DEEE2DFE1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0" creationId="{6DB857C2-C9DE-46CC-932D-9B59DBE3D01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1" creationId="{761860EE-92B4-4409-B0BE-15EE9FFBE00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2" creationId="{A1869C2F-3072-4EFB-9870-73489BD24D3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3" creationId="{78F17CBC-565D-433B-8068-1173185EB3C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4" creationId="{AD9D84F5-9189-41BB-A1A3-6A964178E86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5" creationId="{E0C05EB8-7C9F-43FC-A798-D45A056BCB5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6" creationId="{C1FD1DB2-85CB-4B98-9486-A19905B646B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7" creationId="{78D928BF-46BB-4F93-90BF-28EB0BAC7C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8" creationId="{9E587FE0-71D5-4A56-9471-BE4F0FAD4B3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59" creationId="{E1B6A76E-910C-492A-9D26-E7D99C336B4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0" creationId="{3B6DCEF4-5671-4977-BA69-5ECC998CFEC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1" creationId="{4678125F-F293-42D5-9C69-189BA883C9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2" creationId="{D71A1E31-7041-4455-B01B-2E794F15F53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3" creationId="{D52CA701-4409-437D-ACF9-EA9EBE749A3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4" creationId="{80B18688-D0CA-473D-8950-FE254F154C3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5" creationId="{F657C1A5-E034-43E8-9A40-F1AC22D41E4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6" creationId="{1E45FF47-A92E-4F3B-91A4-81088700539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7" creationId="{457259AB-C6E7-4F48-ACDA-B25CBE62C06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8" creationId="{889F52FB-A4A0-4A93-AB05-78946D42B65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69" creationId="{D1DDDE8A-36CE-4F3E-9FB9-153A8EFA995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0" creationId="{2A07D46A-2386-4E26-8B52-41D11C35D8B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1" creationId="{F2A3FB6C-9500-41CA-8E9E-1629762ADCF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2" creationId="{477496AE-0D88-4A3A-A6D6-832733BE4D4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3" creationId="{C12AD93D-36F8-46B0-AB81-3BF44A72326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4" creationId="{6CD60829-256A-436D-9468-6C225634FD0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5" creationId="{308E8DAE-063E-422B-B492-3F9499824F5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6" creationId="{6AF9DDB9-25D1-4303-A138-AF918CA844A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7" creationId="{25A07338-E308-48EB-9BE8-0C48CADA3D3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8" creationId="{9F73ED92-938C-4461-BEBF-0768F7B7542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79" creationId="{4CC68871-FBDA-48F2-B54A-24631C629CE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0" creationId="{851ED911-28C5-4240-AFAC-328A7845C64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1" creationId="{4C8F6CBB-DB48-446B-94DF-09B173E02F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2" creationId="{7FB1A970-FE50-421B-837D-F4E7A0DF908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3" creationId="{E92CBB73-5F92-4C4E-ADDE-7F8BF70F6C8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4" creationId="{A69FF554-9224-4AD5-A968-DCE8F366EF2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5" creationId="{CA611425-BA53-400B-AC12-11B973FB9B1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6" creationId="{05497712-E011-4D30-9659-05671114609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7" creationId="{D527639C-471E-4D6F-9E42-8D43C84E12B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8" creationId="{F8F9E3A3-B2DE-4C99-BCBE-AE64290CAE2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89" creationId="{B11112B3-0772-41D0-A790-06BD0E143B3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0" creationId="{E24CDF1B-D5B2-42F3-8385-7AE90C0BBC1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1" creationId="{12237BAC-F4FE-4C37-BD33-B5D976B4B3D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2" creationId="{CCE3644F-9240-4DFD-BC79-E848A111907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3" creationId="{B26A0D2D-842A-4734-A4A9-DFE5CA2D223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4" creationId="{C4BB16F5-9550-4472-865D-D73610405F9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5" creationId="{CCD94929-6A22-454B-A39F-5ACB7198BE3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6" creationId="{5DBF7708-18D7-4D66-BAD8-8326771C664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7" creationId="{04C4398E-526A-4053-BC64-E1F3A34EE85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8" creationId="{C56F3550-13E9-4486-8A9E-C85D062772D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399" creationId="{03F04582-CBB1-428B-A78B-CB19E15A75D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0" creationId="{4943F4E1-6D9B-4F50-B2BB-CE6D069FAB3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1" creationId="{F673A60B-A6D3-44EB-863D-D76956B52A3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2" creationId="{E212183B-D09C-44F7-AD84-AD2FA4EDBFA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3" creationId="{9705B310-9A55-432D-B1E0-E2B5611CD3D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4" creationId="{6AA570D1-50CD-4AC8-9D3A-DDEAE249F9B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5" creationId="{EBAAE8DD-572C-4C25-B676-5871841501E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6" creationId="{C900B5B6-181B-41AE-91B5-24294BDBA4D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7" creationId="{DE0277CA-C6B0-4FCF-9366-5E7288E0E6B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8" creationId="{7CA449E2-0B0D-4273-A109-0373EBBE495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09" creationId="{99902525-6A25-4500-9291-83CEED7942B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0" creationId="{560EE89B-838B-4753-B631-00D8054498F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1" creationId="{91124C3A-2C09-4833-AFDD-9CBD50ED5DE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2" creationId="{A0643268-4C47-4119-A66B-8913E2FB667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3" creationId="{57C3D0AC-655C-47F0-AF72-366607FC63B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4" creationId="{6EAE0523-09FE-49BD-9068-C692941C96BE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5" creationId="{D17E0487-793D-44AB-B5CE-AB01F9B61C6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6" creationId="{F0EB64CE-0C3C-4BEE-BF54-5D480A1A7369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7" creationId="{4FAE3913-E374-4FA8-9B7A-6B129057846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8" creationId="{37D5E1A3-8560-4AE8-ACBE-D7C9CFFA5B8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19" creationId="{F66CD886-D04C-4052-8105-CEA839569CD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0" creationId="{07C35AD9-297A-46A3-BA7D-CB2179C501E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1" creationId="{49B54715-AC43-4B74-B880-2873C351BE1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2" creationId="{40E18A35-A33D-4B7F-B050-80A16FA7ECC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3" creationId="{5DF300E0-BD8B-4AF8-9645-AE924C529DD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4" creationId="{BE37ECEF-BB60-45CE-96EB-440DCE13BE6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5" creationId="{08778D54-AD9E-4288-83FD-6F09F556510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6" creationId="{1F97E4D7-7E82-4086-B8FF-A835DD0C993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7" creationId="{58A8E75D-B738-4DB7-B851-3B050DFEFA7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8" creationId="{82928540-0472-43DB-800E-5DDC555A8C0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29" creationId="{ED8BA1FC-2B4C-472F-A6FB-B62E16A8CBE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0" creationId="{7A000F93-F920-4E70-8FC1-F26912F48AF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1" creationId="{9FE7F6AB-CDC4-4905-8BBE-ACC17DB7E50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2" creationId="{41A14253-5466-4D6A-A85C-FBD9EA91E88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3" creationId="{E0192468-5E6A-4D4B-B3AB-001CE88C7C0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4" creationId="{1EA6401A-8AD3-401E-BEE3-5B0A4124F77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5" creationId="{896AC326-F98A-4CAF-B1B6-02EDD9F0B21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6" creationId="{C8708F11-0212-426F-AFAD-5B35CC0863B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7" creationId="{21BF37DB-48B0-4C87-AC6D-27BBEAF7197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8" creationId="{A700B65B-2F37-4879-8B0D-736E14A3021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39" creationId="{2DBB650D-A240-4777-AF62-D14CFB859AB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0" creationId="{600C1ACD-3788-4B4F-A77E-77B6C49584D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1" creationId="{ED433381-598B-4766-BB32-3A9BACE72A2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2" creationId="{89352208-C0FF-4D38-9A08-AE550C7FF1D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3" creationId="{0EEB161A-0135-4D06-B8D5-5A69FFD889E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4" creationId="{968F47A8-C017-421C-BD0D-3060A2586E2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5" creationId="{9F5BE9C5-A981-4F85-B746-0DE9243F44F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6" creationId="{0507C70B-904A-48D3-8D2F-8B0818D1AD7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7" creationId="{9FE0B520-5BE9-42F0-9D8D-3916D9E77B8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8" creationId="{D58ECD63-2BEB-45BF-AFCF-6A5F7ED7667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49" creationId="{F20DA0DC-D9B9-4478-9538-C12C77CCD1E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0" creationId="{F643DED9-5F7A-4C79-BACB-9C132FCEB26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1" creationId="{23E4F726-DC8C-415D-ACBC-DB5379FD134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2" creationId="{982DCC3E-586C-4D11-B646-1D7C8A9CBC4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3" creationId="{21AC3A8F-DF4E-4954-AE1E-7A044D4545A7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4" creationId="{0A61A903-03B6-4353-A529-9C9AA83EAE6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5" creationId="{76211761-0744-4788-B4E3-6613BCA6A8E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6" creationId="{B2C47D34-557F-4CB8-85CD-6BDBC82F838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7" creationId="{14D121FB-0314-4A9F-B1D1-F173B9A0E273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8" creationId="{A94C6A6A-3503-4E3F-BD83-5F9918056C3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59" creationId="{C8EE8677-0582-4595-A20E-31391DDEA82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0" creationId="{B20F3380-B703-4536-A0B1-611B07862B9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1" creationId="{3A4223A2-A1E7-4307-8FAD-87DB7573ABA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2" creationId="{D9EF7B5B-F2FA-43B2-AD45-AC08F1B89B5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3" creationId="{B5DC4732-F33E-4E19-B150-90F05F8EDAE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4" creationId="{777958A1-9753-4F13-8587-AFC2D62C84B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5" creationId="{E980B81F-8CB6-4324-8751-B2F80E8C88A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6" creationId="{47ADEEAA-05EC-474B-882D-B83DCDD314D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467" creationId="{B1C064FA-2142-4972-918A-0944C8244CEC}"/>
          </ac:spMkLst>
        </pc:spChg>
        <pc:spChg chg="mod">
          <ac:chgData name="Kopper, Jordan" userId="b70b14be-98b2-4048-a278-0b2ff614ef08" providerId="ADAL" clId="{C306FF50-8479-4715-8969-CDEBA8863634}" dt="2021-09-17T02:48:42.965" v="6089" actId="20577"/>
          <ac:spMkLst>
            <pc:docMk/>
            <pc:sldMk cId="1257602603" sldId="284"/>
            <ac:spMk id="472" creationId="{0CF9393B-A3EF-42FD-B73E-031315CCBCF2}"/>
          </ac:spMkLst>
        </pc:spChg>
        <pc:spChg chg="del">
          <ac:chgData name="Kopper, Jordan" userId="b70b14be-98b2-4048-a278-0b2ff614ef08" providerId="ADAL" clId="{C306FF50-8479-4715-8969-CDEBA8863634}" dt="2021-09-14T12:17:30.026" v="4132" actId="478"/>
          <ac:spMkLst>
            <pc:docMk/>
            <pc:sldMk cId="1257602603" sldId="284"/>
            <ac:spMk id="497" creationId="{28B9CBD6-5FC8-48B2-9334-3899BF41A5F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06" creationId="{A8C9E384-82F1-4AD8-92C7-E2A2469D98F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07" creationId="{68C025F9-EC3F-4BE6-BFAD-0953C162157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08" creationId="{9C01F566-4460-4257-A020-8539BFAFE2C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2" creationId="{BEB66D25-D6CD-449C-8D2B-6AB49ADB0BC9}"/>
          </ac:spMkLst>
        </pc:spChg>
        <pc:spChg chg="mod">
          <ac:chgData name="Kopper, Jordan" userId="b70b14be-98b2-4048-a278-0b2ff614ef08" providerId="ADAL" clId="{C306FF50-8479-4715-8969-CDEBA8863634}" dt="2021-09-17T13:54:59.991" v="8990" actId="404"/>
          <ac:spMkLst>
            <pc:docMk/>
            <pc:sldMk cId="1257602603" sldId="284"/>
            <ac:spMk id="523" creationId="{2A5025BE-743A-460B-9B53-0ED6E315118B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4" creationId="{AD9E1F3C-0452-4877-9AAA-FFD437D16042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6" creationId="{A0F65C61-C679-4993-96C3-F1A89FDE28D1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7" creationId="{58050944-E3D1-42AB-B7DD-7BE13EC75155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28" creationId="{E910456C-D8B3-452B-9E36-1CA88A531A4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0" creationId="{FC612B7F-A603-4187-AB8C-1DB9C9DF47B8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1" creationId="{FCB5082F-9F74-4030-8DF8-84EB6477465C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2" creationId="{875DED31-9CC5-4F69-A09F-36856FF77254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4" creationId="{5D665715-4405-46DA-8D26-92F61673D27A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5" creationId="{423A5BFD-3005-44AC-B605-A3B3A6BD6326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6" creationId="{E3C07580-7EDB-4FD3-AC6C-7521EAC6A680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8" creationId="{55B52450-2F6C-447F-B528-F94F881F7F2F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39" creationId="{9326DF5B-6C02-42E3-82C0-6A30DA22E31D}"/>
          </ac:spMkLst>
        </pc:spChg>
        <pc:spChg chg="mod">
          <ac:chgData name="Kopper, Jordan" userId="b70b14be-98b2-4048-a278-0b2ff614ef08" providerId="ADAL" clId="{C306FF50-8479-4715-8969-CDEBA8863634}" dt="2021-09-14T14:43:08.492" v="5367" actId="1076"/>
          <ac:spMkLst>
            <pc:docMk/>
            <pc:sldMk cId="1257602603" sldId="284"/>
            <ac:spMk id="540" creationId="{48D29FBB-95DE-4F3A-869B-285744F20C75}"/>
          </ac:spMkLst>
        </pc:spChg>
        <pc:spChg chg="del">
          <ac:chgData name="Kopper, Jordan" userId="b70b14be-98b2-4048-a278-0b2ff614ef08" providerId="ADAL" clId="{C306FF50-8479-4715-8969-CDEBA8863634}" dt="2021-09-14T12:17:27.337" v="4129" actId="478"/>
          <ac:spMkLst>
            <pc:docMk/>
            <pc:sldMk cId="1257602603" sldId="284"/>
            <ac:spMk id="541" creationId="{27727109-F633-4170-8B09-EA390CC2F46C}"/>
          </ac:spMkLst>
        </pc:s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23" creationId="{BB5487BA-1766-4CA6-8EC7-E8F02ABC4F48}"/>
          </ac:grpSpMkLst>
        </pc:grpChg>
        <pc:grpChg chg="add 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30" creationId="{AFAE4FB8-53CE-4437-B76B-90441DFC0589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147" creationId="{3BA78A3C-5AD5-4186-B56A-A9BB73A3EA99}"/>
          </ac:grpSpMkLst>
        </pc:grpChg>
        <pc:grpChg chg="del mod">
          <ac:chgData name="Kopper, Jordan" userId="b70b14be-98b2-4048-a278-0b2ff614ef08" providerId="ADAL" clId="{C306FF50-8479-4715-8969-CDEBA8863634}" dt="2021-09-17T03:27:54.467" v="6908" actId="478"/>
          <ac:grpSpMkLst>
            <pc:docMk/>
            <pc:sldMk cId="1257602603" sldId="284"/>
            <ac:grpSpMk id="470" creationId="{FE4E5D7D-CDCA-4B75-948A-533D23A49E04}"/>
          </ac:grpSpMkLst>
        </pc:grpChg>
        <pc:grpChg chg="del">
          <ac:chgData name="Kopper, Jordan" userId="b70b14be-98b2-4048-a278-0b2ff614ef08" providerId="ADAL" clId="{C306FF50-8479-4715-8969-CDEBA8863634}" dt="2021-09-14T12:16:30.612" v="4112" actId="478"/>
          <ac:grpSpMkLst>
            <pc:docMk/>
            <pc:sldMk cId="1257602603" sldId="284"/>
            <ac:grpSpMk id="471" creationId="{DE8BE07B-5AF6-4F27-9AE3-F4CB248CB51A}"/>
          </ac:grpSpMkLst>
        </pc:grpChg>
        <pc:grpChg chg="del">
          <ac:chgData name="Kopper, Jordan" userId="b70b14be-98b2-4048-a278-0b2ff614ef08" providerId="ADAL" clId="{C306FF50-8479-4715-8969-CDEBA8863634}" dt="2021-09-14T12:16:46.211" v="4120" actId="478"/>
          <ac:grpSpMkLst>
            <pc:docMk/>
            <pc:sldMk cId="1257602603" sldId="284"/>
            <ac:grpSpMk id="482" creationId="{87A8ED03-8CE6-4B82-9F57-FAA5D5A04467}"/>
          </ac:grpSpMkLst>
        </pc:grpChg>
        <pc:grpChg chg="del">
          <ac:chgData name="Kopper, Jordan" userId="b70b14be-98b2-4048-a278-0b2ff614ef08" providerId="ADAL" clId="{C306FF50-8479-4715-8969-CDEBA8863634}" dt="2021-09-14T12:17:29.245" v="4131" actId="478"/>
          <ac:grpSpMkLst>
            <pc:docMk/>
            <pc:sldMk cId="1257602603" sldId="284"/>
            <ac:grpSpMk id="493" creationId="{7D946E7E-B7B9-48EF-8EED-774ABADC837E}"/>
          </ac:grpSpMkLst>
        </pc:grpChg>
        <pc:grpChg chg="del">
          <ac:chgData name="Kopper, Jordan" userId="b70b14be-98b2-4048-a278-0b2ff614ef08" providerId="ADAL" clId="{C306FF50-8479-4715-8969-CDEBA8863634}" dt="2021-09-14T12:17:25.372" v="4127" actId="478"/>
          <ac:grpSpMkLst>
            <pc:docMk/>
            <pc:sldMk cId="1257602603" sldId="284"/>
            <ac:grpSpMk id="498" creationId="{9E989AD4-794B-4CEE-8CF8-A1250E2EC102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05" creationId="{EB6E2A75-6965-4A3B-ACC3-AFF294D2FBB1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21" creationId="{0D56C7AC-A098-4203-81FF-170210012541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25" creationId="{47FF838E-9CAE-4E2E-80F4-7440833E3C34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29" creationId="{77208A82-61C3-4926-AC40-4E14F827E31D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33" creationId="{13DBA5E7-79B7-4164-B2C7-227BB1408725}"/>
          </ac:grpSpMkLst>
        </pc:grpChg>
        <pc:grpChg chg="mod">
          <ac:chgData name="Kopper, Jordan" userId="b70b14be-98b2-4048-a278-0b2ff614ef08" providerId="ADAL" clId="{C306FF50-8479-4715-8969-CDEBA8863634}" dt="2021-09-14T14:43:08.492" v="5367" actId="1076"/>
          <ac:grpSpMkLst>
            <pc:docMk/>
            <pc:sldMk cId="1257602603" sldId="284"/>
            <ac:grpSpMk id="537" creationId="{18B1DB35-6B3E-4A9F-900C-B4282BC06F17}"/>
          </ac:grpSpMkLst>
        </pc:grpChg>
        <pc:grpChg chg="del">
          <ac:chgData name="Kopper, Jordan" userId="b70b14be-98b2-4048-a278-0b2ff614ef08" providerId="ADAL" clId="{C306FF50-8479-4715-8969-CDEBA8863634}" dt="2021-09-14T12:17:26.473" v="4128" actId="478"/>
          <ac:grpSpMkLst>
            <pc:docMk/>
            <pc:sldMk cId="1257602603" sldId="284"/>
            <ac:grpSpMk id="542" creationId="{79E1686E-E54C-40AF-8A71-11BD1EDFA45E}"/>
          </ac:grpSpMkLst>
        </pc:grpChg>
        <pc:grpChg chg="del">
          <ac:chgData name="Kopper, Jordan" userId="b70b14be-98b2-4048-a278-0b2ff614ef08" providerId="ADAL" clId="{C306FF50-8479-4715-8969-CDEBA8863634}" dt="2021-09-14T12:17:28.193" v="4130" actId="478"/>
          <ac:grpSpMkLst>
            <pc:docMk/>
            <pc:sldMk cId="1257602603" sldId="284"/>
            <ac:grpSpMk id="546" creationId="{26A7FBC8-1FD1-45DD-BA47-F86F9B271E1B}"/>
          </ac:grpSpMkLst>
        </pc:grpChg>
        <pc:picChg chg="mod">
          <ac:chgData name="Kopper, Jordan" userId="b70b14be-98b2-4048-a278-0b2ff614ef08" providerId="ADAL" clId="{C306FF50-8479-4715-8969-CDEBA8863634}" dt="2021-09-17T03:27:48.614" v="6907" actId="1076"/>
          <ac:picMkLst>
            <pc:docMk/>
            <pc:sldMk cId="1257602603" sldId="284"/>
            <ac:picMk id="4" creationId="{010FB06F-1E67-434D-B901-2EE7EEA7E221}"/>
          </ac:picMkLst>
        </pc:picChg>
        <pc:picChg chg="add del mod">
          <ac:chgData name="Kopper, Jordan" userId="b70b14be-98b2-4048-a278-0b2ff614ef08" providerId="ADAL" clId="{C306FF50-8479-4715-8969-CDEBA8863634}" dt="2021-09-14T12:23:54.800" v="4169" actId="478"/>
          <ac:picMkLst>
            <pc:docMk/>
            <pc:sldMk cId="1257602603" sldId="284"/>
            <ac:picMk id="6" creationId="{2C87B917-ADF6-4FFA-875F-947842BB2F70}"/>
          </ac:picMkLst>
        </pc:picChg>
        <pc:picChg chg="add mod">
          <ac:chgData name="Kopper, Jordan" userId="b70b14be-98b2-4048-a278-0b2ff614ef08" providerId="ADAL" clId="{C306FF50-8479-4715-8969-CDEBA8863634}" dt="2021-09-17T03:37:46.660" v="7044" actId="1076"/>
          <ac:picMkLst>
            <pc:docMk/>
            <pc:sldMk cId="1257602603" sldId="284"/>
            <ac:picMk id="8" creationId="{0C023897-B672-408F-B710-B8491F8B9A30}"/>
          </ac:picMkLst>
        </pc:picChg>
        <pc:picChg chg="add del mod">
          <ac:chgData name="Kopper, Jordan" userId="b70b14be-98b2-4048-a278-0b2ff614ef08" providerId="ADAL" clId="{C306FF50-8479-4715-8969-CDEBA8863634}" dt="2021-09-14T12:22:53.115" v="4155" actId="478"/>
          <ac:picMkLst>
            <pc:docMk/>
            <pc:sldMk cId="1257602603" sldId="284"/>
            <ac:picMk id="10" creationId="{BF9124B6-AB97-4031-A4B2-6E63E07E7FCE}"/>
          </ac:picMkLst>
        </pc:picChg>
        <pc:picChg chg="add mod">
          <ac:chgData name="Kopper, Jordan" userId="b70b14be-98b2-4048-a278-0b2ff614ef08" providerId="ADAL" clId="{C306FF50-8479-4715-8969-CDEBA8863634}" dt="2021-09-14T14:43:08.492" v="5367" actId="1076"/>
          <ac:picMkLst>
            <pc:docMk/>
            <pc:sldMk cId="1257602603" sldId="284"/>
            <ac:picMk id="12" creationId="{299393C2-C103-4812-AF49-4878AC6AA155}"/>
          </ac:picMkLst>
        </pc:picChg>
        <pc:picChg chg="add mod">
          <ac:chgData name="Kopper, Jordan" userId="b70b14be-98b2-4048-a278-0b2ff614ef08" providerId="ADAL" clId="{C306FF50-8479-4715-8969-CDEBA8863634}" dt="2021-09-14T14:43:08.492" v="5367" actId="1076"/>
          <ac:picMkLst>
            <pc:docMk/>
            <pc:sldMk cId="1257602603" sldId="284"/>
            <ac:picMk id="14" creationId="{E560B02B-BC35-44ED-9651-361F4C448149}"/>
          </ac:picMkLst>
        </pc:picChg>
        <pc:picChg chg="add mod">
          <ac:chgData name="Kopper, Jordan" userId="b70b14be-98b2-4048-a278-0b2ff614ef08" providerId="ADAL" clId="{C306FF50-8479-4715-8969-CDEBA8863634}" dt="2021-09-17T03:37:59.669" v="7045" actId="1076"/>
          <ac:picMkLst>
            <pc:docMk/>
            <pc:sldMk cId="1257602603" sldId="284"/>
            <ac:picMk id="16" creationId="{689BCBE2-21C1-4564-815B-2913556FB81B}"/>
          </ac:picMkLst>
        </pc:picChg>
        <pc:picChg chg="add mod">
          <ac:chgData name="Kopper, Jordan" userId="b70b14be-98b2-4048-a278-0b2ff614ef08" providerId="ADAL" clId="{C306FF50-8479-4715-8969-CDEBA8863634}" dt="2021-09-14T14:43:08.492" v="5367" actId="1076"/>
          <ac:picMkLst>
            <pc:docMk/>
            <pc:sldMk cId="1257602603" sldId="284"/>
            <ac:picMk id="18" creationId="{45ED8C1F-0435-4108-8E21-A1E73252826F}"/>
          </ac:picMkLst>
        </pc:picChg>
        <pc:picChg chg="add mod">
          <ac:chgData name="Kopper, Jordan" userId="b70b14be-98b2-4048-a278-0b2ff614ef08" providerId="ADAL" clId="{C306FF50-8479-4715-8969-CDEBA8863634}" dt="2021-09-14T14:43:08.492" v="5367" actId="1076"/>
          <ac:picMkLst>
            <pc:docMk/>
            <pc:sldMk cId="1257602603" sldId="284"/>
            <ac:picMk id="20" creationId="{F4C007F0-58D2-4F3E-A185-5031B84F67E8}"/>
          </ac:picMkLst>
        </pc:picChg>
        <pc:picChg chg="add del mod">
          <ac:chgData name="Kopper, Jordan" userId="b70b14be-98b2-4048-a278-0b2ff614ef08" providerId="ADAL" clId="{C306FF50-8479-4715-8969-CDEBA8863634}" dt="2021-09-14T12:28:13.482" v="4200" actId="27803"/>
          <ac:picMkLst>
            <pc:docMk/>
            <pc:sldMk cId="1257602603" sldId="284"/>
            <ac:picMk id="22" creationId="{BB5487BA-1766-4CA6-8EC7-E8F02ABC4F48}"/>
          </ac:picMkLst>
        </pc:picChg>
        <pc:picChg chg="add mod">
          <ac:chgData name="Kopper, Jordan" userId="b70b14be-98b2-4048-a278-0b2ff614ef08" providerId="ADAL" clId="{C306FF50-8479-4715-8969-CDEBA8863634}" dt="2021-09-17T03:37:59.669" v="7045" actId="1076"/>
          <ac:picMkLst>
            <pc:docMk/>
            <pc:sldMk cId="1257602603" sldId="284"/>
            <ac:picMk id="468" creationId="{30D8BD16-B617-4A1C-99B6-40D2763E58EF}"/>
          </ac:picMkLst>
        </pc:picChg>
        <pc:picChg chg="add mod">
          <ac:chgData name="Kopper, Jordan" userId="b70b14be-98b2-4048-a278-0b2ff614ef08" providerId="ADAL" clId="{C306FF50-8479-4715-8969-CDEBA8863634}" dt="2021-09-17T14:06:54.537" v="9072" actId="1076"/>
          <ac:picMkLst>
            <pc:docMk/>
            <pc:sldMk cId="1257602603" sldId="284"/>
            <ac:picMk id="475" creationId="{3EB39138-3CDB-4511-BA8C-CB7F2B11F9FC}"/>
          </ac:picMkLst>
        </pc:picChg>
        <pc:picChg chg="add del mod">
          <ac:chgData name="Kopper, Jordan" userId="b70b14be-98b2-4048-a278-0b2ff614ef08" providerId="ADAL" clId="{C306FF50-8479-4715-8969-CDEBA8863634}" dt="2021-09-17T14:06:51.667" v="9071" actId="478"/>
          <ac:picMkLst>
            <pc:docMk/>
            <pc:sldMk cId="1257602603" sldId="284"/>
            <ac:picMk id="476" creationId="{F24C6014-957E-4BCA-A601-45D05E1F8E4D}"/>
          </ac:picMkLst>
        </pc:picChg>
        <pc:picChg chg="add del mod">
          <ac:chgData name="Kopper, Jordan" userId="b70b14be-98b2-4048-a278-0b2ff614ef08" providerId="ADAL" clId="{C306FF50-8479-4715-8969-CDEBA8863634}" dt="2021-09-17T02:47:40.292" v="6079" actId="478"/>
          <ac:picMkLst>
            <pc:docMk/>
            <pc:sldMk cId="1257602603" sldId="284"/>
            <ac:picMk id="477" creationId="{8502EAF4-F3AD-44F5-9F39-3C04E1B8A061}"/>
          </ac:picMkLst>
        </pc:picChg>
      </pc:sldChg>
      <pc:sldChg chg="addSp delSp modSp add mod delAnim modAnim">
        <pc:chgData name="Kopper, Jordan" userId="b70b14be-98b2-4048-a278-0b2ff614ef08" providerId="ADAL" clId="{C306FF50-8479-4715-8969-CDEBA8863634}" dt="2021-09-11T15:06:17.196" v="3093"/>
        <pc:sldMkLst>
          <pc:docMk/>
          <pc:sldMk cId="3544380574" sldId="284"/>
        </pc:sldMkLst>
        <pc:spChg chg="mod">
          <ac:chgData name="Kopper, Jordan" userId="b70b14be-98b2-4048-a278-0b2ff614ef08" providerId="ADAL" clId="{C306FF50-8479-4715-8969-CDEBA8863634}" dt="2021-09-11T15:06:17.196" v="3093"/>
          <ac:spMkLst>
            <pc:docMk/>
            <pc:sldMk cId="3544380574" sldId="284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1T13:21:03.102" v="1546" actId="13926"/>
          <ac:spMkLst>
            <pc:docMk/>
            <pc:sldMk cId="3544380574" sldId="284"/>
            <ac:spMk id="3" creationId="{8920CF47-E440-43FC-9424-108EF1B2372D}"/>
          </ac:spMkLst>
        </pc:spChg>
        <pc:spChg chg="mod">
          <ac:chgData name="Kopper, Jordan" userId="b70b14be-98b2-4048-a278-0b2ff614ef08" providerId="ADAL" clId="{C306FF50-8479-4715-8969-CDEBA8863634}" dt="2021-09-11T15:02:51.483" v="3023" actId="1076"/>
          <ac:spMkLst>
            <pc:docMk/>
            <pc:sldMk cId="3544380574" sldId="284"/>
            <ac:spMk id="94" creationId="{2AB454C7-522D-4A13-A296-393B5EC4FBDE}"/>
          </ac:spMkLst>
        </pc:spChg>
        <pc:spChg chg="mod">
          <ac:chgData name="Kopper, Jordan" userId="b70b14be-98b2-4048-a278-0b2ff614ef08" providerId="ADAL" clId="{C306FF50-8479-4715-8969-CDEBA8863634}" dt="2021-09-11T13:03:13.618" v="1166" actId="14100"/>
          <ac:spMkLst>
            <pc:docMk/>
            <pc:sldMk cId="3544380574" sldId="284"/>
            <ac:spMk id="95" creationId="{B711DB06-0E7A-42E5-924F-8B6A1D13CC39}"/>
          </ac:spMkLst>
        </pc:spChg>
        <pc:spChg chg="mod">
          <ac:chgData name="Kopper, Jordan" userId="b70b14be-98b2-4048-a278-0b2ff614ef08" providerId="ADAL" clId="{C306FF50-8479-4715-8969-CDEBA8863634}" dt="2021-09-11T13:01:38.197" v="1138" actId="1076"/>
          <ac:spMkLst>
            <pc:docMk/>
            <pc:sldMk cId="3544380574" sldId="284"/>
            <ac:spMk id="103" creationId="{191EFAC1-C2CF-4FE5-A318-B845E7BD0E5D}"/>
          </ac:spMkLst>
        </pc:spChg>
        <pc:spChg chg="mod">
          <ac:chgData name="Kopper, Jordan" userId="b70b14be-98b2-4048-a278-0b2ff614ef08" providerId="ADAL" clId="{C306FF50-8479-4715-8969-CDEBA8863634}" dt="2021-09-11T13:02:13.834" v="1144" actId="1076"/>
          <ac:spMkLst>
            <pc:docMk/>
            <pc:sldMk cId="3544380574" sldId="284"/>
            <ac:spMk id="105" creationId="{18E5C95E-950F-4199-B5AE-C287E925FFC6}"/>
          </ac:spMkLst>
        </pc:spChg>
        <pc:spChg chg="mod">
          <ac:chgData name="Kopper, Jordan" userId="b70b14be-98b2-4048-a278-0b2ff614ef08" providerId="ADAL" clId="{C306FF50-8479-4715-8969-CDEBA8863634}" dt="2021-09-11T15:02:53.065" v="3024" actId="20577"/>
          <ac:spMkLst>
            <pc:docMk/>
            <pc:sldMk cId="3544380574" sldId="284"/>
            <ac:spMk id="106" creationId="{69D79122-B845-43A0-9BAB-986E41000625}"/>
          </ac:spMkLst>
        </pc:spChg>
        <pc:spChg chg="del">
          <ac:chgData name="Kopper, Jordan" userId="b70b14be-98b2-4048-a278-0b2ff614ef08" providerId="ADAL" clId="{C306FF50-8479-4715-8969-CDEBA8863634}" dt="2021-09-11T12:59:52.580" v="1063" actId="478"/>
          <ac:spMkLst>
            <pc:docMk/>
            <pc:sldMk cId="3544380574" sldId="284"/>
            <ac:spMk id="109" creationId="{0255FA71-DAD9-4B1C-89D5-24CA6963232F}"/>
          </ac:spMkLst>
        </pc:spChg>
        <pc:spChg chg="del mod">
          <ac:chgData name="Kopper, Jordan" userId="b70b14be-98b2-4048-a278-0b2ff614ef08" providerId="ADAL" clId="{C306FF50-8479-4715-8969-CDEBA8863634}" dt="2021-09-11T12:59:54.474" v="1065" actId="478"/>
          <ac:spMkLst>
            <pc:docMk/>
            <pc:sldMk cId="3544380574" sldId="284"/>
            <ac:spMk id="110" creationId="{E3937929-32F6-499F-8C48-F8467C83AF83}"/>
          </ac:spMkLst>
        </pc:spChg>
        <pc:spChg chg="del">
          <ac:chgData name="Kopper, Jordan" userId="b70b14be-98b2-4048-a278-0b2ff614ef08" providerId="ADAL" clId="{C306FF50-8479-4715-8969-CDEBA8863634}" dt="2021-09-11T12:59:51.070" v="1061" actId="478"/>
          <ac:spMkLst>
            <pc:docMk/>
            <pc:sldMk cId="3544380574" sldId="284"/>
            <ac:spMk id="111" creationId="{37E352E9-580C-48EA-A218-63E8D64ECD14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127" creationId="{ACB70DD7-4426-4861-BD62-8E2DADB2A7DB}"/>
          </ac:spMkLst>
        </pc:spChg>
        <pc:spChg chg="del">
          <ac:chgData name="Kopper, Jordan" userId="b70b14be-98b2-4048-a278-0b2ff614ef08" providerId="ADAL" clId="{C306FF50-8479-4715-8969-CDEBA8863634}" dt="2021-09-11T13:02:03.786" v="1142" actId="478"/>
          <ac:spMkLst>
            <pc:docMk/>
            <pc:sldMk cId="3544380574" sldId="284"/>
            <ac:spMk id="128" creationId="{1EE129E2-C97B-44DE-A2E6-19C1E31A8D88}"/>
          </ac:spMkLst>
        </pc:spChg>
        <pc:spChg chg="del">
          <ac:chgData name="Kopper, Jordan" userId="b70b14be-98b2-4048-a278-0b2ff614ef08" providerId="ADAL" clId="{C306FF50-8479-4715-8969-CDEBA8863634}" dt="2021-09-11T13:02:03.786" v="1142" actId="478"/>
          <ac:spMkLst>
            <pc:docMk/>
            <pc:sldMk cId="3544380574" sldId="284"/>
            <ac:spMk id="129" creationId="{AFFAB9A7-A515-4C43-A942-926EB9C768A3}"/>
          </ac:spMkLst>
        </pc:spChg>
        <pc:spChg chg="del">
          <ac:chgData name="Kopper, Jordan" userId="b70b14be-98b2-4048-a278-0b2ff614ef08" providerId="ADAL" clId="{C306FF50-8479-4715-8969-CDEBA8863634}" dt="2021-09-11T13:00:51.556" v="1102" actId="478"/>
          <ac:spMkLst>
            <pc:docMk/>
            <pc:sldMk cId="3544380574" sldId="284"/>
            <ac:spMk id="130" creationId="{BE7BFBC0-BBCD-4A6E-8674-7CD328E1E9F5}"/>
          </ac:spMkLst>
        </pc:spChg>
        <pc:spChg chg="del">
          <ac:chgData name="Kopper, Jordan" userId="b70b14be-98b2-4048-a278-0b2ff614ef08" providerId="ADAL" clId="{C306FF50-8479-4715-8969-CDEBA8863634}" dt="2021-09-11T13:00:56.073" v="1105" actId="478"/>
          <ac:spMkLst>
            <pc:docMk/>
            <pc:sldMk cId="3544380574" sldId="284"/>
            <ac:spMk id="131" creationId="{158553FF-99AE-4476-AA11-F886EBB6B640}"/>
          </ac:spMkLst>
        </pc:spChg>
        <pc:spChg chg="del">
          <ac:chgData name="Kopper, Jordan" userId="b70b14be-98b2-4048-a278-0b2ff614ef08" providerId="ADAL" clId="{C306FF50-8479-4715-8969-CDEBA8863634}" dt="2021-09-11T13:00:54.233" v="1104" actId="478"/>
          <ac:spMkLst>
            <pc:docMk/>
            <pc:sldMk cId="3544380574" sldId="284"/>
            <ac:spMk id="132" creationId="{065FE78F-0A85-449E-AC6F-248C9EE23B16}"/>
          </ac:spMkLst>
        </pc:spChg>
        <pc:spChg chg="del mod">
          <ac:chgData name="Kopper, Jordan" userId="b70b14be-98b2-4048-a278-0b2ff614ef08" providerId="ADAL" clId="{C306FF50-8479-4715-8969-CDEBA8863634}" dt="2021-09-11T13:02:50.656" v="1161" actId="478"/>
          <ac:spMkLst>
            <pc:docMk/>
            <pc:sldMk cId="3544380574" sldId="284"/>
            <ac:spMk id="133" creationId="{8982E45F-D406-4D5A-9A94-3F7E93EEFDE7}"/>
          </ac:spMkLst>
        </pc:spChg>
        <pc:spChg chg="del">
          <ac:chgData name="Kopper, Jordan" userId="b70b14be-98b2-4048-a278-0b2ff614ef08" providerId="ADAL" clId="{C306FF50-8479-4715-8969-CDEBA8863634}" dt="2021-09-11T13:02:51.871" v="1162" actId="478"/>
          <ac:spMkLst>
            <pc:docMk/>
            <pc:sldMk cId="3544380574" sldId="284"/>
            <ac:spMk id="134" creationId="{331EC678-97A5-48C0-B312-2C5EA0A72895}"/>
          </ac:spMkLst>
        </pc:spChg>
        <pc:spChg chg="del">
          <ac:chgData name="Kopper, Jordan" userId="b70b14be-98b2-4048-a278-0b2ff614ef08" providerId="ADAL" clId="{C306FF50-8479-4715-8969-CDEBA8863634}" dt="2021-09-11T12:59:45.845" v="1060" actId="478"/>
          <ac:spMkLst>
            <pc:docMk/>
            <pc:sldMk cId="3544380574" sldId="284"/>
            <ac:spMk id="137" creationId="{3A833369-6DDC-4C15-89F2-9F4C49DE7DD5}"/>
          </ac:spMkLst>
        </pc:spChg>
        <pc:spChg chg="del">
          <ac:chgData name="Kopper, Jordan" userId="b70b14be-98b2-4048-a278-0b2ff614ef08" providerId="ADAL" clId="{C306FF50-8479-4715-8969-CDEBA8863634}" dt="2021-09-11T12:59:44.540" v="1059" actId="478"/>
          <ac:spMkLst>
            <pc:docMk/>
            <pc:sldMk cId="3544380574" sldId="284"/>
            <ac:spMk id="138" creationId="{91BA49EE-39DF-4D68-889F-1413CBAEF33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46" creationId="{A2D64534-BF8C-4D2C-9097-61AA4D4C46F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49" creationId="{83CCAAC9-A63A-4002-AB1D-80168B2C739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0" creationId="{73E65EB1-D323-4962-A8C8-C60428A782B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1" creationId="{7D7D5AC8-48D4-4033-90FD-889369E1E1F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2" creationId="{B5AD7861-8421-4ACB-B185-13BE840A95B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3" creationId="{F778952E-88FE-4E33-B181-C9FA07F709C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4" creationId="{2DEECDC1-2D97-4839-A3B8-704CDB818B1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5" creationId="{E4CA0BB0-8A66-4F14-8321-1AE699071B3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6" creationId="{5DCB829E-7661-4F22-90CA-11EE6EB9DC2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7" creationId="{03936A01-92D7-46F0-8199-2E2366C1FCE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8" creationId="{6480BAE5-5D91-4D2E-B5ED-F93F7B7D99A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59" creationId="{E120F887-369D-4BF7-8BD2-49CBD51B13E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0" creationId="{63C8B6E8-ED1E-41DC-826C-22529C8A7F2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1" creationId="{07E031A4-2863-4750-97CF-3EAD682A649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2" creationId="{D93F83B1-77DE-4ED1-8D1B-4D9525AD430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3" creationId="{A7D9826B-0F00-4C7B-90D7-E3531CD56F8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4" creationId="{3C5B6B3E-D0D7-41CC-A11D-0C885F46DAB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5" creationId="{1314714B-734A-4D78-8511-F861FA8A23D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6" creationId="{D7D9CCF4-E1F3-406F-8D1C-93427DFE927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7" creationId="{B8844AF4-A8E3-4068-B849-914D467E1D9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8" creationId="{F401F6BD-97E5-45DE-9167-38C3C81D6B1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69" creationId="{17C42D7E-40D6-4068-913B-A0EE0BFEE9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0" creationId="{C5CF73B7-6D38-42EA-82D5-AF533C03BD7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1" creationId="{6AE6CE51-9B0D-4123-BB7F-CFD835B4B3D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2" creationId="{515F11FA-D3D7-4A91-936D-A798AA24B86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3" creationId="{6A83FAF1-2BA2-46A8-BF1E-C605ACA237A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4" creationId="{A5B2DCEC-8627-4315-B197-171620D610B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5" creationId="{B18586E7-7658-4B28-B956-B4381D6D7A8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6" creationId="{08238C5D-D3A0-4967-AB88-514A6FDA3E3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7" creationId="{591BC710-9E74-4629-AA1B-84A4EEDC59B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8" creationId="{8FC64306-7787-42DB-8E9F-F5A87C20F6A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79" creationId="{F31F5266-1B71-4905-9518-B5E25C19375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0" creationId="{5A5453B0-DCAB-47FD-9741-01875847C9B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1" creationId="{B8E7520D-8C1E-4913-B57B-D3555B28E6F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2" creationId="{E56A26C7-B214-4151-B81D-9A9BCFB8A15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3" creationId="{01B4E53F-3025-49BE-A33D-648AA748636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4" creationId="{C852056E-7D9E-48DF-AA58-AE7773ADE10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5" creationId="{8CFA0464-CB90-4595-B8FE-86BDC95ADAF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6" creationId="{34FCE12D-1B49-44F0-881A-22B032D59DC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7" creationId="{45405676-4747-4733-811E-77799437863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8" creationId="{A9F50FEA-8257-4B51-B6B6-4C8462C370D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89" creationId="{6E737E41-25B4-4A38-8131-547BDB497A7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0" creationId="{4AB797C9-BE14-4A14-ACDF-B89203AAF49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1" creationId="{7BE01105-38CC-4B9F-B108-1564AD9E7E4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2" creationId="{DAC96AAD-DE85-4F3B-9211-38364F641D0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3" creationId="{E7F9877B-809A-427C-84B9-C9E9682C7E6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4" creationId="{025F8096-2D2F-4FCD-B6A9-C4627BE97BA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5" creationId="{FC637227-0C19-4C0B-ADAF-68948B6175A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6" creationId="{579AEC55-0E8E-469C-B3C5-DCCED135F57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7" creationId="{CD5F32E3-8C7F-4E67-BDBF-BC5C6DA4A8D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8" creationId="{E4590B8A-A78B-4772-A6F0-6FFB9CBE6C7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199" creationId="{F542DE03-E986-49CC-88DD-A0E3CFBB20C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0" creationId="{6460D334-4B35-4956-84EB-0FCE2DC8053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1" creationId="{B54E1BA4-F82E-44A0-8424-E3FA3CE277B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2" creationId="{AFC45957-0BB7-41D2-927B-B5D47D0088A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3" creationId="{C5BDD4FB-200F-47F2-89D2-F17A0A9E49C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4" creationId="{69CF4248-E070-4A88-8D4B-617DE5C555F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5" creationId="{E3141A0A-2841-488D-BABD-76126868AF1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6" creationId="{38222287-382A-4B7D-833D-039350B951F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7" creationId="{8D5F265E-8DFD-4ECA-A9DE-199BDB63A35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8" creationId="{B81DB4F1-DEDC-40DD-9C1F-B585FB42F2C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09" creationId="{CB2F7FA8-A2F4-4893-99B6-9EF786D3746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0" creationId="{7E32BA28-AC4B-4A3D-B383-FE7170A226B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1" creationId="{2C7AC1A7-56CA-4455-ABB6-C4CEC011CA2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2" creationId="{3B1C158A-1A9B-45E5-A02B-FDA6BBFD0FF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3" creationId="{A3183FA0-80F7-4EED-83AF-E3E458AB4F9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4" creationId="{5D1FCC3A-275E-49B0-9048-08E7186C7C8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5" creationId="{152F0E03-21FD-4877-9CFD-186946B1428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6" creationId="{6E5DEB1D-7D5C-4D0F-BF1A-C51B62A43D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7" creationId="{C0BA1FF2-C094-42F4-AA87-EE6CC120B6E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8" creationId="{430D3A1E-30EC-4DE4-BB3E-BC5623BE6A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19" creationId="{DE26A1B7-31EA-4055-B5D0-6FF70F83A0F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0" creationId="{6D3CBE87-244D-4A9B-8101-1BD7AA7D419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1" creationId="{02EEF9CE-1593-4F0A-9566-3098ECC5AFA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2" creationId="{99CFC64F-F146-43DA-A6F0-189F03D5701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3" creationId="{5A77FA89-E593-4995-A195-6D08AA88495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4" creationId="{EDD4B72D-44B3-471F-A6F9-E46C74600D7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5" creationId="{82B91C37-2564-44B4-8092-D96D4CA3601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6" creationId="{D174CB63-444E-4470-AA6B-D5961BED5A3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7" creationId="{70500222-E6DA-4320-8361-3556B031CF1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8" creationId="{17922CD5-7782-4BBB-A120-AC8144F47F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29" creationId="{C5A08815-F0CA-4031-9622-A11B53B3FFA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0" creationId="{CDD40995-5F6A-4F22-B405-F9C16BA2274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1" creationId="{E4941F24-902C-43A3-A816-DB10CB390C0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2" creationId="{A0E30AE4-8786-4586-9F51-7BBFDA6DAC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3" creationId="{5C0240F5-C9C6-415F-9176-BFC636A45BA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4" creationId="{627D83FD-53F6-4D25-A61C-407C53FF0B7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5" creationId="{5A3E3E21-9167-4039-B69A-91D2A83AD65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6" creationId="{5C8412CB-6CA9-463F-86A3-AB3F2C9DAD7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7" creationId="{15E89294-85F2-4861-B7C8-DA0D1BFE96A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8" creationId="{0678B03E-81F8-4C4F-B26A-1B96DE3CCBE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39" creationId="{EC67293C-02C7-4F80-A8DF-1AEB586DC08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0" creationId="{EB4CF8D5-35E6-472C-8A81-244E60CAC5C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1" creationId="{730D8EE9-C076-4C14-AD7B-724306B500E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2" creationId="{8B9441AF-C517-4C66-A9FC-49FBCA5B26D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3" creationId="{7BBF4235-CB7F-4597-AC42-207A3F1D8A4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4" creationId="{D155114C-AF94-4F4D-AD8E-B8DAFB3BBAD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5" creationId="{1AD4174A-C6BD-4A08-B73A-7FB9F8F96C0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6" creationId="{21ED1CD0-7AEB-444F-8A92-8A97EE4C5E4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7" creationId="{07FBA21E-33FF-4317-B064-4235CDE93AC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8" creationId="{D4FCD1CF-F4DD-45B4-9E39-633A173652C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49" creationId="{DC45BB76-7722-46FC-BE16-D8A5039E10B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0" creationId="{27F3BE0C-96E0-4A46-A0EF-1B51B43B989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1" creationId="{275AD9C1-1A00-4A83-9006-634345A0974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2" creationId="{7811B690-1183-4E34-B73F-BD84617E971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3" creationId="{5C508ADA-A451-4196-9221-697702B8BE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4" creationId="{C0DC2B27-7A1D-4E50-84F3-9191AC3AA1A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5" creationId="{2B4FBEF4-6499-4108-81B4-4A174905274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6" creationId="{29B461A7-FD3A-44CF-9A16-399B1CD9BD6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7" creationId="{90A318BF-B4C4-4119-94CD-1C1416FCEA3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8" creationId="{270762EA-55D0-44CE-B7A2-CF668E353C9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59" creationId="{5885295C-E3EF-48D1-A81C-6F9B43F6C28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0" creationId="{E4136DBD-80FC-4AFC-AD06-8D2D5055339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1" creationId="{BB21CF15-54FC-4EFA-9343-3EBD42D770A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2" creationId="{9BC3CF9A-8277-43F0-A9A2-DA3BA4BEB0F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3" creationId="{68CB5E84-F64A-4326-908D-202DA2F6794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4" creationId="{D497FD08-ABEF-4310-9C5E-1D51276F51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5" creationId="{402B4AE7-FDDE-4864-BB3A-6B2FD47E811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6" creationId="{6D5D7CC9-234A-4795-818C-C6A9E140084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7" creationId="{F872B4BF-D981-47C9-AA72-0035E3D30C4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8" creationId="{E0F32AA0-5A2C-47A3-9FE5-CA858AF5530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69" creationId="{34DE6DBF-CF49-40A9-BF57-FBDBDDE87B5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0" creationId="{9E8F17D4-B93B-44D5-8F46-011368329E8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1" creationId="{72509122-5D6C-49CD-A9CB-E6C39FEDCFE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2" creationId="{9E56FFDB-D186-492E-A482-CAFE83BD9CC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3" creationId="{404A4C07-CD4C-4654-AD57-8B8E54BF337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4" creationId="{E8F344B5-A004-495D-A89C-11A75013F5F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5" creationId="{A02BC290-51C6-44BC-9FC5-710B166A137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6" creationId="{06FAFE9F-4B11-44AE-B1CE-1F66E70019F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7" creationId="{4B12A06C-B8F4-46B7-A64F-A61A5F9B53C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8" creationId="{BE20FAFE-167B-44F4-ACA5-F8FF5122AF2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79" creationId="{79622900-B5C1-4E5B-89CB-DBA859A62D5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0" creationId="{38F01E56-9991-40C1-9DB8-7C1958113DD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1" creationId="{BB902B48-24CB-421F-AA75-F018BD04542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2" creationId="{FA68AA91-E0A7-4AA0-9DF5-EC0FC807A8F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3" creationId="{B989568F-EB1D-47A5-9B41-46B85ACBC63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4" creationId="{6A63987D-7619-4EF8-B86B-0A939A4FAAB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5" creationId="{4023D367-D9C2-4428-B377-3B1FC8382F2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6" creationId="{A6ED87F0-AD3C-4C50-A416-329E6FABA99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7" creationId="{5F385EDD-FD08-44AC-958F-7F4E6FCF061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8" creationId="{A4CD2CE7-A2C3-48FA-9D47-978B44B84EB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89" creationId="{56682E4D-EFA8-46B8-BFFE-17C49CAB3D3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0" creationId="{A013DEA0-3AAD-4031-99F3-B7B6FA18941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1" creationId="{153BC549-7B13-430D-B6E6-E8180866B13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2" creationId="{1CCC7F27-99CE-4839-BDE2-E54F4E8FF2F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3" creationId="{D3CE2D2E-AE47-4FC3-9252-8BF49487B46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4" creationId="{6B748D4C-ED39-4597-B9CC-D914C4ECF69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5" creationId="{13C4C12C-85C4-46A8-84A3-F2D0FCF0057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6" creationId="{3FA550D4-951C-4753-A5DC-CA039F47FCD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7" creationId="{BB25D263-87A5-4DC3-90EC-C97658E4455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8" creationId="{ED91630D-579B-4069-9BD5-BC321017D33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299" creationId="{A1E8E325-8771-4A36-B40D-53CCCF3F48D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0" creationId="{B4C6D5F9-C645-4A75-B4B0-84CA30E6FC3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1" creationId="{15155F15-06BC-4BE2-A6CB-4CF95BA2751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2" creationId="{BC1E9E2D-6008-423E-91E6-068816E95E7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3" creationId="{315A28C6-B7D1-4AEB-8D32-9E11825E0EB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4" creationId="{9326A840-4E05-4DB5-853D-BE6CB4F0695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5" creationId="{2CC3D061-EB6B-46E3-8382-F2FC4068DC8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6" creationId="{AF2CDD88-BE0D-4F76-8CE4-8FD7C188BEE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7" creationId="{C472EA65-017A-4D9D-B789-A3020036876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8" creationId="{7EC6A3FD-1650-4731-9726-9375B85F814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09" creationId="{F7A1954C-2D6B-44B7-99FC-EE58D76DA2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0" creationId="{77109C86-8ED5-4032-BFE4-73705522C1D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1" creationId="{E97956CA-DD16-4B7C-B00C-203F62B5E0E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2" creationId="{D626C310-A892-4A41-B7E0-CCB654870C5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3" creationId="{E3A0CC43-85B5-49A5-90F3-AFEFB954BFE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4" creationId="{ABEA9D72-F902-40B8-987A-4DC0594BF23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5" creationId="{23226842-2857-4750-927F-8B2FECF40A0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6" creationId="{2C27E359-2554-4820-A91B-0157A5CE629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7" creationId="{CAED99C3-D79B-48FB-A731-77F4FBE9E0A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8" creationId="{723BD4EF-D08D-4DD1-A611-6C949CBA64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19" creationId="{78EDE796-4B9B-442C-8B8C-ED26F66614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0" creationId="{C322A671-BC62-4994-BF88-5D317282858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1" creationId="{EED81A25-E7CE-4A55-9A2A-09C17616CBA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2" creationId="{920B0C59-46EF-495F-B780-63426D955A2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3" creationId="{4D1AADFF-949E-426D-AF2F-4985978E074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4" creationId="{CC90F578-A6C2-4277-AE15-FD2777C2E95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5" creationId="{425469EA-81F2-40AE-AAC5-5B270602B9A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6" creationId="{E9CC688C-7D6C-4A0F-B133-8191F12501D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7" creationId="{65B792AF-5384-440C-A671-7701D6704B5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8" creationId="{DDABFB02-A253-45D6-9F64-8D492184790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29" creationId="{1B964CA3-4FB7-445C-B6F5-3EA3C7999FD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0" creationId="{76B31678-7D93-4676-90DD-BB6AE2AB4B9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1" creationId="{89E442E3-027D-4956-91AE-7D8E213CF9B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2" creationId="{8590FA01-5CCF-413B-81BE-4ACEF29C1C2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3" creationId="{8B9B9ED8-C241-440E-80DC-0B3BADE6FB0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4" creationId="{A1E05DBE-E2D9-4102-9E46-E69562B025C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5" creationId="{859B741B-F6AF-4BC2-B122-3112A6F8270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6" creationId="{75DBF4F9-CFBA-40C2-B232-8D6C4E959ED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7" creationId="{5D9B209D-2FE1-470A-8E12-9A1E28DAE5B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8" creationId="{517F9408-AF97-437D-A178-29C3B9D0C32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39" creationId="{7D74F55B-47BA-4C9A-91EB-14D7E80EAAF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0" creationId="{B5A2F8AD-F5BA-45AB-9AF1-B6096DD28B3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1" creationId="{9F9D356E-CD77-488A-9BA2-88A085E8052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2" creationId="{75512C9A-E46E-4DA6-A07C-821E95D83AF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3" creationId="{2E689EF3-49B7-4704-8FDA-C993DD7EABF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4" creationId="{795D9347-C3EE-435E-9891-91B3FA5E32C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5" creationId="{D770B3A6-FD2F-4BFC-BBCA-83E20E69916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6" creationId="{DAF27191-66BF-444F-9249-631961CF65B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7" creationId="{FC8558E8-688F-4351-BFFD-DD70EC1CB76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8" creationId="{ABBAE965-40AE-48E1-ADF5-CF9A046F510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49" creationId="{60B07A0E-B1DB-478C-882A-98DEEE2DFE1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0" creationId="{6DB857C2-C9DE-46CC-932D-9B59DBE3D01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1" creationId="{761860EE-92B4-4409-B0BE-15EE9FFBE00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2" creationId="{A1869C2F-3072-4EFB-9870-73489BD24D3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3" creationId="{78F17CBC-565D-433B-8068-1173185EB3C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4" creationId="{AD9D84F5-9189-41BB-A1A3-6A964178E86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5" creationId="{E0C05EB8-7C9F-43FC-A798-D45A056BCB5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6" creationId="{C1FD1DB2-85CB-4B98-9486-A19905B646B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7" creationId="{78D928BF-46BB-4F93-90BF-28EB0BAC7C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8" creationId="{9E587FE0-71D5-4A56-9471-BE4F0FAD4B3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59" creationId="{E1B6A76E-910C-492A-9D26-E7D99C336B4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0" creationId="{3B6DCEF4-5671-4977-BA69-5ECC998CFEC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1" creationId="{4678125F-F293-42D5-9C69-189BA883C9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2" creationId="{D71A1E31-7041-4455-B01B-2E794F15F53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3" creationId="{D52CA701-4409-437D-ACF9-EA9EBE749A3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4" creationId="{80B18688-D0CA-473D-8950-FE254F154C3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5" creationId="{F657C1A5-E034-43E8-9A40-F1AC22D41E4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6" creationId="{1E45FF47-A92E-4F3B-91A4-81088700539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7" creationId="{457259AB-C6E7-4F48-ACDA-B25CBE62C06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8" creationId="{889F52FB-A4A0-4A93-AB05-78946D42B65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69" creationId="{D1DDDE8A-36CE-4F3E-9FB9-153A8EFA995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0" creationId="{2A07D46A-2386-4E26-8B52-41D11C35D8B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1" creationId="{F2A3FB6C-9500-41CA-8E9E-1629762ADCF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2" creationId="{477496AE-0D88-4A3A-A6D6-832733BE4D4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3" creationId="{C12AD93D-36F8-46B0-AB81-3BF44A72326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4" creationId="{6CD60829-256A-436D-9468-6C225634FD0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5" creationId="{308E8DAE-063E-422B-B492-3F9499824F5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6" creationId="{6AF9DDB9-25D1-4303-A138-AF918CA844A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7" creationId="{25A07338-E308-48EB-9BE8-0C48CADA3D3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8" creationId="{9F73ED92-938C-4461-BEBF-0768F7B7542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79" creationId="{4CC68871-FBDA-48F2-B54A-24631C629CE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0" creationId="{851ED911-28C5-4240-AFAC-328A7845C64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1" creationId="{4C8F6CBB-DB48-446B-94DF-09B173E02F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2" creationId="{7FB1A970-FE50-421B-837D-F4E7A0DF908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3" creationId="{E92CBB73-5F92-4C4E-ADDE-7F8BF70F6C8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4" creationId="{A69FF554-9224-4AD5-A968-DCE8F366EF2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5" creationId="{CA611425-BA53-400B-AC12-11B973FB9B1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6" creationId="{05497712-E011-4D30-9659-05671114609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7" creationId="{D527639C-471E-4D6F-9E42-8D43C84E12B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8" creationId="{F8F9E3A3-B2DE-4C99-BCBE-AE64290CAE2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89" creationId="{B11112B3-0772-41D0-A790-06BD0E143B3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0" creationId="{E24CDF1B-D5B2-42F3-8385-7AE90C0BBC1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1" creationId="{12237BAC-F4FE-4C37-BD33-B5D976B4B3D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2" creationId="{CCE3644F-9240-4DFD-BC79-E848A111907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3" creationId="{B26A0D2D-842A-4734-A4A9-DFE5CA2D223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4" creationId="{C4BB16F5-9550-4472-865D-D73610405F9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5" creationId="{CCD94929-6A22-454B-A39F-5ACB7198BE3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6" creationId="{5DBF7708-18D7-4D66-BAD8-8326771C664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7" creationId="{04C4398E-526A-4053-BC64-E1F3A34EE85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8" creationId="{C56F3550-13E9-4486-8A9E-C85D062772D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399" creationId="{03F04582-CBB1-428B-A78B-CB19E15A75D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0" creationId="{4943F4E1-6D9B-4F50-B2BB-CE6D069FAB3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1" creationId="{F673A60B-A6D3-44EB-863D-D76956B52A3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2" creationId="{E212183B-D09C-44F7-AD84-AD2FA4EDBFA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3" creationId="{9705B310-9A55-432D-B1E0-E2B5611CD3D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4" creationId="{6AA570D1-50CD-4AC8-9D3A-DDEAE249F9B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5" creationId="{EBAAE8DD-572C-4C25-B676-5871841501E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6" creationId="{C900B5B6-181B-41AE-91B5-24294BDBA4D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7" creationId="{DE0277CA-C6B0-4FCF-9366-5E7288E0E6B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8" creationId="{7CA449E2-0B0D-4273-A109-0373EBBE495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09" creationId="{99902525-6A25-4500-9291-83CEED7942B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0" creationId="{560EE89B-838B-4753-B631-00D8054498F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1" creationId="{91124C3A-2C09-4833-AFDD-9CBD50ED5DE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2" creationId="{A0643268-4C47-4119-A66B-8913E2FB667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3" creationId="{57C3D0AC-655C-47F0-AF72-366607FC63B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4" creationId="{6EAE0523-09FE-49BD-9068-C692941C96BE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5" creationId="{D17E0487-793D-44AB-B5CE-AB01F9B61C6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6" creationId="{F0EB64CE-0C3C-4BEE-BF54-5D480A1A7369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7" creationId="{4FAE3913-E374-4FA8-9B7A-6B129057846A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8" creationId="{37D5E1A3-8560-4AE8-ACBE-D7C9CFFA5B8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19" creationId="{F66CD886-D04C-4052-8105-CEA839569CD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0" creationId="{07C35AD9-297A-46A3-BA7D-CB2179C501E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1" creationId="{49B54715-AC43-4B74-B880-2873C351BE1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2" creationId="{40E18A35-A33D-4B7F-B050-80A16FA7ECC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3" creationId="{5DF300E0-BD8B-4AF8-9645-AE924C529DD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4" creationId="{BE37ECEF-BB60-45CE-96EB-440DCE13BE6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5" creationId="{08778D54-AD9E-4288-83FD-6F09F556510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6" creationId="{1F97E4D7-7E82-4086-B8FF-A835DD0C993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7" creationId="{58A8E75D-B738-4DB7-B851-3B050DFEFA7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8" creationId="{82928540-0472-43DB-800E-5DDC555A8C0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29" creationId="{ED8BA1FC-2B4C-472F-A6FB-B62E16A8CBE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0" creationId="{7A000F93-F920-4E70-8FC1-F26912F48AF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1" creationId="{9FE7F6AB-CDC4-4905-8BBE-ACC17DB7E50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2" creationId="{41A14253-5466-4D6A-A85C-FBD9EA91E88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3" creationId="{E0192468-5E6A-4D4B-B3AB-001CE88C7C0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4" creationId="{1EA6401A-8AD3-401E-BEE3-5B0A4124F77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5" creationId="{896AC326-F98A-4CAF-B1B6-02EDD9F0B21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6" creationId="{C8708F11-0212-426F-AFAD-5B35CC0863B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7" creationId="{21BF37DB-48B0-4C87-AC6D-27BBEAF7197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8" creationId="{A700B65B-2F37-4879-8B0D-736E14A3021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39" creationId="{2DBB650D-A240-4777-AF62-D14CFB859ABC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0" creationId="{600C1ACD-3788-4B4F-A77E-77B6C49584D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1" creationId="{ED433381-598B-4766-BB32-3A9BACE72A2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2" creationId="{89352208-C0FF-4D38-9A08-AE550C7FF1D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3" creationId="{0EEB161A-0135-4D06-B8D5-5A69FFD889E0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4" creationId="{968F47A8-C017-421C-BD0D-3060A2586E2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5" creationId="{9F5BE9C5-A981-4F85-B746-0DE9243F44F2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6" creationId="{0507C70B-904A-48D3-8D2F-8B0818D1AD7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7" creationId="{9FE0B520-5BE9-42F0-9D8D-3916D9E77B8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8" creationId="{D58ECD63-2BEB-45BF-AFCF-6A5F7ED7667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49" creationId="{F20DA0DC-D9B9-4478-9538-C12C77CCD1E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0" creationId="{F643DED9-5F7A-4C79-BACB-9C132FCEB26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1" creationId="{23E4F726-DC8C-415D-ACBC-DB5379FD1345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2" creationId="{982DCC3E-586C-4D11-B646-1D7C8A9CBC4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3" creationId="{21AC3A8F-DF4E-4954-AE1E-7A044D4545A7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4" creationId="{0A61A903-03B6-4353-A529-9C9AA83EAE6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5" creationId="{76211761-0744-4788-B4E3-6613BCA6A8ED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6" creationId="{B2C47D34-557F-4CB8-85CD-6BDBC82F8388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7" creationId="{14D121FB-0314-4A9F-B1D1-F173B9A0E273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8" creationId="{A94C6A6A-3503-4E3F-BD83-5F9918056C3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59" creationId="{C8EE8677-0582-4595-A20E-31391DDEA82F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0" creationId="{B20F3380-B703-4536-A0B1-611B07862B9B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1" creationId="{3A4223A2-A1E7-4307-8FAD-87DB7573ABA4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2" creationId="{D9EF7B5B-F2FA-43B2-AD45-AC08F1B89B56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3" creationId="{B5DC4732-F33E-4E19-B150-90F05F8EDAE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4" creationId="{777958A1-9753-4F13-8587-AFC2D62C84B1}"/>
          </ac:spMkLst>
        </pc:spChg>
        <pc:spChg chg="mod">
          <ac:chgData name="Kopper, Jordan" userId="b70b14be-98b2-4048-a278-0b2ff614ef08" providerId="ADAL" clId="{C306FF50-8479-4715-8969-CDEBA8863634}" dt="2021-09-11T13:02:54.654" v="1164" actId="1076"/>
          <ac:spMkLst>
            <pc:docMk/>
            <pc:sldMk cId="3544380574" sldId="284"/>
            <ac:spMk id="465" creationId="{E980B81F-8CB6-4324-8751-B2F80E8C88AC}"/>
          </ac:spMkLst>
        </pc:spChg>
        <pc:spChg chg="add mod">
          <ac:chgData name="Kopper, Jordan" userId="b70b14be-98b2-4048-a278-0b2ff614ef08" providerId="ADAL" clId="{C306FF50-8479-4715-8969-CDEBA8863634}" dt="2021-09-11T13:02:34.617" v="1157" actId="1076"/>
          <ac:spMkLst>
            <pc:docMk/>
            <pc:sldMk cId="3544380574" sldId="284"/>
            <ac:spMk id="466" creationId="{47ADEEAA-05EC-474B-882D-B83DCDD314DA}"/>
          </ac:spMkLst>
        </pc:spChg>
        <pc:spChg chg="add mod">
          <ac:chgData name="Kopper, Jordan" userId="b70b14be-98b2-4048-a278-0b2ff614ef08" providerId="ADAL" clId="{C306FF50-8479-4715-8969-CDEBA8863634}" dt="2021-09-11T15:03:47.164" v="3051" actId="20577"/>
          <ac:spMkLst>
            <pc:docMk/>
            <pc:sldMk cId="3544380574" sldId="284"/>
            <ac:spMk id="467" creationId="{B1C064FA-2142-4972-918A-0944C8244CEC}"/>
          </ac:spMkLst>
        </pc:spChg>
        <pc:spChg chg="add del mod">
          <ac:chgData name="Kopper, Jordan" userId="b70b14be-98b2-4048-a278-0b2ff614ef08" providerId="ADAL" clId="{C306FF50-8479-4715-8969-CDEBA8863634}" dt="2021-09-11T13:07:22.549" v="1226" actId="478"/>
          <ac:spMkLst>
            <pc:docMk/>
            <pc:sldMk cId="3544380574" sldId="284"/>
            <ac:spMk id="468" creationId="{2C672C91-8992-455D-BDC7-D65E81002F73}"/>
          </ac:spMkLst>
        </pc:spChg>
        <pc:spChg chg="add del mod">
          <ac:chgData name="Kopper, Jordan" userId="b70b14be-98b2-4048-a278-0b2ff614ef08" providerId="ADAL" clId="{C306FF50-8479-4715-8969-CDEBA8863634}" dt="2021-09-11T13:04:50.561" v="1182" actId="478"/>
          <ac:spMkLst>
            <pc:docMk/>
            <pc:sldMk cId="3544380574" sldId="284"/>
            <ac:spMk id="469" creationId="{FA57ECA9-9390-4BE8-9EDD-C09D37C01959}"/>
          </ac:spMkLst>
        </pc:spChg>
        <pc:spChg chg="mod">
          <ac:chgData name="Kopper, Jordan" userId="b70b14be-98b2-4048-a278-0b2ff614ef08" providerId="ADAL" clId="{C306FF50-8479-4715-8969-CDEBA8863634}" dt="2021-09-11T13:01:38.197" v="1138" actId="1076"/>
          <ac:spMkLst>
            <pc:docMk/>
            <pc:sldMk cId="3544380574" sldId="284"/>
            <ac:spMk id="472" creationId="{ABD9FDA7-AA61-4A36-A3B0-4619A9D809D3}"/>
          </ac:spMkLst>
        </pc:spChg>
        <pc:spChg chg="mod">
          <ac:chgData name="Kopper, Jordan" userId="b70b14be-98b2-4048-a278-0b2ff614ef08" providerId="ADAL" clId="{C306FF50-8479-4715-8969-CDEBA8863634}" dt="2021-09-11T13:01:38.197" v="1138" actId="1076"/>
          <ac:spMkLst>
            <pc:docMk/>
            <pc:sldMk cId="3544380574" sldId="284"/>
            <ac:spMk id="473" creationId="{49615CE6-763A-4FF3-A1CA-43AEA87E60E4}"/>
          </ac:spMkLst>
        </pc:spChg>
        <pc:spChg chg="mod">
          <ac:chgData name="Kopper, Jordan" userId="b70b14be-98b2-4048-a278-0b2ff614ef08" providerId="ADAL" clId="{C306FF50-8479-4715-8969-CDEBA8863634}" dt="2021-09-11T13:01:38.197" v="1138" actId="1076"/>
          <ac:spMkLst>
            <pc:docMk/>
            <pc:sldMk cId="3544380574" sldId="284"/>
            <ac:spMk id="474" creationId="{CB045C6E-5421-4DAB-9F8C-43E322A4A711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3" creationId="{0C4B9916-35D5-4F45-9F42-11307116347F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4" creationId="{C48DA50E-9061-428B-A85B-B84141770C2A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5" creationId="{EC4A21C2-A51E-408F-9824-BD3908D3C8DB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6" creationId="{D9A5F3E4-5185-4E85-B94B-FBC7CB0E9217}"/>
          </ac:spMkLst>
        </pc:spChg>
        <pc:spChg chg="mod">
          <ac:chgData name="Kopper, Jordan" userId="b70b14be-98b2-4048-a278-0b2ff614ef08" providerId="ADAL" clId="{C306FF50-8479-4715-8969-CDEBA8863634}" dt="2021-09-11T13:01:28.461" v="1137" actId="1076"/>
          <ac:spMkLst>
            <pc:docMk/>
            <pc:sldMk cId="3544380574" sldId="284"/>
            <ac:spMk id="487" creationId="{B96259F3-736A-4933-9668-93AFDC37DDD7}"/>
          </ac:spMkLst>
        </pc:spChg>
        <pc:spChg chg="add del mod">
          <ac:chgData name="Kopper, Jordan" userId="b70b14be-98b2-4048-a278-0b2ff614ef08" providerId="ADAL" clId="{C306FF50-8479-4715-8969-CDEBA8863634}" dt="2021-09-11T13:05:36.694" v="1194" actId="478"/>
          <ac:spMkLst>
            <pc:docMk/>
            <pc:sldMk cId="3544380574" sldId="284"/>
            <ac:spMk id="488" creationId="{ED57EFB8-389A-4819-BA49-0BCD421D401D}"/>
          </ac:spMkLst>
        </pc:spChg>
        <pc:spChg chg="add del mod">
          <ac:chgData name="Kopper, Jordan" userId="b70b14be-98b2-4048-a278-0b2ff614ef08" providerId="ADAL" clId="{C306FF50-8479-4715-8969-CDEBA8863634}" dt="2021-09-11T13:07:21.718" v="1225" actId="478"/>
          <ac:spMkLst>
            <pc:docMk/>
            <pc:sldMk cId="3544380574" sldId="284"/>
            <ac:spMk id="490" creationId="{328AD14B-6DA3-4AD3-B2B4-E85D713AC19F}"/>
          </ac:spMkLst>
        </pc:spChg>
        <pc:spChg chg="add del mod">
          <ac:chgData name="Kopper, Jordan" userId="b70b14be-98b2-4048-a278-0b2ff614ef08" providerId="ADAL" clId="{C306FF50-8479-4715-8969-CDEBA8863634}" dt="2021-09-11T13:04:50.033" v="1181" actId="478"/>
          <ac:spMkLst>
            <pc:docMk/>
            <pc:sldMk cId="3544380574" sldId="284"/>
            <ac:spMk id="491" creationId="{800EE164-8D67-4767-AB11-F8EE82D3AFA7}"/>
          </ac:spMkLst>
        </pc:spChg>
        <pc:spChg chg="add del mod">
          <ac:chgData name="Kopper, Jordan" userId="b70b14be-98b2-4048-a278-0b2ff614ef08" providerId="ADAL" clId="{C306FF50-8479-4715-8969-CDEBA8863634}" dt="2021-09-11T13:05:37.750" v="1195" actId="478"/>
          <ac:spMkLst>
            <pc:docMk/>
            <pc:sldMk cId="3544380574" sldId="284"/>
            <ac:spMk id="492" creationId="{D62A44E0-17E2-4DA1-A053-A50F828997DB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494" creationId="{F49FB390-1F98-47C4-9F46-C1F2178C4134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495" creationId="{AE5E9115-BEF4-4CC8-8897-887535F2E57B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496" creationId="{EE798C60-852D-4823-8684-6E4225A05785}"/>
          </ac:spMkLst>
        </pc:spChg>
        <pc:spChg chg="add del mod ord">
          <ac:chgData name="Kopper, Jordan" userId="b70b14be-98b2-4048-a278-0b2ff614ef08" providerId="ADAL" clId="{C306FF50-8479-4715-8969-CDEBA8863634}" dt="2021-09-11T13:20:18.345" v="1506" actId="1035"/>
          <ac:spMkLst>
            <pc:docMk/>
            <pc:sldMk cId="3544380574" sldId="284"/>
            <ac:spMk id="497" creationId="{28B9CBD6-5FC8-48B2-9334-3899BF41A5FF}"/>
          </ac:spMkLst>
        </pc:spChg>
        <pc:spChg chg="mod">
          <ac:chgData name="Kopper, Jordan" userId="b70b14be-98b2-4048-a278-0b2ff614ef08" providerId="ADAL" clId="{C306FF50-8479-4715-8969-CDEBA8863634}" dt="2021-09-11T13:10:02.349" v="1297" actId="1076"/>
          <ac:spMkLst>
            <pc:docMk/>
            <pc:sldMk cId="3544380574" sldId="284"/>
            <ac:spMk id="499" creationId="{37B175DC-B053-4767-8F4E-DC7474961C90}"/>
          </ac:spMkLst>
        </pc:spChg>
        <pc:spChg chg="mod">
          <ac:chgData name="Kopper, Jordan" userId="b70b14be-98b2-4048-a278-0b2ff614ef08" providerId="ADAL" clId="{C306FF50-8479-4715-8969-CDEBA8863634}" dt="2021-09-11T13:10:02.349" v="1297" actId="1076"/>
          <ac:spMkLst>
            <pc:docMk/>
            <pc:sldMk cId="3544380574" sldId="284"/>
            <ac:spMk id="500" creationId="{7F402853-1552-4F45-86F5-16B33520CEDA}"/>
          </ac:spMkLst>
        </pc:spChg>
        <pc:spChg chg="mod">
          <ac:chgData name="Kopper, Jordan" userId="b70b14be-98b2-4048-a278-0b2ff614ef08" providerId="ADAL" clId="{C306FF50-8479-4715-8969-CDEBA8863634}" dt="2021-09-11T13:10:02.349" v="1297" actId="1076"/>
          <ac:spMkLst>
            <pc:docMk/>
            <pc:sldMk cId="3544380574" sldId="284"/>
            <ac:spMk id="501" creationId="{AA49B65E-58CC-4B28-98EB-9F22A295B778}"/>
          </ac:spMkLst>
        </pc:spChg>
        <pc:spChg chg="add del mod">
          <ac:chgData name="Kopper, Jordan" userId="b70b14be-98b2-4048-a278-0b2ff614ef08" providerId="ADAL" clId="{C306FF50-8479-4715-8969-CDEBA8863634}" dt="2021-09-11T13:04:23.670" v="1174" actId="478"/>
          <ac:spMkLst>
            <pc:docMk/>
            <pc:sldMk cId="3544380574" sldId="284"/>
            <ac:spMk id="502" creationId="{D5FFC855-973E-4EB3-B35A-023C83253085}"/>
          </ac:spMkLst>
        </pc:spChg>
        <pc:spChg chg="add del mod">
          <ac:chgData name="Kopper, Jordan" userId="b70b14be-98b2-4048-a278-0b2ff614ef08" providerId="ADAL" clId="{C306FF50-8479-4715-8969-CDEBA8863634}" dt="2021-09-11T13:04:52.197" v="1183" actId="478"/>
          <ac:spMkLst>
            <pc:docMk/>
            <pc:sldMk cId="3544380574" sldId="284"/>
            <ac:spMk id="503" creationId="{2328408D-2017-43C6-A4D3-9772DE1567A4}"/>
          </ac:spMkLst>
        </pc:spChg>
        <pc:spChg chg="add del mod">
          <ac:chgData name="Kopper, Jordan" userId="b70b14be-98b2-4048-a278-0b2ff614ef08" providerId="ADAL" clId="{C306FF50-8479-4715-8969-CDEBA8863634}" dt="2021-09-11T13:05:41.100" v="1196" actId="478"/>
          <ac:spMkLst>
            <pc:docMk/>
            <pc:sldMk cId="3544380574" sldId="284"/>
            <ac:spMk id="504" creationId="{269DB05B-EC6A-4011-8CED-9AF572170BB3}"/>
          </ac:spMkLst>
        </pc:spChg>
        <pc:spChg chg="add del mod ord">
          <ac:chgData name="Kopper, Jordan" userId="b70b14be-98b2-4048-a278-0b2ff614ef08" providerId="ADAL" clId="{C306FF50-8479-4715-8969-CDEBA8863634}" dt="2021-09-11T13:07:08.578" v="1221" actId="1582"/>
          <ac:spMkLst>
            <pc:docMk/>
            <pc:sldMk cId="3544380574" sldId="284"/>
            <ac:spMk id="506" creationId="{A8C9E384-82F1-4AD8-92C7-E2A2469D98F4}"/>
          </ac:spMkLst>
        </pc:spChg>
        <pc:spChg chg="mod">
          <ac:chgData name="Kopper, Jordan" userId="b70b14be-98b2-4048-a278-0b2ff614ef08" providerId="ADAL" clId="{C306FF50-8479-4715-8969-CDEBA8863634}" dt="2021-09-11T13:10:59.096" v="1304" actId="14100"/>
          <ac:spMkLst>
            <pc:docMk/>
            <pc:sldMk cId="3544380574" sldId="284"/>
            <ac:spMk id="507" creationId="{68C025F9-EC3F-4BE6-BFAD-0953C1621572}"/>
          </ac:spMkLst>
        </pc:spChg>
        <pc:spChg chg="mod">
          <ac:chgData name="Kopper, Jordan" userId="b70b14be-98b2-4048-a278-0b2ff614ef08" providerId="ADAL" clId="{C306FF50-8479-4715-8969-CDEBA8863634}" dt="2021-09-11T15:02:00.691" v="2934" actId="20577"/>
          <ac:spMkLst>
            <pc:docMk/>
            <pc:sldMk cId="3544380574" sldId="284"/>
            <ac:spMk id="508" creationId="{9C01F566-4460-4257-A020-8539BFAFE2C1}"/>
          </ac:spMkLst>
        </pc:spChg>
        <pc:spChg chg="mod">
          <ac:chgData name="Kopper, Jordan" userId="b70b14be-98b2-4048-a278-0b2ff614ef08" providerId="ADAL" clId="{C306FF50-8479-4715-8969-CDEBA8863634}" dt="2021-09-11T13:05:15.507" v="1188"/>
          <ac:spMkLst>
            <pc:docMk/>
            <pc:sldMk cId="3544380574" sldId="284"/>
            <ac:spMk id="511" creationId="{CDEF8FC5-2E16-4444-9CD8-1E0DCD129C46}"/>
          </ac:spMkLst>
        </pc:spChg>
        <pc:spChg chg="mod">
          <ac:chgData name="Kopper, Jordan" userId="b70b14be-98b2-4048-a278-0b2ff614ef08" providerId="ADAL" clId="{C306FF50-8479-4715-8969-CDEBA8863634}" dt="2021-09-11T13:05:15.507" v="1188"/>
          <ac:spMkLst>
            <pc:docMk/>
            <pc:sldMk cId="3544380574" sldId="284"/>
            <ac:spMk id="512" creationId="{A0BA4899-5364-46C3-A137-A05F0D41E034}"/>
          </ac:spMkLst>
        </pc:spChg>
        <pc:spChg chg="mod">
          <ac:chgData name="Kopper, Jordan" userId="b70b14be-98b2-4048-a278-0b2ff614ef08" providerId="ADAL" clId="{C306FF50-8479-4715-8969-CDEBA8863634}" dt="2021-09-11T13:05:15.507" v="1188"/>
          <ac:spMkLst>
            <pc:docMk/>
            <pc:sldMk cId="3544380574" sldId="284"/>
            <ac:spMk id="513" creationId="{2ACE3E24-6D6C-4906-9412-6CC14F099236}"/>
          </ac:spMkLst>
        </pc:spChg>
        <pc:spChg chg="mod">
          <ac:chgData name="Kopper, Jordan" userId="b70b14be-98b2-4048-a278-0b2ff614ef08" providerId="ADAL" clId="{C306FF50-8479-4715-8969-CDEBA8863634}" dt="2021-09-11T13:05:23.137" v="1190"/>
          <ac:spMkLst>
            <pc:docMk/>
            <pc:sldMk cId="3544380574" sldId="284"/>
            <ac:spMk id="516" creationId="{1C0B5B7C-610A-436F-AC5A-6283B6EB0685}"/>
          </ac:spMkLst>
        </pc:spChg>
        <pc:spChg chg="mod">
          <ac:chgData name="Kopper, Jordan" userId="b70b14be-98b2-4048-a278-0b2ff614ef08" providerId="ADAL" clId="{C306FF50-8479-4715-8969-CDEBA8863634}" dt="2021-09-11T13:05:28.206" v="1192" actId="1076"/>
          <ac:spMkLst>
            <pc:docMk/>
            <pc:sldMk cId="3544380574" sldId="284"/>
            <ac:spMk id="517" creationId="{3FED1F07-39EA-40F6-98CC-8D64BAA81F7E}"/>
          </ac:spMkLst>
        </pc:spChg>
        <pc:spChg chg="mod">
          <ac:chgData name="Kopper, Jordan" userId="b70b14be-98b2-4048-a278-0b2ff614ef08" providerId="ADAL" clId="{C306FF50-8479-4715-8969-CDEBA8863634}" dt="2021-09-11T13:05:23.137" v="1190"/>
          <ac:spMkLst>
            <pc:docMk/>
            <pc:sldMk cId="3544380574" sldId="284"/>
            <ac:spMk id="518" creationId="{2853D28B-D13B-443B-9541-E2DA54D36F0F}"/>
          </ac:spMkLst>
        </pc:spChg>
        <pc:spChg chg="add del mod">
          <ac:chgData name="Kopper, Jordan" userId="b70b14be-98b2-4048-a278-0b2ff614ef08" providerId="ADAL" clId="{C306FF50-8479-4715-8969-CDEBA8863634}" dt="2021-09-11T13:06:57.280" v="1218" actId="478"/>
          <ac:spMkLst>
            <pc:docMk/>
            <pc:sldMk cId="3544380574" sldId="284"/>
            <ac:spMk id="520" creationId="{68196769-5663-4C22-8BC5-E087159DCA37}"/>
          </ac:spMkLst>
        </pc:spChg>
        <pc:spChg chg="mod">
          <ac:chgData name="Kopper, Jordan" userId="b70b14be-98b2-4048-a278-0b2ff614ef08" providerId="ADAL" clId="{C306FF50-8479-4715-8969-CDEBA8863634}" dt="2021-09-11T13:09:07.188" v="1286" actId="207"/>
          <ac:spMkLst>
            <pc:docMk/>
            <pc:sldMk cId="3544380574" sldId="284"/>
            <ac:spMk id="522" creationId="{BEB66D25-D6CD-449C-8D2B-6AB49ADB0BC9}"/>
          </ac:spMkLst>
        </pc:spChg>
        <pc:spChg chg="mod">
          <ac:chgData name="Kopper, Jordan" userId="b70b14be-98b2-4048-a278-0b2ff614ef08" providerId="ADAL" clId="{C306FF50-8479-4715-8969-CDEBA8863634}" dt="2021-09-11T15:02:05.870" v="2948" actId="20577"/>
          <ac:spMkLst>
            <pc:docMk/>
            <pc:sldMk cId="3544380574" sldId="284"/>
            <ac:spMk id="523" creationId="{2A5025BE-743A-460B-9B53-0ED6E315118B}"/>
          </ac:spMkLst>
        </pc:spChg>
        <pc:spChg chg="mod">
          <ac:chgData name="Kopper, Jordan" userId="b70b14be-98b2-4048-a278-0b2ff614ef08" providerId="ADAL" clId="{C306FF50-8479-4715-8969-CDEBA8863634}" dt="2021-09-11T13:09:13.779" v="1288" actId="1582"/>
          <ac:spMkLst>
            <pc:docMk/>
            <pc:sldMk cId="3544380574" sldId="284"/>
            <ac:spMk id="524" creationId="{AD9E1F3C-0452-4877-9AAA-FFD437D16042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26" creationId="{A0F65C61-C679-4993-96C3-F1A89FDE28D1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27" creationId="{58050944-E3D1-42AB-B7DD-7BE13EC75155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28" creationId="{E910456C-D8B3-452B-9E36-1CA88A531A46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30" creationId="{FC612B7F-A603-4187-AB8C-1DB9C9DF47B8}"/>
          </ac:spMkLst>
        </pc:spChg>
        <pc:spChg chg="mod">
          <ac:chgData name="Kopper, Jordan" userId="b70b14be-98b2-4048-a278-0b2ff614ef08" providerId="ADAL" clId="{C306FF50-8479-4715-8969-CDEBA8863634}" dt="2021-09-11T15:02:21.567" v="3007" actId="20577"/>
          <ac:spMkLst>
            <pc:docMk/>
            <pc:sldMk cId="3544380574" sldId="284"/>
            <ac:spMk id="531" creationId="{FCB5082F-9F74-4030-8DF8-84EB6477465C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32" creationId="{875DED31-9CC5-4F69-A09F-36856FF77254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34" creationId="{5D665715-4405-46DA-8D26-92F61673D27A}"/>
          </ac:spMkLst>
        </pc:spChg>
        <pc:spChg chg="mod">
          <ac:chgData name="Kopper, Jordan" userId="b70b14be-98b2-4048-a278-0b2ff614ef08" providerId="ADAL" clId="{C306FF50-8479-4715-8969-CDEBA8863634}" dt="2021-09-11T15:02:10.951" v="2963" actId="20577"/>
          <ac:spMkLst>
            <pc:docMk/>
            <pc:sldMk cId="3544380574" sldId="284"/>
            <ac:spMk id="535" creationId="{423A5BFD-3005-44AC-B605-A3B3A6BD6326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36" creationId="{E3C07580-7EDB-4FD3-AC6C-7521EAC6A680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38" creationId="{55B52450-2F6C-447F-B528-F94F881F7F2F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39" creationId="{9326DF5B-6C02-42E3-82C0-6A30DA22E31D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40" creationId="{48D29FBB-95DE-4F3A-869B-285744F20C75}"/>
          </ac:spMkLst>
        </pc:spChg>
        <pc:spChg chg="add mod">
          <ac:chgData name="Kopper, Jordan" userId="b70b14be-98b2-4048-a278-0b2ff614ef08" providerId="ADAL" clId="{C306FF50-8479-4715-8969-CDEBA8863634}" dt="2021-09-11T13:20:18.345" v="1506" actId="1035"/>
          <ac:spMkLst>
            <pc:docMk/>
            <pc:sldMk cId="3544380574" sldId="284"/>
            <ac:spMk id="541" creationId="{27727109-F633-4170-8B09-EA390CC2F46C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43" creationId="{F92415FB-797B-4A1B-8180-88B56DF68178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44" creationId="{C859EE98-4E4B-43B1-B9C5-1D30C3BD887D}"/>
          </ac:spMkLst>
        </pc:spChg>
        <pc:spChg chg="mod">
          <ac:chgData name="Kopper, Jordan" userId="b70b14be-98b2-4048-a278-0b2ff614ef08" providerId="ADAL" clId="{C306FF50-8479-4715-8969-CDEBA8863634}" dt="2021-09-11T13:11:30.670" v="1309" actId="1038"/>
          <ac:spMkLst>
            <pc:docMk/>
            <pc:sldMk cId="3544380574" sldId="284"/>
            <ac:spMk id="545" creationId="{A9EA681E-A356-40E2-8E6B-97750675E03A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47" creationId="{A8C15813-4A8E-487F-8FD3-DE56D3C4EED9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48" creationId="{1E7A683D-48E8-4C02-87A9-F922F8C0B0C2}"/>
          </ac:spMkLst>
        </pc:spChg>
        <pc:spChg chg="mod">
          <ac:chgData name="Kopper, Jordan" userId="b70b14be-98b2-4048-a278-0b2ff614ef08" providerId="ADAL" clId="{C306FF50-8479-4715-8969-CDEBA8863634}" dt="2021-09-11T13:20:35.429" v="1526" actId="1035"/>
          <ac:spMkLst>
            <pc:docMk/>
            <pc:sldMk cId="3544380574" sldId="284"/>
            <ac:spMk id="549" creationId="{A3D1E550-8173-4782-BDBE-64F626CF9AF4}"/>
          </ac:spMkLst>
        </pc:spChg>
        <pc:grpChg chg="del">
          <ac:chgData name="Kopper, Jordan" userId="b70b14be-98b2-4048-a278-0b2ff614ef08" providerId="ADAL" clId="{C306FF50-8479-4715-8969-CDEBA8863634}" dt="2021-09-11T12:59:42.273" v="1058" actId="478"/>
          <ac:grpSpMkLst>
            <pc:docMk/>
            <pc:sldMk cId="3544380574" sldId="284"/>
            <ac:grpSpMk id="93" creationId="{0C71FE21-9E76-4937-AA72-57C95F71D13A}"/>
          </ac:grpSpMkLst>
        </pc:grpChg>
        <pc:grpChg chg="del">
          <ac:chgData name="Kopper, Jordan" userId="b70b14be-98b2-4048-a278-0b2ff614ef08" providerId="ADAL" clId="{C306FF50-8479-4715-8969-CDEBA8863634}" dt="2021-09-11T12:59:40.360" v="1057" actId="478"/>
          <ac:grpSpMkLst>
            <pc:docMk/>
            <pc:sldMk cId="3544380574" sldId="284"/>
            <ac:grpSpMk id="102" creationId="{C3557BB7-4D0D-4FD0-B034-475D07C0D3F5}"/>
          </ac:grpSpMkLst>
        </pc:grpChg>
        <pc:grpChg chg="mod">
          <ac:chgData name="Kopper, Jordan" userId="b70b14be-98b2-4048-a278-0b2ff614ef08" providerId="ADAL" clId="{C306FF50-8479-4715-8969-CDEBA8863634}" dt="2021-09-11T13:02:54.654" v="1164" actId="1076"/>
          <ac:grpSpMkLst>
            <pc:docMk/>
            <pc:sldMk cId="3544380574" sldId="284"/>
            <ac:grpSpMk id="147" creationId="{3BA78A3C-5AD5-4186-B56A-A9BB73A3EA99}"/>
          </ac:grpSpMkLst>
        </pc:grpChg>
        <pc:grpChg chg="add del mod">
          <ac:chgData name="Kopper, Jordan" userId="b70b14be-98b2-4048-a278-0b2ff614ef08" providerId="ADAL" clId="{C306FF50-8479-4715-8969-CDEBA8863634}" dt="2021-09-11T13:02:54.654" v="1164" actId="1076"/>
          <ac:grpSpMkLst>
            <pc:docMk/>
            <pc:sldMk cId="3544380574" sldId="284"/>
            <ac:grpSpMk id="470" creationId="{FE4E5D7D-CDCA-4B75-948A-533D23A49E04}"/>
          </ac:grpSpMkLst>
        </pc:grpChg>
        <pc:grpChg chg="mod">
          <ac:chgData name="Kopper, Jordan" userId="b70b14be-98b2-4048-a278-0b2ff614ef08" providerId="ADAL" clId="{C306FF50-8479-4715-8969-CDEBA8863634}" dt="2021-09-11T13:01:38.197" v="1138" actId="1076"/>
          <ac:grpSpMkLst>
            <pc:docMk/>
            <pc:sldMk cId="3544380574" sldId="284"/>
            <ac:grpSpMk id="471" creationId="{DE8BE07B-5AF6-4F27-9AE3-F4CB248CB51A}"/>
          </ac:grpSpMkLst>
        </pc:grpChg>
        <pc:grpChg chg="del">
          <ac:chgData name="Kopper, Jordan" userId="b70b14be-98b2-4048-a278-0b2ff614ef08" providerId="ADAL" clId="{C306FF50-8479-4715-8969-CDEBA8863634}" dt="2021-09-11T13:00:50.742" v="1101" actId="478"/>
          <ac:grpSpMkLst>
            <pc:docMk/>
            <pc:sldMk cId="3544380574" sldId="284"/>
            <ac:grpSpMk id="475" creationId="{D12731F1-EB7F-4ED2-936F-1499C328DEC2}"/>
          </ac:grpSpMkLst>
        </pc:grpChg>
        <pc:grpChg chg="del">
          <ac:chgData name="Kopper, Jordan" userId="b70b14be-98b2-4048-a278-0b2ff614ef08" providerId="ADAL" clId="{C306FF50-8479-4715-8969-CDEBA8863634}" dt="2021-09-11T12:59:52.016" v="1062" actId="478"/>
          <ac:grpSpMkLst>
            <pc:docMk/>
            <pc:sldMk cId="3544380574" sldId="284"/>
            <ac:grpSpMk id="478" creationId="{CCD0404E-BE74-4F63-A46F-3414E23BEF25}"/>
          </ac:grpSpMkLst>
        </pc:grpChg>
        <pc:grpChg chg="mod">
          <ac:chgData name="Kopper, Jordan" userId="b70b14be-98b2-4048-a278-0b2ff614ef08" providerId="ADAL" clId="{C306FF50-8479-4715-8969-CDEBA8863634}" dt="2021-09-11T13:01:28.461" v="1137" actId="1076"/>
          <ac:grpSpMkLst>
            <pc:docMk/>
            <pc:sldMk cId="3544380574" sldId="284"/>
            <ac:grpSpMk id="482" creationId="{87A8ED03-8CE6-4B82-9F57-FAA5D5A04467}"/>
          </ac:grpSpMkLst>
        </pc:grpChg>
        <pc:grpChg chg="add mod">
          <ac:chgData name="Kopper, Jordan" userId="b70b14be-98b2-4048-a278-0b2ff614ef08" providerId="ADAL" clId="{C306FF50-8479-4715-8969-CDEBA8863634}" dt="2021-09-11T13:20:35.429" v="1526" actId="1035"/>
          <ac:grpSpMkLst>
            <pc:docMk/>
            <pc:sldMk cId="3544380574" sldId="284"/>
            <ac:grpSpMk id="493" creationId="{7D946E7E-B7B9-48EF-8EED-774ABADC837E}"/>
          </ac:grpSpMkLst>
        </pc:grpChg>
        <pc:grpChg chg="add mod">
          <ac:chgData name="Kopper, Jordan" userId="b70b14be-98b2-4048-a278-0b2ff614ef08" providerId="ADAL" clId="{C306FF50-8479-4715-8969-CDEBA8863634}" dt="2021-09-11T13:10:02.349" v="1297" actId="1076"/>
          <ac:grpSpMkLst>
            <pc:docMk/>
            <pc:sldMk cId="3544380574" sldId="284"/>
            <ac:grpSpMk id="498" creationId="{9E989AD4-794B-4CEE-8CF8-A1250E2EC102}"/>
          </ac:grpSpMkLst>
        </pc:grpChg>
        <pc:grpChg chg="add mod">
          <ac:chgData name="Kopper, Jordan" userId="b70b14be-98b2-4048-a278-0b2ff614ef08" providerId="ADAL" clId="{C306FF50-8479-4715-8969-CDEBA8863634}" dt="2021-09-11T13:05:12.713" v="1187" actId="1076"/>
          <ac:grpSpMkLst>
            <pc:docMk/>
            <pc:sldMk cId="3544380574" sldId="284"/>
            <ac:grpSpMk id="505" creationId="{EB6E2A75-6965-4A3B-ACC3-AFF294D2FBB1}"/>
          </ac:grpSpMkLst>
        </pc:grpChg>
        <pc:grpChg chg="add del mod">
          <ac:chgData name="Kopper, Jordan" userId="b70b14be-98b2-4048-a278-0b2ff614ef08" providerId="ADAL" clId="{C306FF50-8479-4715-8969-CDEBA8863634}" dt="2021-09-11T13:07:26.990" v="1227" actId="478"/>
          <ac:grpSpMkLst>
            <pc:docMk/>
            <pc:sldMk cId="3544380574" sldId="284"/>
            <ac:grpSpMk id="510" creationId="{F632DF19-D4B9-4124-B06E-52837ADBF4DA}"/>
          </ac:grpSpMkLst>
        </pc:grpChg>
        <pc:grpChg chg="add del mod">
          <ac:chgData name="Kopper, Jordan" userId="b70b14be-98b2-4048-a278-0b2ff614ef08" providerId="ADAL" clId="{C306FF50-8479-4715-8969-CDEBA8863634}" dt="2021-09-11T13:07:27.528" v="1228" actId="478"/>
          <ac:grpSpMkLst>
            <pc:docMk/>
            <pc:sldMk cId="3544380574" sldId="284"/>
            <ac:grpSpMk id="515" creationId="{B9880D73-2141-447D-BACF-F186544379EA}"/>
          </ac:grpSpMkLst>
        </pc:grpChg>
        <pc:grpChg chg="add mod">
          <ac:chgData name="Kopper, Jordan" userId="b70b14be-98b2-4048-a278-0b2ff614ef08" providerId="ADAL" clId="{C306FF50-8479-4715-8969-CDEBA8863634}" dt="2021-09-11T13:20:18.345" v="1506" actId="1035"/>
          <ac:grpSpMkLst>
            <pc:docMk/>
            <pc:sldMk cId="3544380574" sldId="284"/>
            <ac:grpSpMk id="521" creationId="{0D56C7AC-A098-4203-81FF-170210012541}"/>
          </ac:grpSpMkLst>
        </pc:grpChg>
        <pc:grpChg chg="add mod">
          <ac:chgData name="Kopper, Jordan" userId="b70b14be-98b2-4048-a278-0b2ff614ef08" providerId="ADAL" clId="{C306FF50-8479-4715-8969-CDEBA8863634}" dt="2021-09-11T13:20:35.429" v="1526" actId="1035"/>
          <ac:grpSpMkLst>
            <pc:docMk/>
            <pc:sldMk cId="3544380574" sldId="284"/>
            <ac:grpSpMk id="525" creationId="{47FF838E-9CAE-4E2E-80F4-7440833E3C34}"/>
          </ac:grpSpMkLst>
        </pc:grpChg>
        <pc:grpChg chg="add mod">
          <ac:chgData name="Kopper, Jordan" userId="b70b14be-98b2-4048-a278-0b2ff614ef08" providerId="ADAL" clId="{C306FF50-8479-4715-8969-CDEBA8863634}" dt="2021-09-11T13:11:30.670" v="1309" actId="1038"/>
          <ac:grpSpMkLst>
            <pc:docMk/>
            <pc:sldMk cId="3544380574" sldId="284"/>
            <ac:grpSpMk id="529" creationId="{77208A82-61C3-4926-AC40-4E14F827E31D}"/>
          </ac:grpSpMkLst>
        </pc:grpChg>
        <pc:grpChg chg="add mod">
          <ac:chgData name="Kopper, Jordan" userId="b70b14be-98b2-4048-a278-0b2ff614ef08" providerId="ADAL" clId="{C306FF50-8479-4715-8969-CDEBA8863634}" dt="2021-09-11T13:20:18.345" v="1506" actId="1035"/>
          <ac:grpSpMkLst>
            <pc:docMk/>
            <pc:sldMk cId="3544380574" sldId="284"/>
            <ac:grpSpMk id="533" creationId="{13DBA5E7-79B7-4164-B2C7-227BB1408725}"/>
          </ac:grpSpMkLst>
        </pc:grpChg>
        <pc:grpChg chg="add mod">
          <ac:chgData name="Kopper, Jordan" userId="b70b14be-98b2-4048-a278-0b2ff614ef08" providerId="ADAL" clId="{C306FF50-8479-4715-8969-CDEBA8863634}" dt="2021-09-11T13:20:35.429" v="1526" actId="1035"/>
          <ac:grpSpMkLst>
            <pc:docMk/>
            <pc:sldMk cId="3544380574" sldId="284"/>
            <ac:grpSpMk id="537" creationId="{18B1DB35-6B3E-4A9F-900C-B4282BC06F17}"/>
          </ac:grpSpMkLst>
        </pc:grpChg>
        <pc:grpChg chg="add mod">
          <ac:chgData name="Kopper, Jordan" userId="b70b14be-98b2-4048-a278-0b2ff614ef08" providerId="ADAL" clId="{C306FF50-8479-4715-8969-CDEBA8863634}" dt="2021-09-11T13:11:30.670" v="1309" actId="1038"/>
          <ac:grpSpMkLst>
            <pc:docMk/>
            <pc:sldMk cId="3544380574" sldId="284"/>
            <ac:grpSpMk id="542" creationId="{79E1686E-E54C-40AF-8A71-11BD1EDFA45E}"/>
          </ac:grpSpMkLst>
        </pc:grpChg>
        <pc:grpChg chg="add mod">
          <ac:chgData name="Kopper, Jordan" userId="b70b14be-98b2-4048-a278-0b2ff614ef08" providerId="ADAL" clId="{C306FF50-8479-4715-8969-CDEBA8863634}" dt="2021-09-11T13:20:35.429" v="1526" actId="1035"/>
          <ac:grpSpMkLst>
            <pc:docMk/>
            <pc:sldMk cId="3544380574" sldId="284"/>
            <ac:grpSpMk id="546" creationId="{26A7FBC8-1FD1-45DD-BA47-F86F9B271E1B}"/>
          </ac:grpSpMkLst>
        </pc:grpChg>
        <pc:picChg chg="add mod">
          <ac:chgData name="Kopper, Jordan" userId="b70b14be-98b2-4048-a278-0b2ff614ef08" providerId="ADAL" clId="{C306FF50-8479-4715-8969-CDEBA8863634}" dt="2021-09-11T14:50:56.356" v="2912" actId="1076"/>
          <ac:picMkLst>
            <pc:docMk/>
            <pc:sldMk cId="3544380574" sldId="284"/>
            <ac:picMk id="4" creationId="{010FB06F-1E67-434D-B901-2EE7EEA7E221}"/>
          </ac:picMkLst>
        </pc:picChg>
        <pc:picChg chg="del mod">
          <ac:chgData name="Kopper, Jordan" userId="b70b14be-98b2-4048-a278-0b2ff614ef08" providerId="ADAL" clId="{C306FF50-8479-4715-8969-CDEBA8863634}" dt="2021-09-11T13:07:16.211" v="1222" actId="478"/>
          <ac:picMkLst>
            <pc:docMk/>
            <pc:sldMk cId="3544380574" sldId="284"/>
            <ac:picMk id="509" creationId="{E3FF210B-584F-4021-94C2-DCFDBF377FF0}"/>
          </ac:picMkLst>
        </pc:picChg>
        <pc:picChg chg="del mod">
          <ac:chgData name="Kopper, Jordan" userId="b70b14be-98b2-4048-a278-0b2ff614ef08" providerId="ADAL" clId="{C306FF50-8479-4715-8969-CDEBA8863634}" dt="2021-09-11T13:07:18.917" v="1223" actId="478"/>
          <ac:picMkLst>
            <pc:docMk/>
            <pc:sldMk cId="3544380574" sldId="284"/>
            <ac:picMk id="514" creationId="{22EA3C85-2FC1-4DED-B626-40CDE18634AC}"/>
          </ac:picMkLst>
        </pc:picChg>
        <pc:picChg chg="del mod">
          <ac:chgData name="Kopper, Jordan" userId="b70b14be-98b2-4048-a278-0b2ff614ef08" providerId="ADAL" clId="{C306FF50-8479-4715-8969-CDEBA8863634}" dt="2021-09-11T13:07:20.591" v="1224" actId="478"/>
          <ac:picMkLst>
            <pc:docMk/>
            <pc:sldMk cId="3544380574" sldId="284"/>
            <ac:picMk id="519" creationId="{B404FE0D-4B4D-4FC4-8082-CC7A5AB98517}"/>
          </ac:picMkLst>
        </pc:picChg>
        <pc:cxnChg chg="del">
          <ac:chgData name="Kopper, Jordan" userId="b70b14be-98b2-4048-a278-0b2ff614ef08" providerId="ADAL" clId="{C306FF50-8479-4715-8969-CDEBA8863634}" dt="2021-09-11T12:59:55.606" v="1066" actId="478"/>
          <ac:cxnSpMkLst>
            <pc:docMk/>
            <pc:sldMk cId="3544380574" sldId="284"/>
            <ac:cxnSpMk id="121" creationId="{B32C9E3C-9A26-4F06-8D2E-763374DF0BEB}"/>
          </ac:cxnSpMkLst>
        </pc:cxnChg>
        <pc:cxnChg chg="del">
          <ac:chgData name="Kopper, Jordan" userId="b70b14be-98b2-4048-a278-0b2ff614ef08" providerId="ADAL" clId="{C306FF50-8479-4715-8969-CDEBA8863634}" dt="2021-09-11T13:00:53.060" v="1103" actId="478"/>
          <ac:cxnSpMkLst>
            <pc:docMk/>
            <pc:sldMk cId="3544380574" sldId="284"/>
            <ac:cxnSpMk id="126" creationId="{42229CD4-9C7B-4537-BAC7-C78C1FB4A5DC}"/>
          </ac:cxnSpMkLst>
        </pc:cxnChg>
      </pc:sldChg>
      <pc:sldChg chg="addSp delSp modSp add mod modAnim modNotesTx">
        <pc:chgData name="Kopper, Jordan" userId="b70b14be-98b2-4048-a278-0b2ff614ef08" providerId="ADAL" clId="{C306FF50-8479-4715-8969-CDEBA8863634}" dt="2021-09-23T12:22:35.986" v="9085" actId="20577"/>
        <pc:sldMkLst>
          <pc:docMk/>
          <pc:sldMk cId="2102741834" sldId="285"/>
        </pc:sldMkLst>
        <pc:spChg chg="mod">
          <ac:chgData name="Kopper, Jordan" userId="b70b14be-98b2-4048-a278-0b2ff614ef08" providerId="ADAL" clId="{C306FF50-8479-4715-8969-CDEBA8863634}" dt="2021-09-11T13:30:40.754" v="1842"/>
          <ac:spMkLst>
            <pc:docMk/>
            <pc:sldMk cId="2102741834" sldId="285"/>
            <ac:spMk id="2" creationId="{837EB5BE-E15E-4BB7-9DF9-57CAF803CCF0}"/>
          </ac:spMkLst>
        </pc:spChg>
        <pc:spChg chg="add mod">
          <ac:chgData name="Kopper, Jordan" userId="b70b14be-98b2-4048-a278-0b2ff614ef08" providerId="ADAL" clId="{C306FF50-8479-4715-8969-CDEBA8863634}" dt="2021-09-14T12:52:48.075" v="4539" actId="207"/>
          <ac:spMkLst>
            <pc:docMk/>
            <pc:sldMk cId="2102741834" sldId="285"/>
            <ac:spMk id="7" creationId="{EC780AE6-DD59-497A-B870-2D6DCFB1A822}"/>
          </ac:spMkLst>
        </pc:spChg>
        <pc:spChg chg="del mod">
          <ac:chgData name="Kopper, Jordan" userId="b70b14be-98b2-4048-a278-0b2ff614ef08" providerId="ADAL" clId="{C306FF50-8479-4715-8969-CDEBA8863634}" dt="2021-09-11T13:41:34.363" v="2039" actId="478"/>
          <ac:spMkLst>
            <pc:docMk/>
            <pc:sldMk cId="2102741834" sldId="285"/>
            <ac:spMk id="9" creationId="{B62BE456-2165-4796-828E-76558FA7A2B4}"/>
          </ac:spMkLst>
        </pc:spChg>
        <pc:spChg chg="add mod">
          <ac:chgData name="Kopper, Jordan" userId="b70b14be-98b2-4048-a278-0b2ff614ef08" providerId="ADAL" clId="{C306FF50-8479-4715-8969-CDEBA8863634}" dt="2021-09-14T13:35:46.593" v="5244" actId="1076"/>
          <ac:spMkLst>
            <pc:docMk/>
            <pc:sldMk cId="2102741834" sldId="285"/>
            <ac:spMk id="10" creationId="{7C4DBFC0-B77C-43D5-909D-FADE3F5341ED}"/>
          </ac:spMkLst>
        </pc:spChg>
        <pc:spChg chg="add del mod">
          <ac:chgData name="Kopper, Jordan" userId="b70b14be-98b2-4048-a278-0b2ff614ef08" providerId="ADAL" clId="{C306FF50-8479-4715-8969-CDEBA8863634}" dt="2021-09-14T12:53:19.128" v="4543" actId="478"/>
          <ac:spMkLst>
            <pc:docMk/>
            <pc:sldMk cId="2102741834" sldId="285"/>
            <ac:spMk id="25" creationId="{FD595CD7-AB8B-401E-B602-F030BFBA581F}"/>
          </ac:spMkLst>
        </pc:spChg>
        <pc:spChg chg="mod">
          <ac:chgData name="Kopper, Jordan" userId="b70b14be-98b2-4048-a278-0b2ff614ef08" providerId="ADAL" clId="{C306FF50-8479-4715-8969-CDEBA8863634}" dt="2021-09-11T13:55:38.037" v="2689" actId="1076"/>
          <ac:spMkLst>
            <pc:docMk/>
            <pc:sldMk cId="2102741834" sldId="285"/>
            <ac:spMk id="27" creationId="{2528C0CD-443C-4D6D-8229-D96ED7CC4CC0}"/>
          </ac:spMkLst>
        </pc:spChg>
        <pc:spChg chg="mod">
          <ac:chgData name="Kopper, Jordan" userId="b70b14be-98b2-4048-a278-0b2ff614ef08" providerId="ADAL" clId="{C306FF50-8479-4715-8969-CDEBA8863634}" dt="2021-09-14T13:36:54.303" v="5262" actId="20577"/>
          <ac:spMkLst>
            <pc:docMk/>
            <pc:sldMk cId="2102741834" sldId="285"/>
            <ac:spMk id="28" creationId="{B6BD0C7F-F62D-4C4D-B65A-4E0B61B09F32}"/>
          </ac:spMkLst>
        </pc:spChg>
        <pc:spChg chg="mod">
          <ac:chgData name="Kopper, Jordan" userId="b70b14be-98b2-4048-a278-0b2ff614ef08" providerId="ADAL" clId="{C306FF50-8479-4715-8969-CDEBA8863634}" dt="2021-09-14T13:19:11.519" v="5148" actId="208"/>
          <ac:spMkLst>
            <pc:docMk/>
            <pc:sldMk cId="2102741834" sldId="285"/>
            <ac:spMk id="29" creationId="{03D24DA6-A557-4CF8-A39B-06C388051F3D}"/>
          </ac:spMkLst>
        </pc:spChg>
        <pc:spChg chg="mod">
          <ac:chgData name="Kopper, Jordan" userId="b70b14be-98b2-4048-a278-0b2ff614ef08" providerId="ADAL" clId="{C306FF50-8479-4715-8969-CDEBA8863634}" dt="2021-09-11T13:55:38.037" v="2689" actId="1076"/>
          <ac:spMkLst>
            <pc:docMk/>
            <pc:sldMk cId="2102741834" sldId="285"/>
            <ac:spMk id="31" creationId="{B53A11B7-BE10-4072-8218-19A2488218F3}"/>
          </ac:spMkLst>
        </pc:spChg>
        <pc:spChg chg="mod">
          <ac:chgData name="Kopper, Jordan" userId="b70b14be-98b2-4048-a278-0b2ff614ef08" providerId="ADAL" clId="{C306FF50-8479-4715-8969-CDEBA8863634}" dt="2021-09-11T13:55:38.037" v="2689" actId="1076"/>
          <ac:spMkLst>
            <pc:docMk/>
            <pc:sldMk cId="2102741834" sldId="285"/>
            <ac:spMk id="32" creationId="{DBD8C6A4-F43F-49BF-985D-4478AACBCFA8}"/>
          </ac:spMkLst>
        </pc:spChg>
        <pc:spChg chg="mod">
          <ac:chgData name="Kopper, Jordan" userId="b70b14be-98b2-4048-a278-0b2ff614ef08" providerId="ADAL" clId="{C306FF50-8479-4715-8969-CDEBA8863634}" dt="2021-09-11T13:55:38.037" v="2689" actId="1076"/>
          <ac:spMkLst>
            <pc:docMk/>
            <pc:sldMk cId="2102741834" sldId="285"/>
            <ac:spMk id="33" creationId="{034014C9-7069-4FB4-91C1-672F2D2DCF37}"/>
          </ac:spMkLst>
        </pc:spChg>
        <pc:spChg chg="add mod">
          <ac:chgData name="Kopper, Jordan" userId="b70b14be-98b2-4048-a278-0b2ff614ef08" providerId="ADAL" clId="{C306FF50-8479-4715-8969-CDEBA8863634}" dt="2021-09-17T04:44:07.037" v="8910" actId="6549"/>
          <ac:spMkLst>
            <pc:docMk/>
            <pc:sldMk cId="2102741834" sldId="285"/>
            <ac:spMk id="34" creationId="{6F486104-EDAA-4F4F-906E-068FEEFC2688}"/>
          </ac:spMkLst>
        </pc:spChg>
        <pc:spChg chg="add mod">
          <ac:chgData name="Kopper, Jordan" userId="b70b14be-98b2-4048-a278-0b2ff614ef08" providerId="ADAL" clId="{C306FF50-8479-4715-8969-CDEBA8863634}" dt="2021-09-14T12:52:56.884" v="4540" actId="207"/>
          <ac:spMkLst>
            <pc:docMk/>
            <pc:sldMk cId="2102741834" sldId="285"/>
            <ac:spMk id="35" creationId="{46F67E9A-CF7E-4A57-A166-22EE71FE8124}"/>
          </ac:spMkLst>
        </pc:spChg>
        <pc:spChg chg="add mod">
          <ac:chgData name="Kopper, Jordan" userId="b70b14be-98b2-4048-a278-0b2ff614ef08" providerId="ADAL" clId="{C306FF50-8479-4715-8969-CDEBA8863634}" dt="2021-09-14T12:53:15.031" v="4542" actId="1076"/>
          <ac:spMkLst>
            <pc:docMk/>
            <pc:sldMk cId="2102741834" sldId="285"/>
            <ac:spMk id="36" creationId="{0FD9ADA8-7D01-417C-A938-1650BBC7177F}"/>
          </ac:spMkLst>
        </pc:spChg>
        <pc:spChg chg="mod">
          <ac:chgData name="Kopper, Jordan" userId="b70b14be-98b2-4048-a278-0b2ff614ef08" providerId="ADAL" clId="{C306FF50-8479-4715-8969-CDEBA8863634}" dt="2021-09-14T12:52:30.642" v="4536" actId="207"/>
          <ac:spMkLst>
            <pc:docMk/>
            <pc:sldMk cId="2102741834" sldId="285"/>
            <ac:spMk id="196" creationId="{715C22DD-82B6-40F4-9000-8EF7CE7A53E0}"/>
          </ac:spMkLst>
        </pc:spChg>
        <pc:spChg chg="mod">
          <ac:chgData name="Kopper, Jordan" userId="b70b14be-98b2-4048-a278-0b2ff614ef08" providerId="ADAL" clId="{C306FF50-8479-4715-8969-CDEBA8863634}" dt="2021-09-11T13:42:23.601" v="2049" actId="1076"/>
          <ac:spMkLst>
            <pc:docMk/>
            <pc:sldMk cId="2102741834" sldId="285"/>
            <ac:spMk id="215" creationId="{F7C37FE2-F91D-41D8-89AA-79FDAC4BA1DC}"/>
          </ac:spMkLst>
        </pc:spChg>
        <pc:spChg chg="mod ord">
          <ac:chgData name="Kopper, Jordan" userId="b70b14be-98b2-4048-a278-0b2ff614ef08" providerId="ADAL" clId="{C306FF50-8479-4715-8969-CDEBA8863634}" dt="2021-09-23T12:22:35.986" v="9085" actId="20577"/>
          <ac:spMkLst>
            <pc:docMk/>
            <pc:sldMk cId="2102741834" sldId="285"/>
            <ac:spMk id="216" creationId="{1FF5583D-4283-4C68-B269-28CFA5EE6A6E}"/>
          </ac:spMkLst>
        </pc:spChg>
        <pc:spChg chg="mod">
          <ac:chgData name="Kopper, Jordan" userId="b70b14be-98b2-4048-a278-0b2ff614ef08" providerId="ADAL" clId="{C306FF50-8479-4715-8969-CDEBA8863634}" dt="2021-09-14T12:58:21.525" v="4717" actId="1076"/>
          <ac:spMkLst>
            <pc:docMk/>
            <pc:sldMk cId="2102741834" sldId="285"/>
            <ac:spMk id="217" creationId="{8F78AF08-37DB-4436-8E76-DA88D8D85D8A}"/>
          </ac:spMkLst>
        </pc:spChg>
        <pc:spChg chg="del mod">
          <ac:chgData name="Kopper, Jordan" userId="b70b14be-98b2-4048-a278-0b2ff614ef08" providerId="ADAL" clId="{C306FF50-8479-4715-8969-CDEBA8863634}" dt="2021-09-14T12:52:01.039" v="4529" actId="478"/>
          <ac:spMkLst>
            <pc:docMk/>
            <pc:sldMk cId="2102741834" sldId="285"/>
            <ac:spMk id="221" creationId="{6DD09C05-776F-4BE7-A591-8238A952C933}"/>
          </ac:spMkLst>
        </pc:spChg>
        <pc:spChg chg="del mod topLvl">
          <ac:chgData name="Kopper, Jordan" userId="b70b14be-98b2-4048-a278-0b2ff614ef08" providerId="ADAL" clId="{C306FF50-8479-4715-8969-CDEBA8863634}" dt="2021-09-14T12:52:07.268" v="4531" actId="478"/>
          <ac:spMkLst>
            <pc:docMk/>
            <pc:sldMk cId="2102741834" sldId="285"/>
            <ac:spMk id="222" creationId="{A2753D6E-B9EF-427C-B11D-496E7430254B}"/>
          </ac:spMkLst>
        </pc:spChg>
        <pc:grpChg chg="topLvl">
          <ac:chgData name="Kopper, Jordan" userId="b70b14be-98b2-4048-a278-0b2ff614ef08" providerId="ADAL" clId="{C306FF50-8479-4715-8969-CDEBA8863634}" dt="2021-09-14T12:52:07.268" v="4531" actId="478"/>
          <ac:grpSpMkLst>
            <pc:docMk/>
            <pc:sldMk cId="2102741834" sldId="285"/>
            <ac:grpSpMk id="4" creationId="{B8877105-73B5-4BCC-8CAA-BC932AB82691}"/>
          </ac:grpSpMkLst>
        </pc:grpChg>
        <pc:grpChg chg="del mod ord">
          <ac:chgData name="Kopper, Jordan" userId="b70b14be-98b2-4048-a278-0b2ff614ef08" providerId="ADAL" clId="{C306FF50-8479-4715-8969-CDEBA8863634}" dt="2021-09-14T12:52:07.268" v="4531" actId="478"/>
          <ac:grpSpMkLst>
            <pc:docMk/>
            <pc:sldMk cId="2102741834" sldId="285"/>
            <ac:grpSpMk id="5" creationId="{EDD3C0EB-651D-4CE1-8077-06DDF7B85526}"/>
          </ac:grpSpMkLst>
        </pc:grpChg>
        <pc:grpChg chg="add mod">
          <ac:chgData name="Kopper, Jordan" userId="b70b14be-98b2-4048-a278-0b2ff614ef08" providerId="ADAL" clId="{C306FF50-8479-4715-8969-CDEBA8863634}" dt="2021-09-14T13:17:24.380" v="5138" actId="1076"/>
          <ac:grpSpMkLst>
            <pc:docMk/>
            <pc:sldMk cId="2102741834" sldId="285"/>
            <ac:grpSpMk id="26" creationId="{520ED673-160F-474D-8F15-DB7D09C23BF6}"/>
          </ac:grpSpMkLst>
        </pc:grpChg>
        <pc:grpChg chg="add del mod">
          <ac:chgData name="Kopper, Jordan" userId="b70b14be-98b2-4048-a278-0b2ff614ef08" providerId="ADAL" clId="{C306FF50-8479-4715-8969-CDEBA8863634}" dt="2021-09-14T12:58:28.133" v="4718" actId="478"/>
          <ac:grpSpMkLst>
            <pc:docMk/>
            <pc:sldMk cId="2102741834" sldId="285"/>
            <ac:grpSpMk id="30" creationId="{6CB0F9FA-679A-4F41-B358-6A2895D2A149}"/>
          </ac:grpSpMkLst>
        </pc:grpChg>
        <pc:graphicFrameChg chg="del">
          <ac:chgData name="Kopper, Jordan" userId="b70b14be-98b2-4048-a278-0b2ff614ef08" providerId="ADAL" clId="{C306FF50-8479-4715-8969-CDEBA8863634}" dt="2021-09-14T12:51:56.665" v="4528" actId="478"/>
          <ac:graphicFrameMkLst>
            <pc:docMk/>
            <pc:sldMk cId="2102741834" sldId="285"/>
            <ac:graphicFrameMk id="6" creationId="{7E6EB455-C3E1-4776-9CC8-3BE113DC29AC}"/>
          </ac:graphicFrameMkLst>
        </pc:graphicFrameChg>
        <pc:graphicFrameChg chg="del">
          <ac:chgData name="Kopper, Jordan" userId="b70b14be-98b2-4048-a278-0b2ff614ef08" providerId="ADAL" clId="{C306FF50-8479-4715-8969-CDEBA8863634}" dt="2021-09-14T12:52:03.693" v="4530" actId="478"/>
          <ac:graphicFrameMkLst>
            <pc:docMk/>
            <pc:sldMk cId="2102741834" sldId="285"/>
            <ac:graphicFrameMk id="211" creationId="{691DD6B9-7F69-42D1-8FEC-68211B959BF0}"/>
          </ac:graphicFrameMkLst>
        </pc:graphicFrameChg>
        <pc:picChg chg="add mod">
          <ac:chgData name="Kopper, Jordan" userId="b70b14be-98b2-4048-a278-0b2ff614ef08" providerId="ADAL" clId="{C306FF50-8479-4715-8969-CDEBA8863634}" dt="2021-09-14T13:18:35.950" v="5146" actId="207"/>
          <ac:picMkLst>
            <pc:docMk/>
            <pc:sldMk cId="2102741834" sldId="285"/>
            <ac:picMk id="9" creationId="{F0A8DD08-F604-46B1-AC01-5D9C223061CF}"/>
          </ac:picMkLst>
        </pc:picChg>
        <pc:picChg chg="add del mod">
          <ac:chgData name="Kopper, Jordan" userId="b70b14be-98b2-4048-a278-0b2ff614ef08" providerId="ADAL" clId="{C306FF50-8479-4715-8969-CDEBA8863634}" dt="2021-09-17T03:53:15.137" v="7295" actId="478"/>
          <ac:picMkLst>
            <pc:docMk/>
            <pc:sldMk cId="2102741834" sldId="285"/>
            <ac:picMk id="30" creationId="{A9826952-DEBB-44C7-B36D-EBBB9929D419}"/>
          </ac:picMkLst>
        </pc:picChg>
        <pc:picChg chg="add mod">
          <ac:chgData name="Kopper, Jordan" userId="b70b14be-98b2-4048-a278-0b2ff614ef08" providerId="ADAL" clId="{C306FF50-8479-4715-8969-CDEBA8863634}" dt="2021-09-17T03:53:13.318" v="7294"/>
          <ac:picMkLst>
            <pc:docMk/>
            <pc:sldMk cId="2102741834" sldId="285"/>
            <ac:picMk id="31" creationId="{5B4A6363-86D8-410F-9088-5973ED4708EA}"/>
          </ac:picMkLst>
        </pc:picChg>
        <pc:picChg chg="mod">
          <ac:chgData name="Kopper, Jordan" userId="b70b14be-98b2-4048-a278-0b2ff614ef08" providerId="ADAL" clId="{C306FF50-8479-4715-8969-CDEBA8863634}" dt="2021-09-11T13:42:54.105" v="2054" actId="14100"/>
          <ac:picMkLst>
            <pc:docMk/>
            <pc:sldMk cId="2102741834" sldId="285"/>
            <ac:picMk id="220" creationId="{6620321B-065B-47F0-84D3-40ECED616086}"/>
          </ac:picMkLst>
        </pc:picChg>
      </pc:sldChg>
      <pc:sldChg chg="addSp modSp add del mod modAnim">
        <pc:chgData name="Kopper, Jordan" userId="b70b14be-98b2-4048-a278-0b2ff614ef08" providerId="ADAL" clId="{C306FF50-8479-4715-8969-CDEBA8863634}" dt="2021-09-11T13:30:27.259" v="1837" actId="2696"/>
        <pc:sldMkLst>
          <pc:docMk/>
          <pc:sldMk cId="3185360502" sldId="285"/>
        </pc:sldMkLst>
        <pc:spChg chg="mod">
          <ac:chgData name="Kopper, Jordan" userId="b70b14be-98b2-4048-a278-0b2ff614ef08" providerId="ADAL" clId="{C306FF50-8479-4715-8969-CDEBA8863634}" dt="2021-09-11T13:21:49.013" v="1559" actId="20577"/>
          <ac:spMkLst>
            <pc:docMk/>
            <pc:sldMk cId="3185360502" sldId="285"/>
            <ac:spMk id="2" creationId="{837EB5BE-E15E-4BB7-9DF9-57CAF803CCF0}"/>
          </ac:spMkLst>
        </pc:spChg>
        <pc:spChg chg="mod">
          <ac:chgData name="Kopper, Jordan" userId="b70b14be-98b2-4048-a278-0b2ff614ef08" providerId="ADAL" clId="{C306FF50-8479-4715-8969-CDEBA8863634}" dt="2021-09-11T13:22:50.614" v="1582" actId="1076"/>
          <ac:spMkLst>
            <pc:docMk/>
            <pc:sldMk cId="3185360502" sldId="285"/>
            <ac:spMk id="9" creationId="{B62BE456-2165-4796-828E-76558FA7A2B4}"/>
          </ac:spMkLst>
        </pc:spChg>
        <pc:spChg chg="mod">
          <ac:chgData name="Kopper, Jordan" userId="b70b14be-98b2-4048-a278-0b2ff614ef08" providerId="ADAL" clId="{C306FF50-8479-4715-8969-CDEBA8863634}" dt="2021-09-11T13:22:11.506" v="1574" actId="164"/>
          <ac:spMkLst>
            <pc:docMk/>
            <pc:sldMk cId="3185360502" sldId="285"/>
            <ac:spMk id="194" creationId="{951E9733-AC80-4CA9-815A-4EF4C8C5E3DE}"/>
          </ac:spMkLst>
        </pc:spChg>
        <pc:spChg chg="mod">
          <ac:chgData name="Kopper, Jordan" userId="b70b14be-98b2-4048-a278-0b2ff614ef08" providerId="ADAL" clId="{C306FF50-8479-4715-8969-CDEBA8863634}" dt="2021-09-11T13:22:50.614" v="1582" actId="1076"/>
          <ac:spMkLst>
            <pc:docMk/>
            <pc:sldMk cId="3185360502" sldId="285"/>
            <ac:spMk id="215" creationId="{F7C37FE2-F91D-41D8-89AA-79FDAC4BA1DC}"/>
          </ac:spMkLst>
        </pc:spChg>
        <pc:spChg chg="mod">
          <ac:chgData name="Kopper, Jordan" userId="b70b14be-98b2-4048-a278-0b2ff614ef08" providerId="ADAL" clId="{C306FF50-8479-4715-8969-CDEBA8863634}" dt="2021-09-11T13:22:50.614" v="1582" actId="1076"/>
          <ac:spMkLst>
            <pc:docMk/>
            <pc:sldMk cId="3185360502" sldId="285"/>
            <ac:spMk id="216" creationId="{1FF5583D-4283-4C68-B269-28CFA5EE6A6E}"/>
          </ac:spMkLst>
        </pc:spChg>
        <pc:spChg chg="mod">
          <ac:chgData name="Kopper, Jordan" userId="b70b14be-98b2-4048-a278-0b2ff614ef08" providerId="ADAL" clId="{C306FF50-8479-4715-8969-CDEBA8863634}" dt="2021-09-11T13:22:50.614" v="1582" actId="1076"/>
          <ac:spMkLst>
            <pc:docMk/>
            <pc:sldMk cId="3185360502" sldId="285"/>
            <ac:spMk id="217" creationId="{8F78AF08-37DB-4436-8E76-DA88D8D85D8A}"/>
          </ac:spMkLst>
        </pc:spChg>
        <pc:spChg chg="mod">
          <ac:chgData name="Kopper, Jordan" userId="b70b14be-98b2-4048-a278-0b2ff614ef08" providerId="ADAL" clId="{C306FF50-8479-4715-8969-CDEBA8863634}" dt="2021-09-11T13:22:27.009" v="1577" actId="164"/>
          <ac:spMkLst>
            <pc:docMk/>
            <pc:sldMk cId="3185360502" sldId="285"/>
            <ac:spMk id="221" creationId="{6DD09C05-776F-4BE7-A591-8238A952C933}"/>
          </ac:spMkLst>
        </pc:spChg>
        <pc:spChg chg="mod">
          <ac:chgData name="Kopper, Jordan" userId="b70b14be-98b2-4048-a278-0b2ff614ef08" providerId="ADAL" clId="{C306FF50-8479-4715-8969-CDEBA8863634}" dt="2021-09-11T13:22:27.009" v="1577" actId="164"/>
          <ac:spMkLst>
            <pc:docMk/>
            <pc:sldMk cId="3185360502" sldId="285"/>
            <ac:spMk id="222" creationId="{A2753D6E-B9EF-427C-B11D-496E7430254B}"/>
          </ac:spMkLst>
        </pc:spChg>
        <pc:grpChg chg="add mod">
          <ac:chgData name="Kopper, Jordan" userId="b70b14be-98b2-4048-a278-0b2ff614ef08" providerId="ADAL" clId="{C306FF50-8479-4715-8969-CDEBA8863634}" dt="2021-09-11T13:22:27.009" v="1577" actId="164"/>
          <ac:grpSpMkLst>
            <pc:docMk/>
            <pc:sldMk cId="3185360502" sldId="285"/>
            <ac:grpSpMk id="4" creationId="{B8877105-73B5-4BCC-8CAA-BC932AB82691}"/>
          </ac:grpSpMkLst>
        </pc:grpChg>
        <pc:grpChg chg="add mod">
          <ac:chgData name="Kopper, Jordan" userId="b70b14be-98b2-4048-a278-0b2ff614ef08" providerId="ADAL" clId="{C306FF50-8479-4715-8969-CDEBA8863634}" dt="2021-09-11T13:22:50.614" v="1582" actId="1076"/>
          <ac:grpSpMkLst>
            <pc:docMk/>
            <pc:sldMk cId="3185360502" sldId="285"/>
            <ac:grpSpMk id="5" creationId="{EDD3C0EB-651D-4CE1-8077-06DDF7B85526}"/>
          </ac:grpSpMkLst>
        </pc:grpChg>
        <pc:grpChg chg="mod">
          <ac:chgData name="Kopper, Jordan" userId="b70b14be-98b2-4048-a278-0b2ff614ef08" providerId="ADAL" clId="{C306FF50-8479-4715-8969-CDEBA8863634}" dt="2021-09-11T13:22:11.506" v="1574" actId="164"/>
          <ac:grpSpMkLst>
            <pc:docMk/>
            <pc:sldMk cId="3185360502" sldId="285"/>
            <ac:grpSpMk id="11" creationId="{45E7D715-7B0C-4594-BE02-C54B5B757BC6}"/>
          </ac:grpSpMkLst>
        </pc:grpChg>
      </pc:sldChg>
      <pc:sldChg chg="delSp modSp add del mod">
        <pc:chgData name="Kopper, Jordan" userId="b70b14be-98b2-4048-a278-0b2ff614ef08" providerId="ADAL" clId="{C306FF50-8479-4715-8969-CDEBA8863634}" dt="2021-09-11T15:07:28.412" v="3114" actId="47"/>
        <pc:sldMkLst>
          <pc:docMk/>
          <pc:sldMk cId="1948356695" sldId="286"/>
        </pc:sldMkLst>
        <pc:spChg chg="mod">
          <ac:chgData name="Kopper, Jordan" userId="b70b14be-98b2-4048-a278-0b2ff614ef08" providerId="ADAL" clId="{C306FF50-8479-4715-8969-CDEBA8863634}" dt="2021-09-11T13:12:59.958" v="1365" actId="20577"/>
          <ac:spMkLst>
            <pc:docMk/>
            <pc:sldMk cId="1948356695" sldId="286"/>
            <ac:spMk id="2" creationId="{837EB5BE-E15E-4BB7-9DF9-57CAF803CCF0}"/>
          </ac:spMkLst>
        </pc:spChg>
        <pc:picChg chg="del">
          <ac:chgData name="Kopper, Jordan" userId="b70b14be-98b2-4048-a278-0b2ff614ef08" providerId="ADAL" clId="{C306FF50-8479-4715-8969-CDEBA8863634}" dt="2021-09-11T13:12:50.273" v="1335" actId="478"/>
          <ac:picMkLst>
            <pc:docMk/>
            <pc:sldMk cId="1948356695" sldId="286"/>
            <ac:picMk id="3" creationId="{8B8C05B4-62D1-461D-8BD8-F80FB96F52CB}"/>
          </ac:picMkLst>
        </pc:picChg>
        <pc:picChg chg="del">
          <ac:chgData name="Kopper, Jordan" userId="b70b14be-98b2-4048-a278-0b2ff614ef08" providerId="ADAL" clId="{C306FF50-8479-4715-8969-CDEBA8863634}" dt="2021-09-11T13:12:51.026" v="1336" actId="478"/>
          <ac:picMkLst>
            <pc:docMk/>
            <pc:sldMk cId="1948356695" sldId="286"/>
            <ac:picMk id="5" creationId="{7D5F82AE-8B79-481C-B766-223452A31D0E}"/>
          </ac:picMkLst>
        </pc:picChg>
      </pc:sldChg>
      <pc:sldChg chg="addSp delSp modSp add mod modTransition">
        <pc:chgData name="Kopper, Jordan" userId="b70b14be-98b2-4048-a278-0b2ff614ef08" providerId="ADAL" clId="{C306FF50-8479-4715-8969-CDEBA8863634}" dt="2021-09-17T03:54:58.561" v="7396" actId="20577"/>
        <pc:sldMkLst>
          <pc:docMk/>
          <pc:sldMk cId="4147963851" sldId="287"/>
        </pc:sldMkLst>
        <pc:spChg chg="mod">
          <ac:chgData name="Kopper, Jordan" userId="b70b14be-98b2-4048-a278-0b2ff614ef08" providerId="ADAL" clId="{C306FF50-8479-4715-8969-CDEBA8863634}" dt="2021-09-17T03:54:58.561" v="7396" actId="20577"/>
          <ac:spMkLst>
            <pc:docMk/>
            <pc:sldMk cId="4147963851" sldId="287"/>
            <ac:spMk id="2" creationId="{C7B838FD-C1FD-40B9-9F72-2E8A22D69B17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9" creationId="{A538A8CC-3F7C-45A9-9D32-23AB8F99AD7C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0" creationId="{134EB672-18D7-4D01-AF56-9CCC6BF28359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1" creationId="{88844B44-EEF2-47F5-82FF-41B38BB209C4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2" creationId="{052C4EE1-3FD1-4989-84F5-3CC3121823A1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3" creationId="{DD830B73-0D35-4E89-8A72-B20A890CD7FD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4" creationId="{BBA0E5DB-DFCF-4872-8E20-56C2500430BB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5" creationId="{C95D0CAD-6C93-42D6-97F3-3D3C3A41C662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6" creationId="{EE16D301-12D0-4571-9951-9D302B8D6513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7" creationId="{5D06C276-8FA6-4BC4-AC9D-7A333BD8FE0C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8" creationId="{EC512F17-2FF1-41FE-89AF-ABAE56FA10CC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19" creationId="{93BD41E9-9B5D-430B-988C-CB02E105B823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0" creationId="{0FB4724C-45E7-4835-B03C-DE3428E9BE65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1" creationId="{2DAAB1EE-8470-4EFD-8643-AF9D3C2431A9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2" creationId="{26D4E062-725F-4ED0-9E80-94B4B9DFE1F6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3" creationId="{E4573271-9C86-45DB-8F29-109527556B66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4" creationId="{C0CD1A1B-5EDC-4F21-A014-A10F6D838128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5" creationId="{8645FF67-D0C1-44A9-A0BC-68A8319804F7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6" creationId="{D8B6CE5D-CB61-489F-B18F-6728C0CDE36F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27" creationId="{CCABA783-5F9D-40C9-92E2-7D9DE3B5E315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31" creationId="{D01C6BDF-480F-4406-A14E-B5DEF231D530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32" creationId="{7CCEC1FC-7CE8-4334-B8A4-A1598FBEB5B0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33" creationId="{C4FFC130-09F6-4E61-A981-3DED38FB73FD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34" creationId="{D874E896-6E28-450F-85B3-EA1738B6478B}"/>
          </ac:spMkLst>
        </pc:spChg>
        <pc:spChg chg="mod">
          <ac:chgData name="Kopper, Jordan" userId="b70b14be-98b2-4048-a278-0b2ff614ef08" providerId="ADAL" clId="{C306FF50-8479-4715-8969-CDEBA8863634}" dt="2021-09-11T13:24:12.279" v="1614" actId="14100"/>
          <ac:spMkLst>
            <pc:docMk/>
            <pc:sldMk cId="4147963851" sldId="287"/>
            <ac:spMk id="38" creationId="{37478199-D72C-4DBB-927B-4E8757F0C8DD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39" creationId="{3391AFB7-4006-423F-BF25-B348B5D34053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40" creationId="{B5114739-651E-4F7A-A652-EF684A21FFC6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1" creationId="{D3D5195E-FACF-4323-9D58-B476EF04577B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42" creationId="{05725F0B-4685-4DA5-84CB-30A24F702C42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3" creationId="{47ED573E-C941-4AF5-AC31-033EB83BED9F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44" creationId="{80AA1634-4F7D-4A70-A767-79C2E1D40D7A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5" creationId="{9DFA985A-DDBB-416B-AA28-F61B66E4B68B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6" creationId="{8CBF3842-E8D5-4105-9426-6FEADB6B427E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49" creationId="{77BE9510-FF65-4074-91DD-B3DA6629A19C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50" creationId="{DC16D5E8-BB88-4767-B72C-0F3E76E00D49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52" creationId="{25491A41-6070-4292-B80E-4136F40B3B6E}"/>
          </ac:spMkLst>
        </pc:spChg>
        <pc:spChg chg="add del mod">
          <ac:chgData name="Kopper, Jordan" userId="b70b14be-98b2-4048-a278-0b2ff614ef08" providerId="ADAL" clId="{C306FF50-8479-4715-8969-CDEBA8863634}" dt="2021-09-16T13:56:18.363" v="5592"/>
          <ac:spMkLst>
            <pc:docMk/>
            <pc:sldMk cId="4147963851" sldId="287"/>
            <ac:spMk id="52" creationId="{2F330A19-EF57-4A5A-952F-E91791A0F003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53" creationId="{CF86E901-272A-451B-9E0C-A2A977361C3C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55" creationId="{3A6CCD32-996B-430B-96DE-486B5340F640}"/>
          </ac:spMkLst>
        </pc:spChg>
        <pc:spChg chg="mod">
          <ac:chgData name="Kopper, Jordan" userId="b70b14be-98b2-4048-a278-0b2ff614ef08" providerId="ADAL" clId="{C306FF50-8479-4715-8969-CDEBA8863634}" dt="2021-09-11T13:26:22.067" v="1676" actId="20577"/>
          <ac:spMkLst>
            <pc:docMk/>
            <pc:sldMk cId="4147963851" sldId="287"/>
            <ac:spMk id="56" creationId="{CC6E341E-7BC2-426F-8711-8B2C91B30BD4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58" creationId="{48221C70-A571-4EE2-B419-3255DCDA07FA}"/>
          </ac:spMkLst>
        </pc:spChg>
        <pc:spChg chg="mod">
          <ac:chgData name="Kopper, Jordan" userId="b70b14be-98b2-4048-a278-0b2ff614ef08" providerId="ADAL" clId="{C306FF50-8479-4715-8969-CDEBA8863634}" dt="2021-09-11T13:26:26.549" v="1689" actId="20577"/>
          <ac:spMkLst>
            <pc:docMk/>
            <pc:sldMk cId="4147963851" sldId="287"/>
            <ac:spMk id="59" creationId="{7DA31DE9-279B-4BFE-9455-62239FB20CEA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61" creationId="{582E0B8F-EB59-43C8-B8C9-035FF9844C68}"/>
          </ac:spMkLst>
        </pc:spChg>
        <pc:spChg chg="mod">
          <ac:chgData name="Kopper, Jordan" userId="b70b14be-98b2-4048-a278-0b2ff614ef08" providerId="ADAL" clId="{C306FF50-8479-4715-8969-CDEBA8863634}" dt="2021-09-11T13:26:30.682" v="1702" actId="20577"/>
          <ac:spMkLst>
            <pc:docMk/>
            <pc:sldMk cId="4147963851" sldId="287"/>
            <ac:spMk id="62" creationId="{822F99EB-F389-4D13-B141-1ACA54E4C94D}"/>
          </ac:spMkLst>
        </pc:spChg>
        <pc:spChg chg="del">
          <ac:chgData name="Kopper, Jordan" userId="b70b14be-98b2-4048-a278-0b2ff614ef08" providerId="ADAL" clId="{C306FF50-8479-4715-8969-CDEBA8863634}" dt="2021-09-11T13:23:44.533" v="1611" actId="478"/>
          <ac:spMkLst>
            <pc:docMk/>
            <pc:sldMk cId="4147963851" sldId="287"/>
            <ac:spMk id="74" creationId="{02A69F23-4BB1-4F52-B80F-76AC5FA46FCF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84" creationId="{FC38AF24-7E27-4D75-AAE9-31A6B8885BD5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85" creationId="{8019890C-464F-49CE-AAD9-0B1800BEEE12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86" creationId="{A78052BC-4490-43CA-B658-674417035CA9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89" creationId="{693A950A-486B-466C-B47C-7D435501198A}"/>
          </ac:spMkLst>
        </pc:spChg>
        <pc:spChg chg="mod">
          <ac:chgData name="Kopper, Jordan" userId="b70b14be-98b2-4048-a278-0b2ff614ef08" providerId="ADAL" clId="{C306FF50-8479-4715-8969-CDEBA8863634}" dt="2021-09-11T13:24:10.239" v="1613" actId="1076"/>
          <ac:spMkLst>
            <pc:docMk/>
            <pc:sldMk cId="4147963851" sldId="287"/>
            <ac:spMk id="90" creationId="{900020FD-385D-49CE-BA9B-DA630F80C4D1}"/>
          </ac:spMkLst>
        </pc:s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30" creationId="{2F2FE16D-0B15-45E7-BABD-4FA994DF9007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35" creationId="{08109DFD-E1B7-44A5-8723-5A83A367DACF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37" creationId="{55C08B7C-1DE1-47CA-BF19-F54C841E9520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54" creationId="{1F3D4CA7-7925-4A59-B48D-285F8BA7B493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57" creationId="{44DD80B8-EA31-48DD-96AA-F2B51FB5A210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60" creationId="{71D0C9C6-BB4E-48D8-8320-80AEA26581DD}"/>
          </ac:grpSpMkLst>
        </pc:grpChg>
        <pc:grpChg chg="del">
          <ac:chgData name="Kopper, Jordan" userId="b70b14be-98b2-4048-a278-0b2ff614ef08" providerId="ADAL" clId="{C306FF50-8479-4715-8969-CDEBA8863634}" dt="2021-09-11T13:23:44.533" v="1611" actId="478"/>
          <ac:grpSpMkLst>
            <pc:docMk/>
            <pc:sldMk cId="4147963851" sldId="287"/>
            <ac:grpSpMk id="76" creationId="{41F2C462-148A-4C53-82E1-5245EDAED0A3}"/>
          </ac:grpSpMkLst>
        </pc:grpChg>
        <pc:grpChg chg="del">
          <ac:chgData name="Kopper, Jordan" userId="b70b14be-98b2-4048-a278-0b2ff614ef08" providerId="ADAL" clId="{C306FF50-8479-4715-8969-CDEBA8863634}" dt="2021-09-11T13:23:44.533" v="1611" actId="478"/>
          <ac:grpSpMkLst>
            <pc:docMk/>
            <pc:sldMk cId="4147963851" sldId="287"/>
            <ac:grpSpMk id="80" creationId="{BE9E2572-69A2-4B60-8F55-BBABF3E7DABE}"/>
          </ac:grpSpMkLst>
        </pc:grpChg>
        <pc:grpChg chg="mod">
          <ac:chgData name="Kopper, Jordan" userId="b70b14be-98b2-4048-a278-0b2ff614ef08" providerId="ADAL" clId="{C306FF50-8479-4715-8969-CDEBA8863634}" dt="2021-09-11T13:24:10.239" v="1613" actId="1076"/>
          <ac:grpSpMkLst>
            <pc:docMk/>
            <pc:sldMk cId="4147963851" sldId="287"/>
            <ac:grpSpMk id="83" creationId="{0E3229AF-A5AF-4320-8775-B4D0243C5D0B}"/>
          </ac:grpSpMkLst>
        </pc:grpChg>
        <pc:picChg chg="add del mod">
          <ac:chgData name="Kopper, Jordan" userId="b70b14be-98b2-4048-a278-0b2ff614ef08" providerId="ADAL" clId="{C306FF50-8479-4715-8969-CDEBA8863634}" dt="2021-09-17T03:53:39.947" v="7304" actId="478"/>
          <ac:picMkLst>
            <pc:docMk/>
            <pc:sldMk cId="4147963851" sldId="287"/>
            <ac:picMk id="53" creationId="{84911505-5BDB-46CB-8B04-A03D1D72AF12}"/>
          </ac:picMkLst>
        </pc:picChg>
        <pc:picChg chg="add mod">
          <ac:chgData name="Kopper, Jordan" userId="b70b14be-98b2-4048-a278-0b2ff614ef08" providerId="ADAL" clId="{C306FF50-8479-4715-8969-CDEBA8863634}" dt="2021-09-17T03:53:56.133" v="7306"/>
          <ac:picMkLst>
            <pc:docMk/>
            <pc:sldMk cId="4147963851" sldId="287"/>
            <ac:picMk id="63" creationId="{CFCFAF74-51BB-4068-8113-BA0A9F03D438}"/>
          </ac:picMkLst>
        </pc:picChg>
      </pc:sldChg>
      <pc:sldChg chg="addSp delSp modSp add mod modAnim">
        <pc:chgData name="Kopper, Jordan" userId="b70b14be-98b2-4048-a278-0b2ff614ef08" providerId="ADAL" clId="{C306FF50-8479-4715-8969-CDEBA8863634}" dt="2021-09-17T04:44:17.549" v="8911" actId="20577"/>
        <pc:sldMkLst>
          <pc:docMk/>
          <pc:sldMk cId="3811223707" sldId="288"/>
        </pc:sldMkLst>
        <pc:spChg chg="mod">
          <ac:chgData name="Kopper, Jordan" userId="b70b14be-98b2-4048-a278-0b2ff614ef08" providerId="ADAL" clId="{C306FF50-8479-4715-8969-CDEBA8863634}" dt="2021-09-17T04:37:24.063" v="8703" actId="20577"/>
          <ac:spMkLst>
            <pc:docMk/>
            <pc:sldMk cId="3811223707" sldId="288"/>
            <ac:spMk id="2" creationId="{837EB5BE-E15E-4BB7-9DF9-57CAF803CCF0}"/>
          </ac:spMkLst>
        </pc:spChg>
        <pc:spChg chg="del">
          <ac:chgData name="Kopper, Jordan" userId="b70b14be-98b2-4048-a278-0b2ff614ef08" providerId="ADAL" clId="{C306FF50-8479-4715-8969-CDEBA8863634}" dt="2021-09-11T13:30:56.884" v="1844" actId="478"/>
          <ac:spMkLst>
            <pc:docMk/>
            <pc:sldMk cId="3811223707" sldId="288"/>
            <ac:spMk id="3" creationId="{1D7F73F8-87E6-4D20-9DDD-802123B1970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" creationId="{41805ACA-0411-4866-83B2-44D41797EC6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8" creationId="{C63C3B62-E9FA-4103-8E08-71474A4C7A32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" creationId="{D9B5EA7A-3091-4D20-B910-2FDEED26CAD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2" creationId="{8D0CB645-91BA-4C13-B577-4183829924E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3" creationId="{C78ECDB2-21C8-48AB-B37B-B4820FB4A79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4" creationId="{D5B5B7B2-BC64-4615-AAE2-59D69FD13192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5" creationId="{9C46AEC0-ED0D-4827-831F-0FE22C2438AB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6" creationId="{38F5AAC0-918E-46C1-8D0A-F3F379DEDFF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8" creationId="{FAE4F7ED-0B0A-4A95-B822-8FC7F85B755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9" creationId="{CD4A6AC3-424F-4787-855D-18CD135210F9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0" creationId="{C66EF48E-85CE-4FE3-8D57-86B13B5045B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1" creationId="{52CFC1C3-E880-4F2A-AAED-320DEB72122D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2" creationId="{F12D5898-AEA2-4921-A310-736EED611BD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3" creationId="{45EBE398-A956-4BF5-9EDA-F4DE6172401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4" creationId="{22DD7CDE-3C2A-482F-8FE2-939CF35F305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5" creationId="{F20EE959-8FD6-4A10-BEB5-062C8A2B8B0C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6" creationId="{E537602D-888C-40AD-B456-F42BA6C27A82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7" creationId="{6DC465FC-E000-4F7D-9A5D-D34A4327030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8" creationId="{2984193E-6178-44A3-9473-2BF1E4B1A8F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29" creationId="{DC9F6958-9825-4864-964F-0D788313DB2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0" creationId="{34E2EC43-AB9D-4325-BEDC-6AF13965256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1" creationId="{01FCFA00-4077-4ED5-ADAF-A5B1AC36F6C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2" creationId="{304CE705-06B2-4CA1-A1D7-EFC8EB03ACF9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3" creationId="{8EF6D8FC-18D5-4EDD-8608-633AAF4BA78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4" creationId="{17C37C11-77E1-4E36-838F-634544F7BDF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5" creationId="{6405A48C-3890-4BE8-A73A-5A7BFD59541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6" creationId="{9712A0D0-CE2F-471D-8653-90A4A109CE3D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7" creationId="{58B87C38-948A-4CA5-837A-3B034C56CD7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8" creationId="{0A53C3AD-41D7-4263-BF3C-E403C1787802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39" creationId="{BEA819D4-D72A-46D6-9103-46A6015BA843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0" creationId="{9D176E77-0EC8-46AC-8E52-B1CEC88F30A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1" creationId="{01BA3639-6B9F-4575-8A71-14178D77E09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2" creationId="{B86FF576-595A-4E70-BEE9-6B80A86269A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3" creationId="{BC786FE1-366F-4048-882B-AE3CA519512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4" creationId="{AC529322-5436-4173-ACA7-F42FA4A1F88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" creationId="{2F368392-BEA8-457E-BDD0-9C4A89E3B94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" creationId="{71477092-5065-4899-B022-E17CD363CB09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" creationId="{F998CA6F-3448-4BFE-BFC5-CF88634EC44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8" creationId="{51A06C6F-44E1-451F-8A6D-4C5A0590CECB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9" creationId="{81A0BC1E-CF2A-4D60-921B-A91FE8209AB5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0" creationId="{CA125D0F-46B2-43ED-8961-2ECD0CA50E2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1" creationId="{5EA50A9C-A464-41EE-A82B-3E14C0C7FCA3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2" creationId="{910659D7-9A5B-4E37-8F8D-EC54BA4A2B3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3" creationId="{D37121AD-1198-41E0-BD12-B07A6BA5D3E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4" creationId="{D6BE679E-2DFE-4A30-9D85-8EC64661F98E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5" creationId="{908607DA-0ED1-4072-92A3-39D01D9906A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6" creationId="{21BC02B9-D7B3-48CD-9793-FB5C0EED446C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7" creationId="{993B6065-EA89-4A64-9792-90658507D09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8" creationId="{722D0AD8-C09D-4475-80DA-E3CBBB1EEF25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59" creationId="{34741F3F-3E8C-4F90-9C4B-E6F47DB0448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60" creationId="{A4C0E428-7EF0-4ACF-85AF-54862333106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61" creationId="{0186D464-B633-480D-8EE6-0B27AD13E6AC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62" creationId="{C24277C5-9F5E-45E8-B069-C8596DC9CB11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63" creationId="{9E27645E-1CEE-4C0A-B126-92C6FD54F5B7}"/>
          </ac:spMkLst>
        </pc:spChg>
        <pc:spChg chg="add mod">
          <ac:chgData name="Kopper, Jordan" userId="b70b14be-98b2-4048-a278-0b2ff614ef08" providerId="ADAL" clId="{C306FF50-8479-4715-8969-CDEBA8863634}" dt="2021-09-11T13:31:38.614" v="1855" actId="1076"/>
          <ac:spMkLst>
            <pc:docMk/>
            <pc:sldMk cId="3811223707" sldId="288"/>
            <ac:spMk id="94" creationId="{FBA90476-223F-4DBA-A0EF-EB25ED720A78}"/>
          </ac:spMkLst>
        </pc:spChg>
        <pc:spChg chg="add mod">
          <ac:chgData name="Kopper, Jordan" userId="b70b14be-98b2-4048-a278-0b2ff614ef08" providerId="ADAL" clId="{C306FF50-8479-4715-8969-CDEBA8863634}" dt="2021-09-11T13:31:48.580" v="1861" actId="20577"/>
          <ac:spMkLst>
            <pc:docMk/>
            <pc:sldMk cId="3811223707" sldId="288"/>
            <ac:spMk id="95" creationId="{5B7360DB-6918-449D-830B-0625126B925E}"/>
          </ac:spMkLst>
        </pc:spChg>
        <pc:spChg chg="add 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96" creationId="{48A48F74-48E7-4E3A-AADC-7F9404831C44}"/>
          </ac:spMkLst>
        </pc:spChg>
        <pc:spChg chg="mod">
          <ac:chgData name="Kopper, Jordan" userId="b70b14be-98b2-4048-a278-0b2ff614ef08" providerId="ADAL" clId="{C306FF50-8479-4715-8969-CDEBA8863634}" dt="2021-09-11T13:31:58.757" v="1864" actId="571"/>
          <ac:spMkLst>
            <pc:docMk/>
            <pc:sldMk cId="3811223707" sldId="288"/>
            <ac:spMk id="98" creationId="{D152984F-F429-412A-9050-0FA7677BEFAC}"/>
          </ac:spMkLst>
        </pc:spChg>
        <pc:spChg chg="add 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0" creationId="{1E306C85-19A2-4B16-961E-BF8D3DD68815}"/>
          </ac:spMkLst>
        </pc:spChg>
        <pc:spChg chg="add 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1" creationId="{265850E3-F86B-4D0A-8CBA-664A357B6F4D}"/>
          </ac:spMkLst>
        </pc:spChg>
        <pc:spChg chg="add mod">
          <ac:chgData name="Kopper, Jordan" userId="b70b14be-98b2-4048-a278-0b2ff614ef08" providerId="ADAL" clId="{C306FF50-8479-4715-8969-CDEBA8863634}" dt="2021-09-17T04:44:17.549" v="8911" actId="20577"/>
          <ac:spMkLst>
            <pc:docMk/>
            <pc:sldMk cId="3811223707" sldId="288"/>
            <ac:spMk id="102" creationId="{2CDCAFBE-3778-49E7-8C48-E0AD96A7026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6" creationId="{D7AE6B2B-D5D3-4CB0-9579-49A2E4C204D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08" creationId="{E5879A7E-DEF2-4E20-A7A2-22BFA6176F4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119" creationId="{6EDAE882-30BD-4F07-B4EF-1D6AB71D17F6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48" creationId="{6CB581FE-0311-4D40-9471-B4D1FA22F2D5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49" creationId="{A03C894B-A878-4571-AB78-17FF5DFCE195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0" creationId="{86FFB9CF-EB77-4BAE-ADC1-D39FD8C1B09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1" creationId="{66F0029E-11A3-4570-A3F9-FDF68564E30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2" creationId="{2EDFA997-9CA5-4017-8209-828C5A0988AB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3" creationId="{CA45E0DF-E072-47AD-8366-9231C703C38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4" creationId="{CD8349D8-F1C8-4B0A-91A7-A932FE052A3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5" creationId="{6D275C84-C633-4523-9D56-831D7FDBAA2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6" creationId="{4D8C38B5-C097-4B46-B391-54E4D859F73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7" creationId="{1BF11C61-1BFA-4D58-9CD2-C7BB4E7D09B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8" creationId="{4E7BB48D-0384-41EC-B286-107BFA0F6CC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59" creationId="{DE596E59-43EE-4B35-96EF-6844076CF0F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0" creationId="{1D954B22-1DE7-4239-9E06-E327EE35CD2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1" creationId="{4021EF0B-CF6F-436E-BAA4-D6D3BFAC7674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2" creationId="{6B174545-CFF4-4C79-ACA5-5D31760BF4C8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3" creationId="{48A549A4-8EE2-4EF6-A67C-D7A456BC4719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4" creationId="{D6216AF6-3B7B-4261-8AD4-27BB9B7B700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5" creationId="{44B9D93C-BB50-40CA-AE9F-660317A0E1A3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6" creationId="{9E72ED72-4A8E-49C2-886B-9D5C9C79CA9F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7" creationId="{2D341D64-7DCF-4312-BE3A-6099B77C89E7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8" creationId="{15A2A33C-41B4-4BC3-A8DE-F0973D1B7780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69" creationId="{1A8BAEDE-8E9A-4E05-B637-3EF8B032F1A3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0" creationId="{D6273CA6-F4D7-4F27-9EA5-CFF79E361511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3" creationId="{6045506A-8956-435D-BE7D-4305C46575AA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4" creationId="{21447E56-29C6-4286-B9F9-1F365CCAD89B}"/>
          </ac:spMkLst>
        </pc:spChg>
        <pc:spChg chg="mod">
          <ac:chgData name="Kopper, Jordan" userId="b70b14be-98b2-4048-a278-0b2ff614ef08" providerId="ADAL" clId="{C306FF50-8479-4715-8969-CDEBA8863634}" dt="2021-09-17T04:38:57.239" v="8751" actId="1076"/>
          <ac:spMkLst>
            <pc:docMk/>
            <pc:sldMk cId="3811223707" sldId="288"/>
            <ac:spMk id="479" creationId="{6A6F67E4-04AB-4E80-860E-9C846E3D505C}"/>
          </ac:spMkLst>
        </pc:spChg>
        <pc:grpChg chg="add mod">
          <ac:chgData name="Kopper, Jordan" userId="b70b14be-98b2-4048-a278-0b2ff614ef08" providerId="ADAL" clId="{C306FF50-8479-4715-8969-CDEBA8863634}" dt="2021-09-11T13:31:58.757" v="1864" actId="571"/>
          <ac:grpSpMkLst>
            <pc:docMk/>
            <pc:sldMk cId="3811223707" sldId="288"/>
            <ac:grpSpMk id="97" creationId="{A8250B4B-FDFD-406D-9D08-31F9EEB50B59}"/>
          </ac:grpSpMkLst>
        </pc:grpChg>
        <pc:grpChg chg="mod">
          <ac:chgData name="Kopper, Jordan" userId="b70b14be-98b2-4048-a278-0b2ff614ef08" providerId="ADAL" clId="{C306FF50-8479-4715-8969-CDEBA8863634}" dt="2021-09-17T04:38:57.239" v="8751" actId="1076"/>
          <ac:grpSpMkLst>
            <pc:docMk/>
            <pc:sldMk cId="3811223707" sldId="288"/>
            <ac:grpSpMk id="471" creationId="{F7037711-B132-4FAC-802F-D70047FEE177}"/>
          </ac:grpSpMkLst>
        </pc:grpChg>
        <pc:grpChg chg="mod">
          <ac:chgData name="Kopper, Jordan" userId="b70b14be-98b2-4048-a278-0b2ff614ef08" providerId="ADAL" clId="{C306FF50-8479-4715-8969-CDEBA8863634}" dt="2021-09-17T04:38:57.239" v="8751" actId="1076"/>
          <ac:grpSpMkLst>
            <pc:docMk/>
            <pc:sldMk cId="3811223707" sldId="288"/>
            <ac:grpSpMk id="472" creationId="{BFF58774-770B-4F15-8151-CB2E52463CDB}"/>
          </ac:grpSpMkLst>
        </pc:grpChg>
        <pc:grpChg chg="mod">
          <ac:chgData name="Kopper, Jordan" userId="b70b14be-98b2-4048-a278-0b2ff614ef08" providerId="ADAL" clId="{C306FF50-8479-4715-8969-CDEBA8863634}" dt="2021-09-17T04:38:57.239" v="8751" actId="1076"/>
          <ac:grpSpMkLst>
            <pc:docMk/>
            <pc:sldMk cId="3811223707" sldId="288"/>
            <ac:grpSpMk id="480" creationId="{E10B7209-2793-49FB-BD9F-2E6D7178CC56}"/>
          </ac:grpSpMkLst>
        </pc:grpChg>
        <pc:graphicFrameChg chg="mod">
          <ac:chgData name="Kopper, Jordan" userId="b70b14be-98b2-4048-a278-0b2ff614ef08" providerId="ADAL" clId="{C306FF50-8479-4715-8969-CDEBA8863634}" dt="2021-09-11T13:31:58.757" v="1864" actId="571"/>
          <ac:graphicFrameMkLst>
            <pc:docMk/>
            <pc:sldMk cId="3811223707" sldId="288"/>
            <ac:graphicFrameMk id="99" creationId="{C793EE6E-BDD2-4048-8A4C-391D602C3C2C}"/>
          </ac:graphicFrameMkLst>
        </pc:graphicFrameChg>
        <pc:graphicFrameChg chg="mod">
          <ac:chgData name="Kopper, Jordan" userId="b70b14be-98b2-4048-a278-0b2ff614ef08" providerId="ADAL" clId="{C306FF50-8479-4715-8969-CDEBA8863634}" dt="2021-09-17T04:38:57.239" v="8751" actId="1076"/>
          <ac:graphicFrameMkLst>
            <pc:docMk/>
            <pc:sldMk cId="3811223707" sldId="288"/>
            <ac:graphicFrameMk id="115" creationId="{D67D8A66-8427-473A-8075-28296AE296B7}"/>
          </ac:graphicFrameMkLst>
        </pc:graphicFrameChg>
        <pc:picChg chg="add mod modCrop">
          <ac:chgData name="Kopper, Jordan" userId="b70b14be-98b2-4048-a278-0b2ff614ef08" providerId="ADAL" clId="{C306FF50-8479-4715-8969-CDEBA8863634}" dt="2021-09-17T04:38:57.239" v="8751" actId="1076"/>
          <ac:picMkLst>
            <pc:docMk/>
            <pc:sldMk cId="3811223707" sldId="288"/>
            <ac:picMk id="4" creationId="{F7AC5318-5C86-4AA9-9602-18475E472C8C}"/>
          </ac:picMkLst>
        </pc:picChg>
        <pc:picChg chg="add mod">
          <ac:chgData name="Kopper, Jordan" userId="b70b14be-98b2-4048-a278-0b2ff614ef08" providerId="ADAL" clId="{C306FF50-8479-4715-8969-CDEBA8863634}" dt="2021-09-17T04:38:57.239" v="8751" actId="1076"/>
          <ac:picMkLst>
            <pc:docMk/>
            <pc:sldMk cId="3811223707" sldId="288"/>
            <ac:picMk id="5" creationId="{69F4B97F-159B-4D3B-A7A9-DA3CEDECBA56}"/>
          </ac:picMkLst>
        </pc:picChg>
        <pc:picChg chg="add del mod">
          <ac:chgData name="Kopper, Jordan" userId="b70b14be-98b2-4048-a278-0b2ff614ef08" providerId="ADAL" clId="{C306FF50-8479-4715-8969-CDEBA8863634}" dt="2021-09-17T04:29:58.051" v="8341"/>
          <ac:picMkLst>
            <pc:docMk/>
            <pc:sldMk cId="3811223707" sldId="288"/>
            <ac:picMk id="6" creationId="{8DE0E5D4-2D78-4E35-8560-4A8FCB2C90BE}"/>
          </ac:picMkLst>
        </pc:picChg>
        <pc:picChg chg="add del mod">
          <ac:chgData name="Kopper, Jordan" userId="b70b14be-98b2-4048-a278-0b2ff614ef08" providerId="ADAL" clId="{C306FF50-8479-4715-8969-CDEBA8863634}" dt="2021-09-17T03:53:35.556" v="7303" actId="478"/>
          <ac:picMkLst>
            <pc:docMk/>
            <pc:sldMk cId="3811223707" sldId="288"/>
            <ac:picMk id="95" creationId="{ADEC359F-5161-43E5-AD28-00A3B1761535}"/>
          </ac:picMkLst>
        </pc:picChg>
        <pc:picChg chg="add mod">
          <ac:chgData name="Kopper, Jordan" userId="b70b14be-98b2-4048-a278-0b2ff614ef08" providerId="ADAL" clId="{C306FF50-8479-4715-8969-CDEBA8863634}" dt="2021-09-17T03:53:27.139" v="7299"/>
          <ac:picMkLst>
            <pc:docMk/>
            <pc:sldMk cId="3811223707" sldId="288"/>
            <ac:picMk id="97" creationId="{6376C5D8-7795-4665-810C-EE8F7B26295D}"/>
          </ac:picMkLst>
        </pc:picChg>
        <pc:picChg chg="add del mod">
          <ac:chgData name="Kopper, Jordan" userId="b70b14be-98b2-4048-a278-0b2ff614ef08" providerId="ADAL" clId="{C306FF50-8479-4715-8969-CDEBA8863634}" dt="2021-09-17T04:30:12.167" v="8346" actId="478"/>
          <ac:picMkLst>
            <pc:docMk/>
            <pc:sldMk cId="3811223707" sldId="288"/>
            <ac:picMk id="121" creationId="{60EA7269-D836-4F8F-AD50-35F50F435C66}"/>
          </ac:picMkLst>
        </pc:picChg>
      </pc:sldChg>
      <pc:sldChg chg="new del">
        <pc:chgData name="Kopper, Jordan" userId="b70b14be-98b2-4048-a278-0b2ff614ef08" providerId="ADAL" clId="{C306FF50-8479-4715-8969-CDEBA8863634}" dt="2021-09-11T14:19:05.954" v="2692" actId="47"/>
        <pc:sldMkLst>
          <pc:docMk/>
          <pc:sldMk cId="2506664683" sldId="289"/>
        </pc:sldMkLst>
      </pc:sldChg>
      <pc:sldChg chg="delSp modSp add mod">
        <pc:chgData name="Kopper, Jordan" userId="b70b14be-98b2-4048-a278-0b2ff614ef08" providerId="ADAL" clId="{C306FF50-8479-4715-8969-CDEBA8863634}" dt="2021-09-11T15:07:13.791" v="3113" actId="20577"/>
        <pc:sldMkLst>
          <pc:docMk/>
          <pc:sldMk cId="3976403040" sldId="289"/>
        </pc:sldMkLst>
        <pc:spChg chg="mod">
          <ac:chgData name="Kopper, Jordan" userId="b70b14be-98b2-4048-a278-0b2ff614ef08" providerId="ADAL" clId="{C306FF50-8479-4715-8969-CDEBA8863634}" dt="2021-09-11T15:07:13.791" v="3113" actId="20577"/>
          <ac:spMkLst>
            <pc:docMk/>
            <pc:sldMk cId="3976403040" sldId="289"/>
            <ac:spMk id="62" creationId="{9DA5307B-4072-4AB2-BDC3-746940965F9E}"/>
          </ac:spMkLst>
        </pc:spChg>
        <pc:picChg chg="del">
          <ac:chgData name="Kopper, Jordan" userId="b70b14be-98b2-4048-a278-0b2ff614ef08" providerId="ADAL" clId="{C306FF50-8479-4715-8969-CDEBA8863634}" dt="2021-09-11T14:19:10.371" v="2695" actId="478"/>
          <ac:picMkLst>
            <pc:docMk/>
            <pc:sldMk cId="3976403040" sldId="289"/>
            <ac:picMk id="3" creationId="{BAECFB55-D31C-43CF-902F-033494E4CB56}"/>
          </ac:picMkLst>
        </pc:picChg>
        <pc:picChg chg="del">
          <ac:chgData name="Kopper, Jordan" userId="b70b14be-98b2-4048-a278-0b2ff614ef08" providerId="ADAL" clId="{C306FF50-8479-4715-8969-CDEBA8863634}" dt="2021-09-11T14:19:09.937" v="2694" actId="478"/>
          <ac:picMkLst>
            <pc:docMk/>
            <pc:sldMk cId="3976403040" sldId="289"/>
            <ac:picMk id="59" creationId="{71C6B47D-AC61-41B8-AB1C-9C5C5A329096}"/>
          </ac:picMkLst>
        </pc:picChg>
      </pc:sldChg>
      <pc:sldChg chg="add">
        <pc:chgData name="Kopper, Jordan" userId="b70b14be-98b2-4048-a278-0b2ff614ef08" providerId="ADAL" clId="{C306FF50-8479-4715-8969-CDEBA8863634}" dt="2021-09-11T15:07:06.359" v="3094"/>
        <pc:sldMkLst>
          <pc:docMk/>
          <pc:sldMk cId="3412301913" sldId="290"/>
        </pc:sldMkLst>
      </pc:sldChg>
      <pc:sldChg chg="addSp delSp modSp add mod">
        <pc:chgData name="Kopper, Jordan" userId="b70b14be-98b2-4048-a278-0b2ff614ef08" providerId="ADAL" clId="{C306FF50-8479-4715-8969-CDEBA8863634}" dt="2021-09-11T15:21:36.423" v="3230" actId="20577"/>
        <pc:sldMkLst>
          <pc:docMk/>
          <pc:sldMk cId="127807496" sldId="291"/>
        </pc:sldMkLst>
        <pc:spChg chg="del">
          <ac:chgData name="Kopper, Jordan" userId="b70b14be-98b2-4048-a278-0b2ff614ef08" providerId="ADAL" clId="{C306FF50-8479-4715-8969-CDEBA8863634}" dt="2021-09-11T15:18:29.539" v="3116" actId="478"/>
          <ac:spMkLst>
            <pc:docMk/>
            <pc:sldMk cId="127807496" sldId="291"/>
            <ac:spMk id="3" creationId="{E046EB0F-7B17-497D-9C90-603580F77B02}"/>
          </ac:spMkLst>
        </pc:spChg>
        <pc:spChg chg="add mod">
          <ac:chgData name="Kopper, Jordan" userId="b70b14be-98b2-4048-a278-0b2ff614ef08" providerId="ADAL" clId="{C306FF50-8479-4715-8969-CDEBA8863634}" dt="2021-09-11T15:21:36.423" v="3230" actId="20577"/>
          <ac:spMkLst>
            <pc:docMk/>
            <pc:sldMk cId="127807496" sldId="291"/>
            <ac:spMk id="6" creationId="{80A016C1-FAB6-45C1-89B9-A41B8BA267BC}"/>
          </ac:spMkLst>
        </pc:spChg>
        <pc:spChg chg="add mod">
          <ac:chgData name="Kopper, Jordan" userId="b70b14be-98b2-4048-a278-0b2ff614ef08" providerId="ADAL" clId="{C306FF50-8479-4715-8969-CDEBA8863634}" dt="2021-09-11T15:21:28.790" v="3211" actId="20577"/>
          <ac:spMkLst>
            <pc:docMk/>
            <pc:sldMk cId="127807496" sldId="291"/>
            <ac:spMk id="9" creationId="{3842C0A8-EE3B-4DFF-B290-3C2212D964CE}"/>
          </ac:spMkLst>
        </pc:spChg>
        <pc:picChg chg="del">
          <ac:chgData name="Kopper, Jordan" userId="b70b14be-98b2-4048-a278-0b2ff614ef08" providerId="ADAL" clId="{C306FF50-8479-4715-8969-CDEBA8863634}" dt="2021-09-11T15:18:31.243" v="3117" actId="478"/>
          <ac:picMkLst>
            <pc:docMk/>
            <pc:sldMk cId="127807496" sldId="291"/>
            <ac:picMk id="4" creationId="{C6207EA1-E45E-40B1-9425-E3C5B38726CF}"/>
          </ac:picMkLst>
        </pc:picChg>
        <pc:picChg chg="add mod">
          <ac:chgData name="Kopper, Jordan" userId="b70b14be-98b2-4048-a278-0b2ff614ef08" providerId="ADAL" clId="{C306FF50-8479-4715-8969-CDEBA8863634}" dt="2021-09-11T15:18:52.198" v="3120" actId="14100"/>
          <ac:picMkLst>
            <pc:docMk/>
            <pc:sldMk cId="127807496" sldId="291"/>
            <ac:picMk id="5" creationId="{8D9B4B3D-CC5C-45BD-BC55-A711BA8C9B3B}"/>
          </ac:picMkLst>
        </pc:picChg>
        <pc:picChg chg="add mod">
          <ac:chgData name="Kopper, Jordan" userId="b70b14be-98b2-4048-a278-0b2ff614ef08" providerId="ADAL" clId="{C306FF50-8479-4715-8969-CDEBA8863634}" dt="2021-09-11T15:19:44.613" v="3139" actId="1076"/>
          <ac:picMkLst>
            <pc:docMk/>
            <pc:sldMk cId="127807496" sldId="291"/>
            <ac:picMk id="7" creationId="{2EB637CA-7C1E-4B2A-AF40-E36930370A4E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4:01:07.939" v="9201" actId="14100"/>
        <pc:sldMkLst>
          <pc:docMk/>
          <pc:sldMk cId="1068218177" sldId="293"/>
        </pc:sldMkLst>
        <pc:spChg chg="add mod">
          <ac:chgData name="Kopper, Jordan" userId="b70b14be-98b2-4048-a278-0b2ff614ef08" providerId="ADAL" clId="{C306FF50-8479-4715-8969-CDEBA8863634}" dt="2021-09-23T14:01:07.939" v="9201" actId="14100"/>
          <ac:spMkLst>
            <pc:docMk/>
            <pc:sldMk cId="1068218177" sldId="293"/>
            <ac:spMk id="8" creationId="{DA35CE95-EA79-4827-AEC9-EFF0684F3EF9}"/>
          </ac:spMkLst>
        </pc:spChg>
        <pc:spChg chg="add del mod">
          <ac:chgData name="Kopper, Jordan" userId="b70b14be-98b2-4048-a278-0b2ff614ef08" providerId="ADAL" clId="{C306FF50-8479-4715-8969-CDEBA8863634}" dt="2021-09-23T13:59:14.550" v="9173" actId="478"/>
          <ac:spMkLst>
            <pc:docMk/>
            <pc:sldMk cId="1068218177" sldId="293"/>
            <ac:spMk id="9" creationId="{5D4B11C5-5A2D-40EE-91DA-D69B5556D019}"/>
          </ac:spMkLst>
        </pc:spChg>
        <pc:spChg chg="add mod">
          <ac:chgData name="Kopper, Jordan" userId="b70b14be-98b2-4048-a278-0b2ff614ef08" providerId="ADAL" clId="{C306FF50-8479-4715-8969-CDEBA8863634}" dt="2021-09-23T14:00:59.062" v="9198" actId="14100"/>
          <ac:spMkLst>
            <pc:docMk/>
            <pc:sldMk cId="1068218177" sldId="293"/>
            <ac:spMk id="10" creationId="{1DA23E8F-99A4-42E7-8AEE-3674430005EF}"/>
          </ac:spMkLst>
        </pc:spChg>
        <pc:spChg chg="add mod">
          <ac:chgData name="Kopper, Jordan" userId="b70b14be-98b2-4048-a278-0b2ff614ef08" providerId="ADAL" clId="{C306FF50-8479-4715-8969-CDEBA8863634}" dt="2021-09-23T14:01:01.463" v="9199" actId="14100"/>
          <ac:spMkLst>
            <pc:docMk/>
            <pc:sldMk cId="1068218177" sldId="293"/>
            <ac:spMk id="11" creationId="{92280768-04A1-4AEF-89CC-B7111E0F9085}"/>
          </ac:spMkLst>
        </pc:spChg>
        <pc:spChg chg="add mod">
          <ac:chgData name="Kopper, Jordan" userId="b70b14be-98b2-4048-a278-0b2ff614ef08" providerId="ADAL" clId="{C306FF50-8479-4715-8969-CDEBA8863634}" dt="2021-09-23T14:01:04.852" v="9200" actId="14100"/>
          <ac:spMkLst>
            <pc:docMk/>
            <pc:sldMk cId="1068218177" sldId="293"/>
            <ac:spMk id="12" creationId="{9C098144-833A-46A2-B6C3-F0BA5DCA8DC1}"/>
          </ac:spMkLst>
        </pc:spChg>
        <pc:picChg chg="add del mod">
          <ac:chgData name="Kopper, Jordan" userId="b70b14be-98b2-4048-a278-0b2ff614ef08" providerId="ADAL" clId="{C306FF50-8479-4715-8969-CDEBA8863634}" dt="2021-09-17T02:30:56.106" v="5661" actId="478"/>
          <ac:picMkLst>
            <pc:docMk/>
            <pc:sldMk cId="1068218177" sldId="293"/>
            <ac:picMk id="6" creationId="{39F845E5-A6C0-4F86-AB88-6669EBA76993}"/>
          </ac:picMkLst>
        </pc:picChg>
        <pc:picChg chg="add mod">
          <ac:chgData name="Kopper, Jordan" userId="b70b14be-98b2-4048-a278-0b2ff614ef08" providerId="ADAL" clId="{C306FF50-8479-4715-8969-CDEBA8863634}" dt="2021-09-17T02:30:46.555" v="5656"/>
          <ac:picMkLst>
            <pc:docMk/>
            <pc:sldMk cId="1068218177" sldId="293"/>
            <ac:picMk id="7" creationId="{87724B1E-DB93-471B-B253-236E8F6C9D21}"/>
          </ac:picMkLst>
        </pc:picChg>
        <pc:picChg chg="mod">
          <ac:chgData name="Kopper, Jordan" userId="b70b14be-98b2-4048-a278-0b2ff614ef08" providerId="ADAL" clId="{C306FF50-8479-4715-8969-CDEBA8863634}" dt="2021-09-14T11:46:13.218" v="3233" actId="1076"/>
          <ac:picMkLst>
            <pc:docMk/>
            <pc:sldMk cId="1068218177" sldId="293"/>
            <ac:picMk id="14" creationId="{21C30125-B7F5-473E-8B29-C6B811A4A808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4:07:27.294" v="9310" actId="1076"/>
        <pc:sldMkLst>
          <pc:docMk/>
          <pc:sldMk cId="1229639259" sldId="294"/>
        </pc:sldMkLst>
        <pc:spChg chg="add del mod">
          <ac:chgData name="Kopper, Jordan" userId="b70b14be-98b2-4048-a278-0b2ff614ef08" providerId="ADAL" clId="{C306FF50-8479-4715-8969-CDEBA8863634}" dt="2021-09-14T14:39:51.877" v="5363" actId="478"/>
          <ac:spMkLst>
            <pc:docMk/>
            <pc:sldMk cId="1229639259" sldId="294"/>
            <ac:spMk id="3" creationId="{F1C84C2D-C5B2-42D0-AE6C-ACFD351B286D}"/>
          </ac:spMkLst>
        </pc:spChg>
        <pc:spChg chg="add mod">
          <ac:chgData name="Kopper, Jordan" userId="b70b14be-98b2-4048-a278-0b2ff614ef08" providerId="ADAL" clId="{C306FF50-8479-4715-8969-CDEBA8863634}" dt="2021-09-23T14:07:21.587" v="9309" actId="1076"/>
          <ac:spMkLst>
            <pc:docMk/>
            <pc:sldMk cId="1229639259" sldId="294"/>
            <ac:spMk id="14" creationId="{5DEC4944-A398-4C9B-AAF8-F6D0152A9AE4}"/>
          </ac:spMkLst>
        </pc:spChg>
        <pc:spChg chg="add del mod">
          <ac:chgData name="Kopper, Jordan" userId="b70b14be-98b2-4048-a278-0b2ff614ef08" providerId="ADAL" clId="{C306FF50-8479-4715-8969-CDEBA8863634}" dt="2021-09-23T14:07:21.587" v="9309" actId="1076"/>
          <ac:spMkLst>
            <pc:docMk/>
            <pc:sldMk cId="1229639259" sldId="294"/>
            <ac:spMk id="15" creationId="{67639193-CFED-4977-A1A6-EC9576B3F713}"/>
          </ac:spMkLst>
        </pc:spChg>
        <pc:spChg chg="add mod">
          <ac:chgData name="Kopper, Jordan" userId="b70b14be-98b2-4048-a278-0b2ff614ef08" providerId="ADAL" clId="{C306FF50-8479-4715-8969-CDEBA8863634}" dt="2021-09-23T14:06:19.750" v="9289" actId="1076"/>
          <ac:spMkLst>
            <pc:docMk/>
            <pc:sldMk cId="1229639259" sldId="294"/>
            <ac:spMk id="16" creationId="{70E3A658-A9D5-45F3-95C7-46E09ADCE010}"/>
          </ac:spMkLst>
        </pc:spChg>
        <pc:spChg chg="add mod">
          <ac:chgData name="Kopper, Jordan" userId="b70b14be-98b2-4048-a278-0b2ff614ef08" providerId="ADAL" clId="{C306FF50-8479-4715-8969-CDEBA8863634}" dt="2021-09-23T14:06:19.750" v="9289" actId="1076"/>
          <ac:spMkLst>
            <pc:docMk/>
            <pc:sldMk cId="1229639259" sldId="294"/>
            <ac:spMk id="18" creationId="{13BF0418-9A66-403C-95F9-B348E1979A20}"/>
          </ac:spMkLst>
        </pc:spChg>
        <pc:spChg chg="add mod">
          <ac:chgData name="Kopper, Jordan" userId="b70b14be-98b2-4048-a278-0b2ff614ef08" providerId="ADAL" clId="{C306FF50-8479-4715-8969-CDEBA8863634}" dt="2021-09-23T14:06:11.510" v="9288" actId="1076"/>
          <ac:spMkLst>
            <pc:docMk/>
            <pc:sldMk cId="1229639259" sldId="294"/>
            <ac:spMk id="19" creationId="{E97F7D95-BE2D-4B20-8176-83E412D2FF8F}"/>
          </ac:spMkLst>
        </pc:spChg>
        <pc:spChg chg="add mod">
          <ac:chgData name="Kopper, Jordan" userId="b70b14be-98b2-4048-a278-0b2ff614ef08" providerId="ADAL" clId="{C306FF50-8479-4715-8969-CDEBA8863634}" dt="2021-09-23T14:06:11.510" v="9288" actId="1076"/>
          <ac:spMkLst>
            <pc:docMk/>
            <pc:sldMk cId="1229639259" sldId="294"/>
            <ac:spMk id="26" creationId="{4F32609C-64CF-4829-9EDC-ECFA003CDB81}"/>
          </ac:spMkLst>
        </pc:spChg>
        <pc:spChg chg="add mod">
          <ac:chgData name="Kopper, Jordan" userId="b70b14be-98b2-4048-a278-0b2ff614ef08" providerId="ADAL" clId="{C306FF50-8479-4715-8969-CDEBA8863634}" dt="2021-09-23T14:06:37.325" v="9301" actId="20577"/>
          <ac:spMkLst>
            <pc:docMk/>
            <pc:sldMk cId="1229639259" sldId="294"/>
            <ac:spMk id="27" creationId="{8078D008-D215-43AD-A70A-D2C139F5532F}"/>
          </ac:spMkLst>
        </pc:spChg>
        <pc:spChg chg="add mod">
          <ac:chgData name="Kopper, Jordan" userId="b70b14be-98b2-4048-a278-0b2ff614ef08" providerId="ADAL" clId="{C306FF50-8479-4715-8969-CDEBA8863634}" dt="2021-09-23T14:07:19.153" v="9308" actId="571"/>
          <ac:spMkLst>
            <pc:docMk/>
            <pc:sldMk cId="1229639259" sldId="294"/>
            <ac:spMk id="29" creationId="{908CAE32-0ADC-45DE-9F49-D67D2F02829B}"/>
          </ac:spMkLst>
        </pc:spChg>
        <pc:picChg chg="add del mod">
          <ac:chgData name="Kopper, Jordan" userId="b70b14be-98b2-4048-a278-0b2ff614ef08" providerId="ADAL" clId="{C306FF50-8479-4715-8969-CDEBA8863634}" dt="2021-09-17T02:30:57.711" v="5662" actId="478"/>
          <ac:picMkLst>
            <pc:docMk/>
            <pc:sldMk cId="1229639259" sldId="294"/>
            <ac:picMk id="12" creationId="{6752710D-AEF6-4ADF-A1FF-880818B96283}"/>
          </ac:picMkLst>
        </pc:picChg>
        <pc:picChg chg="add mod">
          <ac:chgData name="Kopper, Jordan" userId="b70b14be-98b2-4048-a278-0b2ff614ef08" providerId="ADAL" clId="{C306FF50-8479-4715-8969-CDEBA8863634}" dt="2021-09-17T02:30:47.741" v="5657"/>
          <ac:picMkLst>
            <pc:docMk/>
            <pc:sldMk cId="1229639259" sldId="294"/>
            <ac:picMk id="13" creationId="{9DD7744D-5393-4CFC-A576-CB11424ECC8D}"/>
          </ac:picMkLst>
        </pc:picChg>
        <pc:picChg chg="mod modCrop">
          <ac:chgData name="Kopper, Jordan" userId="b70b14be-98b2-4048-a278-0b2ff614ef08" providerId="ADAL" clId="{C306FF50-8479-4715-8969-CDEBA8863634}" dt="2021-09-23T14:07:21.587" v="9309" actId="1076"/>
          <ac:picMkLst>
            <pc:docMk/>
            <pc:sldMk cId="1229639259" sldId="294"/>
            <ac:picMk id="17" creationId="{1BFA9D46-9D66-468E-9216-7E4B3A926259}"/>
          </ac:picMkLst>
        </pc:picChg>
        <pc:picChg chg="mod modCrop">
          <ac:chgData name="Kopper, Jordan" userId="b70b14be-98b2-4048-a278-0b2ff614ef08" providerId="ADAL" clId="{C306FF50-8479-4715-8969-CDEBA8863634}" dt="2021-09-23T14:06:19.750" v="9289" actId="1076"/>
          <ac:picMkLst>
            <pc:docMk/>
            <pc:sldMk cId="1229639259" sldId="294"/>
            <ac:picMk id="20" creationId="{3258C491-52A5-4580-9040-C8C5BDFD7927}"/>
          </ac:picMkLst>
        </pc:picChg>
        <pc:picChg chg="mod modCrop">
          <ac:chgData name="Kopper, Jordan" userId="b70b14be-98b2-4048-a278-0b2ff614ef08" providerId="ADAL" clId="{C306FF50-8479-4715-8969-CDEBA8863634}" dt="2021-09-23T14:06:11.510" v="9288" actId="1076"/>
          <ac:picMkLst>
            <pc:docMk/>
            <pc:sldMk cId="1229639259" sldId="294"/>
            <ac:picMk id="21" creationId="{1C24DC18-F6C5-4AFD-BCB3-AC6B4EDCC711}"/>
          </ac:picMkLst>
        </pc:picChg>
        <pc:picChg chg="mod modCrop">
          <ac:chgData name="Kopper, Jordan" userId="b70b14be-98b2-4048-a278-0b2ff614ef08" providerId="ADAL" clId="{C306FF50-8479-4715-8969-CDEBA8863634}" dt="2021-09-23T14:06:19.750" v="9289" actId="1076"/>
          <ac:picMkLst>
            <pc:docMk/>
            <pc:sldMk cId="1229639259" sldId="294"/>
            <ac:picMk id="22" creationId="{A79ABF36-5E70-4D93-A7DE-F462A271033C}"/>
          </ac:picMkLst>
        </pc:picChg>
        <pc:picChg chg="mod modCrop">
          <ac:chgData name="Kopper, Jordan" userId="b70b14be-98b2-4048-a278-0b2ff614ef08" providerId="ADAL" clId="{C306FF50-8479-4715-8969-CDEBA8863634}" dt="2021-09-23T14:07:21.587" v="9309" actId="1076"/>
          <ac:picMkLst>
            <pc:docMk/>
            <pc:sldMk cId="1229639259" sldId="294"/>
            <ac:picMk id="23" creationId="{CA16D8BD-ABCD-4188-B595-EBA3B5BB815F}"/>
          </ac:picMkLst>
        </pc:picChg>
        <pc:picChg chg="mod modCrop">
          <ac:chgData name="Kopper, Jordan" userId="b70b14be-98b2-4048-a278-0b2ff614ef08" providerId="ADAL" clId="{C306FF50-8479-4715-8969-CDEBA8863634}" dt="2021-09-23T14:06:11.510" v="9288" actId="1076"/>
          <ac:picMkLst>
            <pc:docMk/>
            <pc:sldMk cId="1229639259" sldId="294"/>
            <ac:picMk id="24" creationId="{E5983125-1959-4BD5-A4D5-C4424FBC6A8C}"/>
          </ac:picMkLst>
        </pc:picChg>
        <pc:picChg chg="mod modCrop">
          <ac:chgData name="Kopper, Jordan" userId="b70b14be-98b2-4048-a278-0b2ff614ef08" providerId="ADAL" clId="{C306FF50-8479-4715-8969-CDEBA8863634}" dt="2021-09-23T14:07:27.294" v="9310" actId="1076"/>
          <ac:picMkLst>
            <pc:docMk/>
            <pc:sldMk cId="1229639259" sldId="294"/>
            <ac:picMk id="25" creationId="{9F6A181D-452A-4B15-AA47-A25808386811}"/>
          </ac:picMkLst>
        </pc:picChg>
        <pc:picChg chg="add mod">
          <ac:chgData name="Kopper, Jordan" userId="b70b14be-98b2-4048-a278-0b2ff614ef08" providerId="ADAL" clId="{C306FF50-8479-4715-8969-CDEBA8863634}" dt="2021-09-23T14:07:19.153" v="9308" actId="571"/>
          <ac:picMkLst>
            <pc:docMk/>
            <pc:sldMk cId="1229639259" sldId="294"/>
            <ac:picMk id="28" creationId="{A5B583E5-C55D-421E-B491-7FC6508D8A51}"/>
          </ac:picMkLst>
        </pc:picChg>
      </pc:sldChg>
      <pc:sldChg chg="addSp delSp modSp mod setBg modAnim">
        <pc:chgData name="Kopper, Jordan" userId="b70b14be-98b2-4048-a278-0b2ff614ef08" providerId="ADAL" clId="{C306FF50-8479-4715-8969-CDEBA8863634}" dt="2021-09-17T13:56:25.899" v="9046" actId="20577"/>
        <pc:sldMkLst>
          <pc:docMk/>
          <pc:sldMk cId="3353257427" sldId="296"/>
        </pc:sldMkLst>
        <pc:spChg chg="mod">
          <ac:chgData name="Kopper, Jordan" userId="b70b14be-98b2-4048-a278-0b2ff614ef08" providerId="ADAL" clId="{C306FF50-8479-4715-8969-CDEBA8863634}" dt="2021-09-17T02:43:30.698" v="5948"/>
          <ac:spMkLst>
            <pc:docMk/>
            <pc:sldMk cId="3353257427" sldId="296"/>
            <ac:spMk id="2" creationId="{D054D526-AD67-4B88-AC9F-3996DCE7FB89}"/>
          </ac:spMkLst>
        </pc:spChg>
        <pc:spChg chg="add del mod">
          <ac:chgData name="Kopper, Jordan" userId="b70b14be-98b2-4048-a278-0b2ff614ef08" providerId="ADAL" clId="{C306FF50-8479-4715-8969-CDEBA8863634}" dt="2021-09-17T02:43:35.119" v="5950" actId="478"/>
          <ac:spMkLst>
            <pc:docMk/>
            <pc:sldMk cId="3353257427" sldId="296"/>
            <ac:spMk id="3" creationId="{550167DA-D434-4B7E-959F-97E23D6363CD}"/>
          </ac:spMkLst>
        </pc:spChg>
        <pc:spChg chg="add del mod">
          <ac:chgData name="Kopper, Jordan" userId="b70b14be-98b2-4048-a278-0b2ff614ef08" providerId="ADAL" clId="{C306FF50-8479-4715-8969-CDEBA8863634}" dt="2021-09-17T02:43:33.830" v="5949" actId="478"/>
          <ac:spMkLst>
            <pc:docMk/>
            <pc:sldMk cId="3353257427" sldId="296"/>
            <ac:spMk id="4" creationId="{4E8A1207-4A8E-4762-92A4-C9745AF7FE1F}"/>
          </ac:spMkLst>
        </pc:spChg>
        <pc:spChg chg="mod">
          <ac:chgData name="Kopper, Jordan" userId="b70b14be-98b2-4048-a278-0b2ff614ef08" providerId="ADAL" clId="{C306FF50-8479-4715-8969-CDEBA8863634}" dt="2021-09-14T11:49:09.818" v="3257" actId="207"/>
          <ac:spMkLst>
            <pc:docMk/>
            <pc:sldMk cId="3353257427" sldId="296"/>
            <ac:spMk id="8" creationId="{164578CF-3189-48FA-9D52-286DCE2731E3}"/>
          </ac:spMkLst>
        </pc:spChg>
        <pc:spChg chg="mod">
          <ac:chgData name="Kopper, Jordan" userId="b70b14be-98b2-4048-a278-0b2ff614ef08" providerId="ADAL" clId="{C306FF50-8479-4715-8969-CDEBA8863634}" dt="2021-09-14T12:08:44.452" v="3951" actId="20577"/>
          <ac:spMkLst>
            <pc:docMk/>
            <pc:sldMk cId="3353257427" sldId="296"/>
            <ac:spMk id="9" creationId="{E880204A-E2D0-48CD-91BB-A4E2432E17C0}"/>
          </ac:spMkLst>
        </pc:spChg>
        <pc:spChg chg="del mod">
          <ac:chgData name="Kopper, Jordan" userId="b70b14be-98b2-4048-a278-0b2ff614ef08" providerId="ADAL" clId="{C306FF50-8479-4715-8969-CDEBA8863634}" dt="2021-09-14T11:50:23.044" v="3320" actId="478"/>
          <ac:spMkLst>
            <pc:docMk/>
            <pc:sldMk cId="3353257427" sldId="296"/>
            <ac:spMk id="10" creationId="{C179BC7B-DD1E-45EB-B784-9CA14757C0C4}"/>
          </ac:spMkLst>
        </pc:spChg>
        <pc:spChg chg="mod">
          <ac:chgData name="Kopper, Jordan" userId="b70b14be-98b2-4048-a278-0b2ff614ef08" providerId="ADAL" clId="{C306FF50-8479-4715-8969-CDEBA8863634}" dt="2021-09-17T02:44:46.723" v="5979" actId="20577"/>
          <ac:spMkLst>
            <pc:docMk/>
            <pc:sldMk cId="3353257427" sldId="296"/>
            <ac:spMk id="14" creationId="{93A2801B-3BB0-4358-882C-89997B176E71}"/>
          </ac:spMkLst>
        </pc:spChg>
        <pc:spChg chg="mod">
          <ac:chgData name="Kopper, Jordan" userId="b70b14be-98b2-4048-a278-0b2ff614ef08" providerId="ADAL" clId="{C306FF50-8479-4715-8969-CDEBA8863634}" dt="2021-09-14T11:50:26.829" v="3321"/>
          <ac:spMkLst>
            <pc:docMk/>
            <pc:sldMk cId="3353257427" sldId="296"/>
            <ac:spMk id="16" creationId="{EAF68722-7045-48AB-AE60-9B7F3FE5A964}"/>
          </ac:spMkLst>
        </pc:spChg>
        <pc:spChg chg="mod">
          <ac:chgData name="Kopper, Jordan" userId="b70b14be-98b2-4048-a278-0b2ff614ef08" providerId="ADAL" clId="{C306FF50-8479-4715-8969-CDEBA8863634}" dt="2021-09-14T12:04:48.635" v="3710" actId="20577"/>
          <ac:spMkLst>
            <pc:docMk/>
            <pc:sldMk cId="3353257427" sldId="296"/>
            <ac:spMk id="17" creationId="{6F5AD5FF-2CE0-4C17-A874-03C756992EAC}"/>
          </ac:spMkLst>
        </pc:spChg>
        <pc:spChg chg="mod">
          <ac:chgData name="Kopper, Jordan" userId="b70b14be-98b2-4048-a278-0b2ff614ef08" providerId="ADAL" clId="{C306FF50-8479-4715-8969-CDEBA8863634}" dt="2021-09-14T11:52:50.481" v="3361"/>
          <ac:spMkLst>
            <pc:docMk/>
            <pc:sldMk cId="3353257427" sldId="296"/>
            <ac:spMk id="19" creationId="{BD3BE92C-100D-4605-BA03-388100B2CC19}"/>
          </ac:spMkLst>
        </pc:spChg>
        <pc:spChg chg="mod">
          <ac:chgData name="Kopper, Jordan" userId="b70b14be-98b2-4048-a278-0b2ff614ef08" providerId="ADAL" clId="{C306FF50-8479-4715-8969-CDEBA8863634}" dt="2021-09-17T13:56:25.899" v="9046" actId="20577"/>
          <ac:spMkLst>
            <pc:docMk/>
            <pc:sldMk cId="3353257427" sldId="296"/>
            <ac:spMk id="20" creationId="{14500825-DA72-43DE-B7F3-2CA6985151C1}"/>
          </ac:spMkLst>
        </pc:spChg>
        <pc:spChg chg="add del mod">
          <ac:chgData name="Kopper, Jordan" userId="b70b14be-98b2-4048-a278-0b2ff614ef08" providerId="ADAL" clId="{C306FF50-8479-4715-8969-CDEBA8863634}" dt="2021-09-17T02:43:38.813" v="5951" actId="478"/>
          <ac:spMkLst>
            <pc:docMk/>
            <pc:sldMk cId="3353257427" sldId="296"/>
            <ac:spMk id="23" creationId="{B2ECD3C3-74F5-43A8-98DE-5A663569C30B}"/>
          </ac:spMkLst>
        </pc:spChg>
        <pc:grpChg chg="add mod">
          <ac:chgData name="Kopper, Jordan" userId="b70b14be-98b2-4048-a278-0b2ff614ef08" providerId="ADAL" clId="{C306FF50-8479-4715-8969-CDEBA8863634}" dt="2021-09-14T11:54:47.129" v="3422" actId="1076"/>
          <ac:grpSpMkLst>
            <pc:docMk/>
            <pc:sldMk cId="3353257427" sldId="296"/>
            <ac:grpSpMk id="7" creationId="{306339AB-73EB-4715-8CC4-F4D1EE7078F3}"/>
          </ac:grpSpMkLst>
        </pc:grpChg>
        <pc:grpChg chg="add mod">
          <ac:chgData name="Kopper, Jordan" userId="b70b14be-98b2-4048-a278-0b2ff614ef08" providerId="ADAL" clId="{C306FF50-8479-4715-8969-CDEBA8863634}" dt="2021-09-14T11:54:47.129" v="3422" actId="1076"/>
          <ac:grpSpMkLst>
            <pc:docMk/>
            <pc:sldMk cId="3353257427" sldId="296"/>
            <ac:grpSpMk id="15" creationId="{7898F7D5-003B-4DAD-A988-4988A42D8247}"/>
          </ac:grpSpMkLst>
        </pc:grpChg>
        <pc:grpChg chg="add mod">
          <ac:chgData name="Kopper, Jordan" userId="b70b14be-98b2-4048-a278-0b2ff614ef08" providerId="ADAL" clId="{C306FF50-8479-4715-8969-CDEBA8863634}" dt="2021-09-14T11:54:47.129" v="3422" actId="1076"/>
          <ac:grpSpMkLst>
            <pc:docMk/>
            <pc:sldMk cId="3353257427" sldId="296"/>
            <ac:grpSpMk id="18" creationId="{DB638759-044B-4DE0-90BD-355A37848007}"/>
          </ac:grpSpMkLst>
        </pc:grpChg>
        <pc:picChg chg="mod ord">
          <ac:chgData name="Kopper, Jordan" userId="b70b14be-98b2-4048-a278-0b2ff614ef08" providerId="ADAL" clId="{C306FF50-8479-4715-8969-CDEBA8863634}" dt="2021-09-14T11:54:47.129" v="3422" actId="1076"/>
          <ac:picMkLst>
            <pc:docMk/>
            <pc:sldMk cId="3353257427" sldId="296"/>
            <ac:picMk id="11" creationId="{44AB36F1-5748-48CF-8BF3-2D7DFA86DF6C}"/>
          </ac:picMkLst>
        </pc:picChg>
        <pc:picChg chg="mod ord">
          <ac:chgData name="Kopper, Jordan" userId="b70b14be-98b2-4048-a278-0b2ff614ef08" providerId="ADAL" clId="{C306FF50-8479-4715-8969-CDEBA8863634}" dt="2021-09-14T11:54:47.129" v="3422" actId="1076"/>
          <ac:picMkLst>
            <pc:docMk/>
            <pc:sldMk cId="3353257427" sldId="296"/>
            <ac:picMk id="12" creationId="{0927C895-49A4-4BEC-A22C-518B345B9D1F}"/>
          </ac:picMkLst>
        </pc:picChg>
        <pc:picChg chg="mod ord">
          <ac:chgData name="Kopper, Jordan" userId="b70b14be-98b2-4048-a278-0b2ff614ef08" providerId="ADAL" clId="{C306FF50-8479-4715-8969-CDEBA8863634}" dt="2021-09-14T11:54:47.129" v="3422" actId="1076"/>
          <ac:picMkLst>
            <pc:docMk/>
            <pc:sldMk cId="3353257427" sldId="296"/>
            <ac:picMk id="13" creationId="{6DB40376-6462-41C9-BB13-83B82759FEE0}"/>
          </ac:picMkLst>
        </pc:picChg>
        <pc:picChg chg="add del mod">
          <ac:chgData name="Kopper, Jordan" userId="b70b14be-98b2-4048-a278-0b2ff614ef08" providerId="ADAL" clId="{C306FF50-8479-4715-8969-CDEBA8863634}" dt="2021-09-17T02:30:58.996" v="5663" actId="478"/>
          <ac:picMkLst>
            <pc:docMk/>
            <pc:sldMk cId="3353257427" sldId="296"/>
            <ac:picMk id="21" creationId="{E6AC1EF1-0619-4F45-8276-579FF1704FFA}"/>
          </ac:picMkLst>
        </pc:picChg>
        <pc:picChg chg="add mod">
          <ac:chgData name="Kopper, Jordan" userId="b70b14be-98b2-4048-a278-0b2ff614ef08" providerId="ADAL" clId="{C306FF50-8479-4715-8969-CDEBA8863634}" dt="2021-09-17T02:30:49.839" v="5658"/>
          <ac:picMkLst>
            <pc:docMk/>
            <pc:sldMk cId="3353257427" sldId="296"/>
            <ac:picMk id="22" creationId="{4CE58F72-41AD-4234-9E3E-C692690EC61F}"/>
          </ac:picMkLst>
        </pc:picChg>
      </pc:sldChg>
      <pc:sldChg chg="addSp delSp modSp mod modAnim">
        <pc:chgData name="Kopper, Jordan" userId="b70b14be-98b2-4048-a278-0b2ff614ef08" providerId="ADAL" clId="{C306FF50-8479-4715-8969-CDEBA8863634}" dt="2021-09-17T14:05:20.803" v="9065"/>
        <pc:sldMkLst>
          <pc:docMk/>
          <pc:sldMk cId="60901149" sldId="297"/>
        </pc:sldMkLst>
        <pc:spChg chg="add del mod">
          <ac:chgData name="Kopper, Jordan" userId="b70b14be-98b2-4048-a278-0b2ff614ef08" providerId="ADAL" clId="{C306FF50-8479-4715-8969-CDEBA8863634}" dt="2021-09-17T02:44:04.095" v="5964"/>
          <ac:spMkLst>
            <pc:docMk/>
            <pc:sldMk cId="60901149" sldId="297"/>
            <ac:spMk id="2" creationId="{2E9BAF4A-92B4-4B0C-AB11-EF39D3F39D55}"/>
          </ac:spMkLst>
        </pc:spChg>
        <pc:spChg chg="add del">
          <ac:chgData name="Kopper, Jordan" userId="b70b14be-98b2-4048-a278-0b2ff614ef08" providerId="ADAL" clId="{C306FF50-8479-4715-8969-CDEBA8863634}" dt="2021-09-17T02:44:18.558" v="5970" actId="478"/>
          <ac:spMkLst>
            <pc:docMk/>
            <pc:sldMk cId="60901149" sldId="297"/>
            <ac:spMk id="6" creationId="{345291BA-5B20-4A0B-B010-C96F1E272334}"/>
          </ac:spMkLst>
        </pc:spChg>
        <pc:spChg chg="mod">
          <ac:chgData name="Kopper, Jordan" userId="b70b14be-98b2-4048-a278-0b2ff614ef08" providerId="ADAL" clId="{C306FF50-8479-4715-8969-CDEBA8863634}" dt="2021-09-14T12:02:37.151" v="3595" actId="1076"/>
          <ac:spMkLst>
            <pc:docMk/>
            <pc:sldMk cId="60901149" sldId="297"/>
            <ac:spMk id="8" creationId="{15DF6D70-1E9E-47A8-8DFB-B862A6D408A8}"/>
          </ac:spMkLst>
        </pc:spChg>
        <pc:spChg chg="mod">
          <ac:chgData name="Kopper, Jordan" userId="b70b14be-98b2-4048-a278-0b2ff614ef08" providerId="ADAL" clId="{C306FF50-8479-4715-8969-CDEBA8863634}" dt="2021-09-14T12:07:09.588" v="3823" actId="20577"/>
          <ac:spMkLst>
            <pc:docMk/>
            <pc:sldMk cId="60901149" sldId="297"/>
            <ac:spMk id="9" creationId="{48B03E9B-4058-4421-9624-970CDCAC6EF1}"/>
          </ac:spMkLst>
        </pc:spChg>
        <pc:spChg chg="mod">
          <ac:chgData name="Kopper, Jordan" userId="b70b14be-98b2-4048-a278-0b2ff614ef08" providerId="ADAL" clId="{C306FF50-8479-4715-8969-CDEBA8863634}" dt="2021-09-14T11:57:37.989" v="3454" actId="1076"/>
          <ac:spMkLst>
            <pc:docMk/>
            <pc:sldMk cId="60901149" sldId="297"/>
            <ac:spMk id="11" creationId="{BC679B96-B579-43CB-89DC-2E2AA37200EE}"/>
          </ac:spMkLst>
        </pc:spChg>
        <pc:spChg chg="mod">
          <ac:chgData name="Kopper, Jordan" userId="b70b14be-98b2-4048-a278-0b2ff614ef08" providerId="ADAL" clId="{C306FF50-8479-4715-8969-CDEBA8863634}" dt="2021-09-14T12:07:57.960" v="3893" actId="20577"/>
          <ac:spMkLst>
            <pc:docMk/>
            <pc:sldMk cId="60901149" sldId="297"/>
            <ac:spMk id="12" creationId="{5F72A5D4-F139-455F-AF77-D6CF1A8A5E57}"/>
          </ac:spMkLst>
        </pc:spChg>
        <pc:spChg chg="add del mod">
          <ac:chgData name="Kopper, Jordan" userId="b70b14be-98b2-4048-a278-0b2ff614ef08" providerId="ADAL" clId="{C306FF50-8479-4715-8969-CDEBA8863634}" dt="2021-09-17T02:44:00.821" v="5962"/>
          <ac:spMkLst>
            <pc:docMk/>
            <pc:sldMk cId="60901149" sldId="297"/>
            <ac:spMk id="15" creationId="{1CD61B9D-2E3A-4EB7-8714-FAFB48AD1217}"/>
          </ac:spMkLst>
        </pc:spChg>
        <pc:spChg chg="add del mod">
          <ac:chgData name="Kopper, Jordan" userId="b70b14be-98b2-4048-a278-0b2ff614ef08" providerId="ADAL" clId="{C306FF50-8479-4715-8969-CDEBA8863634}" dt="2021-09-17T02:43:59.204" v="5960"/>
          <ac:spMkLst>
            <pc:docMk/>
            <pc:sldMk cId="60901149" sldId="297"/>
            <ac:spMk id="16" creationId="{9045B771-84A9-40AF-A424-AB1C9AEF5572}"/>
          </ac:spMkLst>
        </pc:spChg>
        <pc:spChg chg="add del mod">
          <ac:chgData name="Kopper, Jordan" userId="b70b14be-98b2-4048-a278-0b2ff614ef08" providerId="ADAL" clId="{C306FF50-8479-4715-8969-CDEBA8863634}" dt="2021-09-17T02:43:59.204" v="5960"/>
          <ac:spMkLst>
            <pc:docMk/>
            <pc:sldMk cId="60901149" sldId="297"/>
            <ac:spMk id="17" creationId="{68090259-F228-499F-BE1B-FEB022598A72}"/>
          </ac:spMkLst>
        </pc:spChg>
        <pc:spChg chg="add mod">
          <ac:chgData name="Kopper, Jordan" userId="b70b14be-98b2-4048-a278-0b2ff614ef08" providerId="ADAL" clId="{C306FF50-8479-4715-8969-CDEBA8863634}" dt="2021-09-17T02:44:40.429" v="5977" actId="20577"/>
          <ac:spMkLst>
            <pc:docMk/>
            <pc:sldMk cId="60901149" sldId="297"/>
            <ac:spMk id="18" creationId="{AD82B158-7108-4753-92B2-0981D3424B0E}"/>
          </ac:spMkLst>
        </pc:spChg>
        <pc:spChg chg="add del mod">
          <ac:chgData name="Kopper, Jordan" userId="b70b14be-98b2-4048-a278-0b2ff614ef08" providerId="ADAL" clId="{C306FF50-8479-4715-8969-CDEBA8863634}" dt="2021-09-17T02:44:09.998" v="5967" actId="478"/>
          <ac:spMkLst>
            <pc:docMk/>
            <pc:sldMk cId="60901149" sldId="297"/>
            <ac:spMk id="19" creationId="{7F73B0F9-E4C9-4B75-8AFE-28A0088C2E20}"/>
          </ac:spMkLst>
        </pc:spChg>
        <pc:grpChg chg="add mod">
          <ac:chgData name="Kopper, Jordan" userId="b70b14be-98b2-4048-a278-0b2ff614ef08" providerId="ADAL" clId="{C306FF50-8479-4715-8969-CDEBA8863634}" dt="2021-09-14T12:02:31.408" v="3594" actId="1076"/>
          <ac:grpSpMkLst>
            <pc:docMk/>
            <pc:sldMk cId="60901149" sldId="297"/>
            <ac:grpSpMk id="7" creationId="{15428109-A8A7-44A8-B3A2-087EF93CECA6}"/>
          </ac:grpSpMkLst>
        </pc:grpChg>
        <pc:grpChg chg="add mod">
          <ac:chgData name="Kopper, Jordan" userId="b70b14be-98b2-4048-a278-0b2ff614ef08" providerId="ADAL" clId="{C306FF50-8479-4715-8969-CDEBA8863634}" dt="2021-09-14T12:01:40.416" v="3540" actId="1076"/>
          <ac:grpSpMkLst>
            <pc:docMk/>
            <pc:sldMk cId="60901149" sldId="297"/>
            <ac:grpSpMk id="10" creationId="{136FC42A-646D-4EF9-8BBD-49F6800F7121}"/>
          </ac:grpSpMkLst>
        </pc:grpChg>
        <pc:picChg chg="mod ord">
          <ac:chgData name="Kopper, Jordan" userId="b70b14be-98b2-4048-a278-0b2ff614ef08" providerId="ADAL" clId="{C306FF50-8479-4715-8969-CDEBA8863634}" dt="2021-09-14T12:02:31.408" v="3594" actId="1076"/>
          <ac:picMkLst>
            <pc:docMk/>
            <pc:sldMk cId="60901149" sldId="297"/>
            <ac:picMk id="3" creationId="{319B5313-7B55-49DE-85E0-0736AB253C53}"/>
          </ac:picMkLst>
        </pc:picChg>
        <pc:picChg chg="mod ord modCrop">
          <ac:chgData name="Kopper, Jordan" userId="b70b14be-98b2-4048-a278-0b2ff614ef08" providerId="ADAL" clId="{C306FF50-8479-4715-8969-CDEBA8863634}" dt="2021-09-14T12:01:43.511" v="3541" actId="1076"/>
          <ac:picMkLst>
            <pc:docMk/>
            <pc:sldMk cId="60901149" sldId="297"/>
            <ac:picMk id="4" creationId="{CB256ED5-0C1C-43D2-BCC5-D4B6AC7D9212}"/>
          </ac:picMkLst>
        </pc:picChg>
        <pc:picChg chg="mod">
          <ac:chgData name="Kopper, Jordan" userId="b70b14be-98b2-4048-a278-0b2ff614ef08" providerId="ADAL" clId="{C306FF50-8479-4715-8969-CDEBA8863634}" dt="2021-09-14T11:59:54.128" v="3481" actId="1076"/>
          <ac:picMkLst>
            <pc:docMk/>
            <pc:sldMk cId="60901149" sldId="297"/>
            <ac:picMk id="5" creationId="{8C028F87-8C59-4E26-9F93-E64350B7D891}"/>
          </ac:picMkLst>
        </pc:picChg>
        <pc:picChg chg="add del mod">
          <ac:chgData name="Kopper, Jordan" userId="b70b14be-98b2-4048-a278-0b2ff614ef08" providerId="ADAL" clId="{C306FF50-8479-4715-8969-CDEBA8863634}" dt="2021-09-17T02:30:53.871" v="5660" actId="478"/>
          <ac:picMkLst>
            <pc:docMk/>
            <pc:sldMk cId="60901149" sldId="297"/>
            <ac:picMk id="13" creationId="{07582830-3637-4A57-9EB4-E94819B6214A}"/>
          </ac:picMkLst>
        </pc:picChg>
        <pc:picChg chg="add del mod">
          <ac:chgData name="Kopper, Jordan" userId="b70b14be-98b2-4048-a278-0b2ff614ef08" providerId="ADAL" clId="{C306FF50-8479-4715-8969-CDEBA8863634}" dt="2021-09-17T14:05:20.482" v="9064" actId="478"/>
          <ac:picMkLst>
            <pc:docMk/>
            <pc:sldMk cId="60901149" sldId="297"/>
            <ac:picMk id="14" creationId="{22DDF370-1B89-4456-B7E2-6B438F16414E}"/>
          </ac:picMkLst>
        </pc:picChg>
        <pc:picChg chg="add mod">
          <ac:chgData name="Kopper, Jordan" userId="b70b14be-98b2-4048-a278-0b2ff614ef08" providerId="ADAL" clId="{C306FF50-8479-4715-8969-CDEBA8863634}" dt="2021-09-17T14:05:20.803" v="9065"/>
          <ac:picMkLst>
            <pc:docMk/>
            <pc:sldMk cId="60901149" sldId="297"/>
            <ac:picMk id="15" creationId="{FDB3355C-AA0E-4B40-ADAE-C36AB8340B3F}"/>
          </ac:picMkLst>
        </pc:picChg>
      </pc:sldChg>
      <pc:sldChg chg="addSp delSp modSp del mod">
        <pc:chgData name="Kopper, Jordan" userId="b70b14be-98b2-4048-a278-0b2ff614ef08" providerId="ADAL" clId="{C306FF50-8479-4715-8969-CDEBA8863634}" dt="2021-09-14T14:41:07.335" v="5364" actId="47"/>
        <pc:sldMkLst>
          <pc:docMk/>
          <pc:sldMk cId="3139814755" sldId="298"/>
        </pc:sldMkLst>
        <pc:spChg chg="del">
          <ac:chgData name="Kopper, Jordan" userId="b70b14be-98b2-4048-a278-0b2ff614ef08" providerId="ADAL" clId="{C306FF50-8479-4715-8969-CDEBA8863634}" dt="2021-09-14T12:12:16.100" v="4020" actId="478"/>
          <ac:spMkLst>
            <pc:docMk/>
            <pc:sldMk cId="3139814755" sldId="298"/>
            <ac:spMk id="2" creationId="{384360DD-4DD7-4E4E-A7FA-41BA32847E35}"/>
          </ac:spMkLst>
        </pc:spChg>
        <pc:spChg chg="add mod">
          <ac:chgData name="Kopper, Jordan" userId="b70b14be-98b2-4048-a278-0b2ff614ef08" providerId="ADAL" clId="{C306FF50-8479-4715-8969-CDEBA8863634}" dt="2021-09-14T12:04:11.159" v="3693" actId="1076"/>
          <ac:spMkLst>
            <pc:docMk/>
            <pc:sldMk cId="3139814755" sldId="298"/>
            <ac:spMk id="5" creationId="{A5DDF266-CA66-49AE-B48F-EEDED549635E}"/>
          </ac:spMkLst>
        </pc:spChg>
        <pc:spChg chg="add mod">
          <ac:chgData name="Kopper, Jordan" userId="b70b14be-98b2-4048-a278-0b2ff614ef08" providerId="ADAL" clId="{C306FF50-8479-4715-8969-CDEBA8863634}" dt="2021-09-14T12:12:19.751" v="4022"/>
          <ac:spMkLst>
            <pc:docMk/>
            <pc:sldMk cId="3139814755" sldId="298"/>
            <ac:spMk id="7" creationId="{A0780108-C3CD-4B61-9F83-92F290497EC2}"/>
          </ac:spMkLst>
        </pc:spChg>
        <pc:spChg chg="add del mod">
          <ac:chgData name="Kopper, Jordan" userId="b70b14be-98b2-4048-a278-0b2ff614ef08" providerId="ADAL" clId="{C306FF50-8479-4715-8969-CDEBA8863634}" dt="2021-09-14T12:12:18.072" v="4021" actId="478"/>
          <ac:spMkLst>
            <pc:docMk/>
            <pc:sldMk cId="3139814755" sldId="298"/>
            <ac:spMk id="8" creationId="{504B050F-BD1E-4177-8A9E-9B3A713E7E29}"/>
          </ac:spMkLst>
        </pc:spChg>
      </pc:sldChg>
      <pc:sldChg chg="addSp delSp modSp mod ord modAnim">
        <pc:chgData name="Kopper, Jordan" userId="b70b14be-98b2-4048-a278-0b2ff614ef08" providerId="ADAL" clId="{C306FF50-8479-4715-8969-CDEBA8863634}" dt="2021-09-17T14:07:24.582" v="9073"/>
        <pc:sldMkLst>
          <pc:docMk/>
          <pc:sldMk cId="87441323" sldId="299"/>
        </pc:sldMkLst>
        <pc:spChg chg="mod">
          <ac:chgData name="Kopper, Jordan" userId="b70b14be-98b2-4048-a278-0b2ff614ef08" providerId="ADAL" clId="{C306FF50-8479-4715-8969-CDEBA8863634}" dt="2021-09-17T02:44:53.847" v="5980"/>
          <ac:spMkLst>
            <pc:docMk/>
            <pc:sldMk cId="87441323" sldId="299"/>
            <ac:spMk id="2" creationId="{01E9CEB8-4F68-4B7C-9F66-DFFBD9321147}"/>
          </ac:spMkLst>
        </pc:spChg>
        <pc:spChg chg="add del mod">
          <ac:chgData name="Kopper, Jordan" userId="b70b14be-98b2-4048-a278-0b2ff614ef08" providerId="ADAL" clId="{C306FF50-8479-4715-8969-CDEBA8863634}" dt="2021-09-14T12:12:04.015" v="4017" actId="478"/>
          <ac:spMkLst>
            <pc:docMk/>
            <pc:sldMk cId="87441323" sldId="299"/>
            <ac:spMk id="5" creationId="{48BCCF34-3269-4BA6-BB45-15B1ED0F500A}"/>
          </ac:spMkLst>
        </pc:spChg>
        <pc:spChg chg="add del mod">
          <ac:chgData name="Kopper, Jordan" userId="b70b14be-98b2-4048-a278-0b2ff614ef08" providerId="ADAL" clId="{C306FF50-8479-4715-8969-CDEBA8863634}" dt="2021-09-17T02:44:55.941" v="5981" actId="478"/>
          <ac:spMkLst>
            <pc:docMk/>
            <pc:sldMk cId="87441323" sldId="299"/>
            <ac:spMk id="5" creationId="{73146065-3056-4F65-9753-3B9A51E81C58}"/>
          </ac:spMkLst>
        </pc:spChg>
        <pc:spChg chg="add mod">
          <ac:chgData name="Kopper, Jordan" userId="b70b14be-98b2-4048-a278-0b2ff614ef08" providerId="ADAL" clId="{C306FF50-8479-4715-8969-CDEBA8863634}" dt="2021-09-17T02:42:50.686" v="5943" actId="20577"/>
          <ac:spMkLst>
            <pc:docMk/>
            <pc:sldMk cId="87441323" sldId="299"/>
            <ac:spMk id="6" creationId="{E331052D-E001-4C85-BD35-C00D3C962C60}"/>
          </ac:spMkLst>
        </pc:spChg>
        <pc:spChg chg="add del mod">
          <ac:chgData name="Kopper, Jordan" userId="b70b14be-98b2-4048-a278-0b2ff614ef08" providerId="ADAL" clId="{C306FF50-8479-4715-8969-CDEBA8863634}" dt="2021-09-17T02:31:38.752" v="5671" actId="478"/>
          <ac:spMkLst>
            <pc:docMk/>
            <pc:sldMk cId="87441323" sldId="299"/>
            <ac:spMk id="7" creationId="{DC074812-F160-4E6E-849C-A13C5B560D6F}"/>
          </ac:spMkLst>
        </pc:spChg>
        <pc:spChg chg="add del mod">
          <ac:chgData name="Kopper, Jordan" userId="b70b14be-98b2-4048-a278-0b2ff614ef08" providerId="ADAL" clId="{C306FF50-8479-4715-8969-CDEBA8863634}" dt="2021-09-17T02:44:57.987" v="5982" actId="478"/>
          <ac:spMkLst>
            <pc:docMk/>
            <pc:sldMk cId="87441323" sldId="299"/>
            <ac:spMk id="8" creationId="{DB34A911-3300-4C8C-BCB9-1F0CBE7C9DE8}"/>
          </ac:spMkLst>
        </pc:spChg>
        <pc:spChg chg="add del mod">
          <ac:chgData name="Kopper, Jordan" userId="b70b14be-98b2-4048-a278-0b2ff614ef08" providerId="ADAL" clId="{C306FF50-8479-4715-8969-CDEBA8863634}" dt="2021-09-17T02:32:48.597" v="5693" actId="478"/>
          <ac:spMkLst>
            <pc:docMk/>
            <pc:sldMk cId="87441323" sldId="299"/>
            <ac:spMk id="9" creationId="{A24D6DC5-6C62-4282-A6D0-8D5F9B51054F}"/>
          </ac:spMkLst>
        </pc:spChg>
        <pc:spChg chg="mod">
          <ac:chgData name="Kopper, Jordan" userId="b70b14be-98b2-4048-a278-0b2ff614ef08" providerId="ADAL" clId="{C306FF50-8479-4715-8969-CDEBA8863634}" dt="2021-09-17T02:32:37.276" v="5683"/>
          <ac:spMkLst>
            <pc:docMk/>
            <pc:sldMk cId="87441323" sldId="299"/>
            <ac:spMk id="13" creationId="{D6D27272-97D0-42E2-8404-407BF7531D4E}"/>
          </ac:spMkLst>
        </pc:spChg>
        <pc:spChg chg="mod">
          <ac:chgData name="Kopper, Jordan" userId="b70b14be-98b2-4048-a278-0b2ff614ef08" providerId="ADAL" clId="{C306FF50-8479-4715-8969-CDEBA8863634}" dt="2021-09-17T02:32:57.785" v="5718" actId="20577"/>
          <ac:spMkLst>
            <pc:docMk/>
            <pc:sldMk cId="87441323" sldId="299"/>
            <ac:spMk id="14" creationId="{A9EF6836-27EE-4EAF-974C-10D99D2C83D6}"/>
          </ac:spMkLst>
        </pc:spChg>
        <pc:grpChg chg="add del mod ord">
          <ac:chgData name="Kopper, Jordan" userId="b70b14be-98b2-4048-a278-0b2ff614ef08" providerId="ADAL" clId="{C306FF50-8479-4715-8969-CDEBA8863634}" dt="2021-09-17T02:45:21.433" v="5988" actId="14100"/>
          <ac:grpSpMkLst>
            <pc:docMk/>
            <pc:sldMk cId="87441323" sldId="299"/>
            <ac:grpSpMk id="12" creationId="{05A58F26-C1FD-4889-A078-ED9764B48E0E}"/>
          </ac:grpSpMkLst>
        </pc:grpChg>
        <pc:picChg chg="mod modCrop">
          <ac:chgData name="Kopper, Jordan" userId="b70b14be-98b2-4048-a278-0b2ff614ef08" providerId="ADAL" clId="{C306FF50-8479-4715-8969-CDEBA8863634}" dt="2021-09-17T02:45:17.944" v="5986" actId="1076"/>
          <ac:picMkLst>
            <pc:docMk/>
            <pc:sldMk cId="87441323" sldId="299"/>
            <ac:picMk id="3" creationId="{F3EBAC69-6ACB-4F98-AC4C-C5EA67875F8A}"/>
          </ac:picMkLst>
        </pc:picChg>
        <pc:picChg chg="mod modCrop">
          <ac:chgData name="Kopper, Jordan" userId="b70b14be-98b2-4048-a278-0b2ff614ef08" providerId="ADAL" clId="{C306FF50-8479-4715-8969-CDEBA8863634}" dt="2021-09-17T02:32:15.723" v="5679" actId="732"/>
          <ac:picMkLst>
            <pc:docMk/>
            <pc:sldMk cId="87441323" sldId="299"/>
            <ac:picMk id="4" creationId="{970C2C76-5B2D-43D6-88F9-40173350A9A2}"/>
          </ac:picMkLst>
        </pc:picChg>
        <pc:picChg chg="add del mod">
          <ac:chgData name="Kopper, Jordan" userId="b70b14be-98b2-4048-a278-0b2ff614ef08" providerId="ADAL" clId="{C306FF50-8479-4715-8969-CDEBA8863634}" dt="2021-09-16T13:57:21.151" v="5604" actId="478"/>
          <ac:picMkLst>
            <pc:docMk/>
            <pc:sldMk cId="87441323" sldId="299"/>
            <ac:picMk id="8" creationId="{D6665380-5FEB-4480-AF1A-BD9CB838D1AE}"/>
          </ac:picMkLst>
        </pc:picChg>
        <pc:picChg chg="add mod">
          <ac:chgData name="Kopper, Jordan" userId="b70b14be-98b2-4048-a278-0b2ff614ef08" providerId="ADAL" clId="{C306FF50-8479-4715-8969-CDEBA8863634}" dt="2021-09-17T14:07:24.582" v="9073"/>
          <ac:picMkLst>
            <pc:docMk/>
            <pc:sldMk cId="87441323" sldId="299"/>
            <ac:picMk id="10" creationId="{109FBC71-F059-49F8-B637-96A14A79187C}"/>
          </ac:picMkLst>
        </pc:picChg>
        <pc:picChg chg="add del mod">
          <ac:chgData name="Kopper, Jordan" userId="b70b14be-98b2-4048-a278-0b2ff614ef08" providerId="ADAL" clId="{C306FF50-8479-4715-8969-CDEBA8863634}" dt="2021-09-16T13:57:11.263" v="5601"/>
          <ac:picMkLst>
            <pc:docMk/>
            <pc:sldMk cId="87441323" sldId="299"/>
            <ac:picMk id="10" creationId="{BF0D9697-0B63-4449-98C1-2F2898452E0E}"/>
          </ac:picMkLst>
        </pc:picChg>
        <pc:picChg chg="add del mod">
          <ac:chgData name="Kopper, Jordan" userId="b70b14be-98b2-4048-a278-0b2ff614ef08" providerId="ADAL" clId="{C306FF50-8479-4715-8969-CDEBA8863634}" dt="2021-09-17T02:31:30.715" v="5669" actId="478"/>
          <ac:picMkLst>
            <pc:docMk/>
            <pc:sldMk cId="87441323" sldId="299"/>
            <ac:picMk id="10" creationId="{FFC59918-6B2B-43A0-8184-E109FC6ED1B8}"/>
          </ac:picMkLst>
        </pc:picChg>
        <pc:picChg chg="add del mod">
          <ac:chgData name="Kopper, Jordan" userId="b70b14be-98b2-4048-a278-0b2ff614ef08" providerId="ADAL" clId="{C306FF50-8479-4715-8969-CDEBA8863634}" dt="2021-09-17T14:06:16.826" v="9068" actId="478"/>
          <ac:picMkLst>
            <pc:docMk/>
            <pc:sldMk cId="87441323" sldId="299"/>
            <ac:picMk id="11" creationId="{3F86F31E-9F01-484D-A7A5-A5DDB34F0FD8}"/>
          </ac:picMkLst>
        </pc:picChg>
      </pc:sldChg>
      <pc:sldChg chg="addSp delSp modSp mod addAnim delAnim modAnim">
        <pc:chgData name="Kopper, Jordan" userId="b70b14be-98b2-4048-a278-0b2ff614ef08" providerId="ADAL" clId="{C306FF50-8479-4715-8969-CDEBA8863634}" dt="2021-09-17T13:58:52.791" v="9053" actId="1035"/>
        <pc:sldMkLst>
          <pc:docMk/>
          <pc:sldMk cId="3365326034" sldId="300"/>
        </pc:sldMkLst>
        <pc:spChg chg="mod">
          <ac:chgData name="Kopper, Jordan" userId="b70b14be-98b2-4048-a278-0b2ff614ef08" providerId="ADAL" clId="{C306FF50-8479-4715-8969-CDEBA8863634}" dt="2021-09-17T02:45:33.335" v="5990" actId="1076"/>
          <ac:spMkLst>
            <pc:docMk/>
            <pc:sldMk cId="3365326034" sldId="300"/>
            <ac:spMk id="2" creationId="{CAF550DD-3FA4-4645-B44A-91AF43C65808}"/>
          </ac:spMkLst>
        </pc:spChg>
        <pc:spChg chg="mod">
          <ac:chgData name="Kopper, Jordan" userId="b70b14be-98b2-4048-a278-0b2ff614ef08" providerId="ADAL" clId="{C306FF50-8479-4715-8969-CDEBA8863634}" dt="2021-09-17T02:45:01.894" v="5983"/>
          <ac:spMkLst>
            <pc:docMk/>
            <pc:sldMk cId="3365326034" sldId="300"/>
            <ac:spMk id="3" creationId="{AC132102-FA62-4CC0-8FDE-26737DA75B63}"/>
          </ac:spMkLst>
        </pc:spChg>
        <pc:spChg chg="add del mod">
          <ac:chgData name="Kopper, Jordan" userId="b70b14be-98b2-4048-a278-0b2ff614ef08" providerId="ADAL" clId="{C306FF50-8479-4715-8969-CDEBA8863634}" dt="2021-09-17T02:45:04.361" v="5984" actId="478"/>
          <ac:spMkLst>
            <pc:docMk/>
            <pc:sldMk cId="3365326034" sldId="300"/>
            <ac:spMk id="5" creationId="{93B59EBB-9C68-4398-BF70-90F3B88A23D9}"/>
          </ac:spMkLst>
        </pc:spChg>
        <pc:spChg chg="mod">
          <ac:chgData name="Kopper, Jordan" userId="b70b14be-98b2-4048-a278-0b2ff614ef08" providerId="ADAL" clId="{C306FF50-8479-4715-8969-CDEBA8863634}" dt="2021-09-17T02:46:45.972" v="6059" actId="1076"/>
          <ac:spMkLst>
            <pc:docMk/>
            <pc:sldMk cId="3365326034" sldId="300"/>
            <ac:spMk id="11" creationId="{3C0A1A62-C653-4596-B689-36533447625E}"/>
          </ac:spMkLst>
        </pc:spChg>
        <pc:spChg chg="mod">
          <ac:chgData name="Kopper, Jordan" userId="b70b14be-98b2-4048-a278-0b2ff614ef08" providerId="ADAL" clId="{C306FF50-8479-4715-8969-CDEBA8863634}" dt="2021-09-17T13:58:41.520" v="9048" actId="14100"/>
          <ac:spMkLst>
            <pc:docMk/>
            <pc:sldMk cId="3365326034" sldId="300"/>
            <ac:spMk id="12" creationId="{22D97249-BCF1-4F67-A9B8-423AD881E0B4}"/>
          </ac:spMkLst>
        </pc:spChg>
        <pc:grpChg chg="add del mod">
          <ac:chgData name="Kopper, Jordan" userId="b70b14be-98b2-4048-a278-0b2ff614ef08" providerId="ADAL" clId="{C306FF50-8479-4715-8969-CDEBA8863634}" dt="2021-09-17T13:58:52.791" v="9053" actId="1035"/>
          <ac:grpSpMkLst>
            <pc:docMk/>
            <pc:sldMk cId="3365326034" sldId="300"/>
            <ac:grpSpMk id="10" creationId="{1F2A0B85-EF35-4F95-9B53-F28D7340586C}"/>
          </ac:grpSpMkLst>
        </pc:grpChg>
        <pc:picChg chg="add del mod">
          <ac:chgData name="Kopper, Jordan" userId="b70b14be-98b2-4048-a278-0b2ff614ef08" providerId="ADAL" clId="{C306FF50-8479-4715-8969-CDEBA8863634}" dt="2021-09-16T13:57:27.469" v="5608" actId="478"/>
          <ac:picMkLst>
            <pc:docMk/>
            <pc:sldMk cId="3365326034" sldId="300"/>
            <ac:picMk id="6" creationId="{D8B72E5D-118D-40B5-B9A5-28FE2C275B5E}"/>
          </ac:picMkLst>
        </pc:picChg>
        <pc:picChg chg="add del mod">
          <ac:chgData name="Kopper, Jordan" userId="b70b14be-98b2-4048-a278-0b2ff614ef08" providerId="ADAL" clId="{C306FF50-8479-4715-8969-CDEBA8863634}" dt="2021-09-17T02:41:33.155" v="5927" actId="478"/>
          <ac:picMkLst>
            <pc:docMk/>
            <pc:sldMk cId="3365326034" sldId="300"/>
            <ac:picMk id="7" creationId="{F4F03501-55C5-440A-803B-733E7995C1DF}"/>
          </ac:picMkLst>
        </pc:picChg>
        <pc:picChg chg="mod">
          <ac:chgData name="Kopper, Jordan" userId="b70b14be-98b2-4048-a278-0b2ff614ef08" providerId="ADAL" clId="{C306FF50-8479-4715-8969-CDEBA8863634}" dt="2021-09-17T02:46:59.903" v="6071" actId="1076"/>
          <ac:picMkLst>
            <pc:docMk/>
            <pc:sldMk cId="3365326034" sldId="300"/>
            <ac:picMk id="8" creationId="{53396FDF-3E18-4407-98EF-9416455681FA}"/>
          </ac:picMkLst>
        </pc:picChg>
        <pc:picChg chg="add mod">
          <ac:chgData name="Kopper, Jordan" userId="b70b14be-98b2-4048-a278-0b2ff614ef08" providerId="ADAL" clId="{C306FF50-8479-4715-8969-CDEBA8863634}" dt="2021-09-17T02:41:31.646" v="5926"/>
          <ac:picMkLst>
            <pc:docMk/>
            <pc:sldMk cId="3365326034" sldId="300"/>
            <ac:picMk id="9" creationId="{633BF377-0250-4EB4-AD74-075984C408BB}"/>
          </ac:picMkLst>
        </pc:picChg>
      </pc:sldChg>
      <pc:sldChg chg="addSp delSp modSp mod ord">
        <pc:chgData name="Kopper, Jordan" userId="b70b14be-98b2-4048-a278-0b2ff614ef08" providerId="ADAL" clId="{C306FF50-8479-4715-8969-CDEBA8863634}" dt="2021-09-17T13:48:27.092" v="8969" actId="20577"/>
        <pc:sldMkLst>
          <pc:docMk/>
          <pc:sldMk cId="685951827" sldId="301"/>
        </pc:sldMkLst>
        <pc:spChg chg="mod">
          <ac:chgData name="Kopper, Jordan" userId="b70b14be-98b2-4048-a278-0b2ff614ef08" providerId="ADAL" clId="{C306FF50-8479-4715-8969-CDEBA8863634}" dt="2021-09-17T13:48:27.092" v="8969" actId="20577"/>
          <ac:spMkLst>
            <pc:docMk/>
            <pc:sldMk cId="685951827" sldId="301"/>
            <ac:spMk id="2" creationId="{8FFC2A4D-D4F9-4899-A32E-55D0111E110B}"/>
          </ac:spMkLst>
        </pc:spChg>
        <pc:spChg chg="mod">
          <ac:chgData name="Kopper, Jordan" userId="b70b14be-98b2-4048-a278-0b2ff614ef08" providerId="ADAL" clId="{C306FF50-8479-4715-8969-CDEBA8863634}" dt="2021-09-17T02:50:41.021" v="6112"/>
          <ac:spMkLst>
            <pc:docMk/>
            <pc:sldMk cId="685951827" sldId="301"/>
            <ac:spMk id="3" creationId="{ACAA8A55-978D-4D42-8B08-8E97EB6AB59A}"/>
          </ac:spMkLst>
        </pc:spChg>
        <pc:spChg chg="add del mod">
          <ac:chgData name="Kopper, Jordan" userId="b70b14be-98b2-4048-a278-0b2ff614ef08" providerId="ADAL" clId="{C306FF50-8479-4715-8969-CDEBA8863634}" dt="2021-09-17T03:02:25.668" v="6412" actId="478"/>
          <ac:spMkLst>
            <pc:docMk/>
            <pc:sldMk cId="685951827" sldId="301"/>
            <ac:spMk id="4" creationId="{091DB268-5444-4174-A21A-7FC95F981657}"/>
          </ac:spMkLst>
        </pc:spChg>
        <pc:spChg chg="add del mod">
          <ac:chgData name="Kopper, Jordan" userId="b70b14be-98b2-4048-a278-0b2ff614ef08" providerId="ADAL" clId="{C306FF50-8479-4715-8969-CDEBA8863634}" dt="2021-09-17T02:50:43.315" v="6113" actId="478"/>
          <ac:spMkLst>
            <pc:docMk/>
            <pc:sldMk cId="685951827" sldId="301"/>
            <ac:spMk id="6" creationId="{4B66C6FB-91DC-4488-832F-0B72846A1870}"/>
          </ac:spMkLst>
        </pc:spChg>
        <pc:spChg chg="add del mod">
          <ac:chgData name="Kopper, Jordan" userId="b70b14be-98b2-4048-a278-0b2ff614ef08" providerId="ADAL" clId="{C306FF50-8479-4715-8969-CDEBA8863634}" dt="2021-09-17T03:04:05.472" v="6438" actId="478"/>
          <ac:spMkLst>
            <pc:docMk/>
            <pc:sldMk cId="685951827" sldId="301"/>
            <ac:spMk id="12" creationId="{6E850D91-DECE-4350-BAA2-3CA9E323B4CD}"/>
          </ac:spMkLst>
        </pc:spChg>
        <pc:spChg chg="add mod">
          <ac:chgData name="Kopper, Jordan" userId="b70b14be-98b2-4048-a278-0b2ff614ef08" providerId="ADAL" clId="{C306FF50-8479-4715-8969-CDEBA8863634}" dt="2021-09-17T03:04:10.515" v="6442" actId="1035"/>
          <ac:spMkLst>
            <pc:docMk/>
            <pc:sldMk cId="685951827" sldId="301"/>
            <ac:spMk id="13" creationId="{AA82778C-9225-4D0C-A5AB-29D0A364C4FE}"/>
          </ac:spMkLst>
        </pc:spChg>
        <pc:picChg chg="add del mod">
          <ac:chgData name="Kopper, Jordan" userId="b70b14be-98b2-4048-a278-0b2ff614ef08" providerId="ADAL" clId="{C306FF50-8479-4715-8969-CDEBA8863634}" dt="2021-09-17T02:50:31.396" v="6110" actId="478"/>
          <ac:picMkLst>
            <pc:docMk/>
            <pc:sldMk cId="685951827" sldId="301"/>
            <ac:picMk id="9" creationId="{AA19605B-DF52-4EC1-9D6A-D9C151553693}"/>
          </ac:picMkLst>
        </pc:picChg>
        <pc:picChg chg="add mod">
          <ac:chgData name="Kopper, Jordan" userId="b70b14be-98b2-4048-a278-0b2ff614ef08" providerId="ADAL" clId="{C306FF50-8479-4715-8969-CDEBA8863634}" dt="2021-09-17T02:50:14.587" v="6099"/>
          <ac:picMkLst>
            <pc:docMk/>
            <pc:sldMk cId="685951827" sldId="301"/>
            <ac:picMk id="10" creationId="{7C44C09A-17DF-4DE3-BE7C-070BC8EF3EDF}"/>
          </ac:picMkLst>
        </pc:picChg>
        <pc:picChg chg="mod">
          <ac:chgData name="Kopper, Jordan" userId="b70b14be-98b2-4048-a278-0b2ff614ef08" providerId="ADAL" clId="{C306FF50-8479-4715-8969-CDEBA8863634}" dt="2021-09-17T02:49:42.313" v="6092" actId="1076"/>
          <ac:picMkLst>
            <pc:docMk/>
            <pc:sldMk cId="685951827" sldId="301"/>
            <ac:picMk id="17" creationId="{62C6B543-C4E2-46CF-A8D9-5D60D25C2E54}"/>
          </ac:picMkLst>
        </pc:picChg>
        <pc:picChg chg="mod">
          <ac:chgData name="Kopper, Jordan" userId="b70b14be-98b2-4048-a278-0b2ff614ef08" providerId="ADAL" clId="{C306FF50-8479-4715-8969-CDEBA8863634}" dt="2021-09-17T02:49:42.313" v="6092" actId="1076"/>
          <ac:picMkLst>
            <pc:docMk/>
            <pc:sldMk cId="685951827" sldId="301"/>
            <ac:picMk id="18" creationId="{FFEE837A-C035-4A41-A40E-6F61796F3A17}"/>
          </ac:picMkLst>
        </pc:picChg>
        <pc:picChg chg="mod">
          <ac:chgData name="Kopper, Jordan" userId="b70b14be-98b2-4048-a278-0b2ff614ef08" providerId="ADAL" clId="{C306FF50-8479-4715-8969-CDEBA8863634}" dt="2021-09-17T02:49:45.705" v="6093" actId="1076"/>
          <ac:picMkLst>
            <pc:docMk/>
            <pc:sldMk cId="685951827" sldId="301"/>
            <ac:picMk id="19" creationId="{591CBE83-4DC1-43E8-BF1D-D2A51C83782E}"/>
          </ac:picMkLst>
        </pc:picChg>
      </pc:sldChg>
      <pc:sldChg chg="addSp delSp modSp mod modAnim">
        <pc:chgData name="Kopper, Jordan" userId="b70b14be-98b2-4048-a278-0b2ff614ef08" providerId="ADAL" clId="{C306FF50-8479-4715-8969-CDEBA8863634}" dt="2021-09-17T03:37:32.068" v="7043"/>
        <pc:sldMkLst>
          <pc:docMk/>
          <pc:sldMk cId="3561244179" sldId="302"/>
        </pc:sldMkLst>
        <pc:spChg chg="mod">
          <ac:chgData name="Kopper, Jordan" userId="b70b14be-98b2-4048-a278-0b2ff614ef08" providerId="ADAL" clId="{C306FF50-8479-4715-8969-CDEBA8863634}" dt="2021-09-17T02:58:52.372" v="6340" actId="20577"/>
          <ac:spMkLst>
            <pc:docMk/>
            <pc:sldMk cId="3561244179" sldId="302"/>
            <ac:spMk id="2" creationId="{8D0D13BE-CC5B-40DF-BC97-22D9E5CA7C97}"/>
          </ac:spMkLst>
        </pc:spChg>
        <pc:spChg chg="del mod">
          <ac:chgData name="Kopper, Jordan" userId="b70b14be-98b2-4048-a278-0b2ff614ef08" providerId="ADAL" clId="{C306FF50-8479-4715-8969-CDEBA8863634}" dt="2021-09-17T03:28:37.610" v="6932" actId="478"/>
          <ac:spMkLst>
            <pc:docMk/>
            <pc:sldMk cId="3561244179" sldId="302"/>
            <ac:spMk id="4" creationId="{C9CA6989-C4A1-40EF-AA2A-94F2212F79C2}"/>
          </ac:spMkLst>
        </pc:spChg>
        <pc:spChg chg="mod">
          <ac:chgData name="Kopper, Jordan" userId="b70b14be-98b2-4048-a278-0b2ff614ef08" providerId="ADAL" clId="{C306FF50-8479-4715-8969-CDEBA8863634}" dt="2021-09-17T02:50:35.566" v="6111"/>
          <ac:spMkLst>
            <pc:docMk/>
            <pc:sldMk cId="3561244179" sldId="302"/>
            <ac:spMk id="5" creationId="{BDF9F7C6-9081-481D-B918-796E2F2FE358}"/>
          </ac:spMkLst>
        </pc:spChg>
        <pc:spChg chg="add del mod">
          <ac:chgData name="Kopper, Jordan" userId="b70b14be-98b2-4048-a278-0b2ff614ef08" providerId="ADAL" clId="{C306FF50-8479-4715-8969-CDEBA8863634}" dt="2021-09-17T03:28:41.080" v="6933" actId="478"/>
          <ac:spMkLst>
            <pc:docMk/>
            <pc:sldMk cId="3561244179" sldId="302"/>
            <ac:spMk id="6" creationId="{06D13854-513C-4058-9600-DEBE72AEC854}"/>
          </ac:spMkLst>
        </pc:spChg>
        <pc:spChg chg="add mod">
          <ac:chgData name="Kopper, Jordan" userId="b70b14be-98b2-4048-a278-0b2ff614ef08" providerId="ADAL" clId="{C306FF50-8479-4715-8969-CDEBA8863634}" dt="2021-09-17T03:31:36.646" v="6982" actId="1076"/>
          <ac:spMkLst>
            <pc:docMk/>
            <pc:sldMk cId="3561244179" sldId="302"/>
            <ac:spMk id="11" creationId="{A2CC037D-915A-4D66-A7F1-EAAFD90EBE16}"/>
          </ac:spMkLst>
        </pc:spChg>
        <pc:spChg chg="add del mod">
          <ac:chgData name="Kopper, Jordan" userId="b70b14be-98b2-4048-a278-0b2ff614ef08" providerId="ADAL" clId="{C306FF50-8479-4715-8969-CDEBA8863634}" dt="2021-09-17T03:28:43.569" v="6934" actId="478"/>
          <ac:spMkLst>
            <pc:docMk/>
            <pc:sldMk cId="3561244179" sldId="302"/>
            <ac:spMk id="12" creationId="{18A5C84A-FD6A-457F-9396-622B8CC7A20E}"/>
          </ac:spMkLst>
        </pc:spChg>
        <pc:spChg chg="add del mod">
          <ac:chgData name="Kopper, Jordan" userId="b70b14be-98b2-4048-a278-0b2ff614ef08" providerId="ADAL" clId="{C306FF50-8479-4715-8969-CDEBA8863634}" dt="2021-09-17T03:29:34.722" v="6949" actId="478"/>
          <ac:spMkLst>
            <pc:docMk/>
            <pc:sldMk cId="3561244179" sldId="302"/>
            <ac:spMk id="13" creationId="{A8409C53-5C29-4B18-821C-45A905C5D294}"/>
          </ac:spMkLst>
        </pc:spChg>
        <pc:spChg chg="add mod">
          <ac:chgData name="Kopper, Jordan" userId="b70b14be-98b2-4048-a278-0b2ff614ef08" providerId="ADAL" clId="{C306FF50-8479-4715-8969-CDEBA8863634}" dt="2021-09-17T03:31:36.646" v="6982" actId="1076"/>
          <ac:spMkLst>
            <pc:docMk/>
            <pc:sldMk cId="3561244179" sldId="302"/>
            <ac:spMk id="14" creationId="{1B1EEAAF-4B7F-4641-A11B-0C22A54DD15B}"/>
          </ac:spMkLst>
        </pc:spChg>
        <pc:spChg chg="mod">
          <ac:chgData name="Kopper, Jordan" userId="b70b14be-98b2-4048-a278-0b2ff614ef08" providerId="ADAL" clId="{C306FF50-8479-4715-8969-CDEBA8863634}" dt="2021-09-17T03:26:11.078" v="6874"/>
          <ac:spMkLst>
            <pc:docMk/>
            <pc:sldMk cId="3561244179" sldId="302"/>
            <ac:spMk id="16" creationId="{8B944A3E-7B46-43B1-B34A-3F125D6808B1}"/>
          </ac:spMkLst>
        </pc:spChg>
        <pc:spChg chg="mod">
          <ac:chgData name="Kopper, Jordan" userId="b70b14be-98b2-4048-a278-0b2ff614ef08" providerId="ADAL" clId="{C306FF50-8479-4715-8969-CDEBA8863634}" dt="2021-09-17T03:29:16.031" v="6944" actId="122"/>
          <ac:spMkLst>
            <pc:docMk/>
            <pc:sldMk cId="3561244179" sldId="302"/>
            <ac:spMk id="17" creationId="{464B79A2-43CC-4AB5-AA12-42E82EF5C228}"/>
          </ac:spMkLst>
        </pc:spChg>
        <pc:spChg chg="mod">
          <ac:chgData name="Kopper, Jordan" userId="b70b14be-98b2-4048-a278-0b2ff614ef08" providerId="ADAL" clId="{C306FF50-8479-4715-8969-CDEBA8863634}" dt="2021-09-17T03:26:11.078" v="6874"/>
          <ac:spMkLst>
            <pc:docMk/>
            <pc:sldMk cId="3561244179" sldId="302"/>
            <ac:spMk id="18" creationId="{4CE8A8D3-F2A8-459D-BAD8-01DF7182E1C1}"/>
          </ac:spMkLst>
        </pc:spChg>
        <pc:spChg chg="mod">
          <ac:chgData name="Kopper, Jordan" userId="b70b14be-98b2-4048-a278-0b2ff614ef08" providerId="ADAL" clId="{C306FF50-8479-4715-8969-CDEBA8863634}" dt="2021-09-17T03:30:57.029" v="6972" actId="14100"/>
          <ac:spMkLst>
            <pc:docMk/>
            <pc:sldMk cId="3561244179" sldId="302"/>
            <ac:spMk id="20" creationId="{4D899078-2BE3-46F5-B76A-B52B95AB4BEA}"/>
          </ac:spMkLst>
        </pc:spChg>
        <pc:spChg chg="mod">
          <ac:chgData name="Kopper, Jordan" userId="b70b14be-98b2-4048-a278-0b2ff614ef08" providerId="ADAL" clId="{C306FF50-8479-4715-8969-CDEBA8863634}" dt="2021-09-17T03:30:19.222" v="6962" actId="14100"/>
          <ac:spMkLst>
            <pc:docMk/>
            <pc:sldMk cId="3561244179" sldId="302"/>
            <ac:spMk id="21" creationId="{39F85E13-1122-499A-B227-6E7708D1D4C2}"/>
          </ac:spMkLst>
        </pc:spChg>
        <pc:spChg chg="mod">
          <ac:chgData name="Kopper, Jordan" userId="b70b14be-98b2-4048-a278-0b2ff614ef08" providerId="ADAL" clId="{C306FF50-8479-4715-8969-CDEBA8863634}" dt="2021-09-17T03:26:11.078" v="6874"/>
          <ac:spMkLst>
            <pc:docMk/>
            <pc:sldMk cId="3561244179" sldId="302"/>
            <ac:spMk id="22" creationId="{73B33703-4D9B-434A-B994-628ADE50D023}"/>
          </ac:spMkLst>
        </pc:spChg>
        <pc:spChg chg="mod">
          <ac:chgData name="Kopper, Jordan" userId="b70b14be-98b2-4048-a278-0b2ff614ef08" providerId="ADAL" clId="{C306FF50-8479-4715-8969-CDEBA8863634}" dt="2021-09-17T03:30:45.174" v="6969" actId="14100"/>
          <ac:spMkLst>
            <pc:docMk/>
            <pc:sldMk cId="3561244179" sldId="302"/>
            <ac:spMk id="27" creationId="{F98446F4-2530-4693-B4B6-CBC06E189F13}"/>
          </ac:spMkLst>
        </pc:spChg>
        <pc:spChg chg="mod">
          <ac:chgData name="Kopper, Jordan" userId="b70b14be-98b2-4048-a278-0b2ff614ef08" providerId="ADAL" clId="{C306FF50-8479-4715-8969-CDEBA8863634}" dt="2021-09-17T03:30:48.536" v="6971" actId="404"/>
          <ac:spMkLst>
            <pc:docMk/>
            <pc:sldMk cId="3561244179" sldId="302"/>
            <ac:spMk id="28" creationId="{A3FCCDAB-607D-40AE-B62D-FE921D2B1BCF}"/>
          </ac:spMkLst>
        </pc:spChg>
        <pc:spChg chg="mod">
          <ac:chgData name="Kopper, Jordan" userId="b70b14be-98b2-4048-a278-0b2ff614ef08" providerId="ADAL" clId="{C306FF50-8479-4715-8969-CDEBA8863634}" dt="2021-09-17T03:26:11.078" v="6874"/>
          <ac:spMkLst>
            <pc:docMk/>
            <pc:sldMk cId="3561244179" sldId="302"/>
            <ac:spMk id="29" creationId="{0133875F-69FC-4386-9F72-C1FE2A285E57}"/>
          </ac:spMkLst>
        </pc:spChg>
        <pc:spChg chg="add mod">
          <ac:chgData name="Kopper, Jordan" userId="b70b14be-98b2-4048-a278-0b2ff614ef08" providerId="ADAL" clId="{C306FF50-8479-4715-8969-CDEBA8863634}" dt="2021-09-17T03:34:06.516" v="7007" actId="207"/>
          <ac:spMkLst>
            <pc:docMk/>
            <pc:sldMk cId="3561244179" sldId="302"/>
            <ac:spMk id="35" creationId="{47B864C6-2E47-4F6E-A49F-9576D47E9873}"/>
          </ac:spMkLst>
        </pc:spChg>
        <pc:spChg chg="add mod">
          <ac:chgData name="Kopper, Jordan" userId="b70b14be-98b2-4048-a278-0b2ff614ef08" providerId="ADAL" clId="{C306FF50-8479-4715-8969-CDEBA8863634}" dt="2021-09-17T03:34:17.227" v="7010" actId="20577"/>
          <ac:spMkLst>
            <pc:docMk/>
            <pc:sldMk cId="3561244179" sldId="302"/>
            <ac:spMk id="37" creationId="{C5A4E6AE-0CF2-4DA0-80B9-2C6D193C4226}"/>
          </ac:spMkLst>
        </pc:spChg>
        <pc:spChg chg="add mod">
          <ac:chgData name="Kopper, Jordan" userId="b70b14be-98b2-4048-a278-0b2ff614ef08" providerId="ADAL" clId="{C306FF50-8479-4715-8969-CDEBA8863634}" dt="2021-09-17T03:37:20.463" v="7040" actId="1037"/>
          <ac:spMkLst>
            <pc:docMk/>
            <pc:sldMk cId="3561244179" sldId="302"/>
            <ac:spMk id="45" creationId="{22148DC3-AEC7-4FBE-B4A5-9705E087D943}"/>
          </ac:spMkLst>
        </pc:spChg>
        <pc:grpChg chg="add mod ord">
          <ac:chgData name="Kopper, Jordan" userId="b70b14be-98b2-4048-a278-0b2ff614ef08" providerId="ADAL" clId="{C306FF50-8479-4715-8969-CDEBA8863634}" dt="2021-09-17T03:36:25.851" v="7034" actId="166"/>
          <ac:grpSpMkLst>
            <pc:docMk/>
            <pc:sldMk cId="3561244179" sldId="302"/>
            <ac:grpSpMk id="15" creationId="{60383741-3736-47ED-B7D5-49E4900EB69E}"/>
          </ac:grpSpMkLst>
        </pc:grpChg>
        <pc:grpChg chg="add mod">
          <ac:chgData name="Kopper, Jordan" userId="b70b14be-98b2-4048-a278-0b2ff614ef08" providerId="ADAL" clId="{C306FF50-8479-4715-8969-CDEBA8863634}" dt="2021-09-17T03:31:41.557" v="6983" actId="1076"/>
          <ac:grpSpMkLst>
            <pc:docMk/>
            <pc:sldMk cId="3561244179" sldId="302"/>
            <ac:grpSpMk id="19" creationId="{17350C20-444F-49DB-8649-357301A51AA7}"/>
          </ac:grpSpMkLst>
        </pc:grpChg>
        <pc:grpChg chg="add mod">
          <ac:chgData name="Kopper, Jordan" userId="b70b14be-98b2-4048-a278-0b2ff614ef08" providerId="ADAL" clId="{C306FF50-8479-4715-8969-CDEBA8863634}" dt="2021-09-17T03:31:41.557" v="6983" actId="1076"/>
          <ac:grpSpMkLst>
            <pc:docMk/>
            <pc:sldMk cId="3561244179" sldId="302"/>
            <ac:grpSpMk id="26" creationId="{66ABFCA3-38B1-4976-B7CE-551938DDBE6A}"/>
          </ac:grpSpMkLst>
        </pc:grpChg>
        <pc:picChg chg="add del mod">
          <ac:chgData name="Kopper, Jordan" userId="b70b14be-98b2-4048-a278-0b2ff614ef08" providerId="ADAL" clId="{C306FF50-8479-4715-8969-CDEBA8863634}" dt="2021-09-17T02:50:08.069" v="6098" actId="478"/>
          <ac:picMkLst>
            <pc:docMk/>
            <pc:sldMk cId="3561244179" sldId="302"/>
            <ac:picMk id="8" creationId="{C2293210-FABA-4B67-B72F-BE173ECD232D}"/>
          </ac:picMkLst>
        </pc:picChg>
        <pc:picChg chg="add mod">
          <ac:chgData name="Kopper, Jordan" userId="b70b14be-98b2-4048-a278-0b2ff614ef08" providerId="ADAL" clId="{C306FF50-8479-4715-8969-CDEBA8863634}" dt="2021-09-17T02:50:05.886" v="6097" actId="1076"/>
          <ac:picMkLst>
            <pc:docMk/>
            <pc:sldMk cId="3561244179" sldId="302"/>
            <ac:picMk id="9" creationId="{92605E5B-AB97-417F-8B88-B751E5FE60BB}"/>
          </ac:picMkLst>
        </pc:picChg>
        <pc:picChg chg="mod">
          <ac:chgData name="Kopper, Jordan" userId="b70b14be-98b2-4048-a278-0b2ff614ef08" providerId="ADAL" clId="{C306FF50-8479-4715-8969-CDEBA8863634}" dt="2021-09-17T03:31:30.669" v="6981" actId="1076"/>
          <ac:picMkLst>
            <pc:docMk/>
            <pc:sldMk cId="3561244179" sldId="302"/>
            <ac:picMk id="10" creationId="{4174D5E3-6EFD-462C-9357-917A3D550829}"/>
          </ac:picMkLst>
        </pc:picChg>
        <pc:picChg chg="add del mod">
          <ac:chgData name="Kopper, Jordan" userId="b70b14be-98b2-4048-a278-0b2ff614ef08" providerId="ADAL" clId="{C306FF50-8479-4715-8969-CDEBA8863634}" dt="2021-09-17T03:28:44.319" v="6935" actId="478"/>
          <ac:picMkLst>
            <pc:docMk/>
            <pc:sldMk cId="3561244179" sldId="302"/>
            <ac:picMk id="23" creationId="{7676E13C-4C9D-4988-A7A2-C74F810EB442}"/>
          </ac:picMkLst>
        </pc:picChg>
        <pc:picChg chg="add del mod">
          <ac:chgData name="Kopper, Jordan" userId="b70b14be-98b2-4048-a278-0b2ff614ef08" providerId="ADAL" clId="{C306FF50-8479-4715-8969-CDEBA8863634}" dt="2021-09-17T03:30:23.299" v="6963" actId="478"/>
          <ac:picMkLst>
            <pc:docMk/>
            <pc:sldMk cId="3561244179" sldId="302"/>
            <ac:picMk id="24" creationId="{C8F6299B-82A7-4A4C-B547-A0EA086F8D2B}"/>
          </ac:picMkLst>
        </pc:picChg>
        <pc:picChg chg="add del mod">
          <ac:chgData name="Kopper, Jordan" userId="b70b14be-98b2-4048-a278-0b2ff614ef08" providerId="ADAL" clId="{C306FF50-8479-4715-8969-CDEBA8863634}" dt="2021-09-17T03:30:23.299" v="6963" actId="478"/>
          <ac:picMkLst>
            <pc:docMk/>
            <pc:sldMk cId="3561244179" sldId="302"/>
            <ac:picMk id="25" creationId="{F57A49B5-B2FC-484F-A598-055D3B60EF30}"/>
          </ac:picMkLst>
        </pc:picChg>
        <pc:picChg chg="add del mod">
          <ac:chgData name="Kopper, Jordan" userId="b70b14be-98b2-4048-a278-0b2ff614ef08" providerId="ADAL" clId="{C306FF50-8479-4715-8969-CDEBA8863634}" dt="2021-09-17T03:30:23.299" v="6963" actId="478"/>
          <ac:picMkLst>
            <pc:docMk/>
            <pc:sldMk cId="3561244179" sldId="302"/>
            <ac:picMk id="30" creationId="{FEC6C551-A798-49C4-A79B-51BAE6905709}"/>
          </ac:picMkLst>
        </pc:picChg>
        <pc:picChg chg="add mod ord">
          <ac:chgData name="Kopper, Jordan" userId="b70b14be-98b2-4048-a278-0b2ff614ef08" providerId="ADAL" clId="{C306FF50-8479-4715-8969-CDEBA8863634}" dt="2021-09-17T03:36:40.418" v="7036" actId="166"/>
          <ac:picMkLst>
            <pc:docMk/>
            <pc:sldMk cId="3561244179" sldId="302"/>
            <ac:picMk id="32" creationId="{93C0E8E8-E655-4122-A115-38829941E365}"/>
          </ac:picMkLst>
        </pc:picChg>
        <pc:picChg chg="add mod">
          <ac:chgData name="Kopper, Jordan" userId="b70b14be-98b2-4048-a278-0b2ff614ef08" providerId="ADAL" clId="{C306FF50-8479-4715-8969-CDEBA8863634}" dt="2021-09-17T03:33:51.470" v="7005" actId="207"/>
          <ac:picMkLst>
            <pc:docMk/>
            <pc:sldMk cId="3561244179" sldId="302"/>
            <ac:picMk id="34" creationId="{8E591584-DFE2-4592-8A2A-F22F0668F861}"/>
          </ac:picMkLst>
        </pc:picChg>
        <pc:picChg chg="add mod">
          <ac:chgData name="Kopper, Jordan" userId="b70b14be-98b2-4048-a278-0b2ff614ef08" providerId="ADAL" clId="{C306FF50-8479-4715-8969-CDEBA8863634}" dt="2021-09-17T03:34:15.639" v="7009" actId="1076"/>
          <ac:picMkLst>
            <pc:docMk/>
            <pc:sldMk cId="3561244179" sldId="302"/>
            <ac:picMk id="36" creationId="{24001C06-9DC4-484C-8CD4-2ECF3DECC0B8}"/>
          </ac:picMkLst>
        </pc:picChg>
        <pc:cxnChg chg="add mod ord">
          <ac:chgData name="Kopper, Jordan" userId="b70b14be-98b2-4048-a278-0b2ff614ef08" providerId="ADAL" clId="{C306FF50-8479-4715-8969-CDEBA8863634}" dt="2021-09-17T03:36:24.200" v="7033" actId="166"/>
          <ac:cxnSpMkLst>
            <pc:docMk/>
            <pc:sldMk cId="3561244179" sldId="302"/>
            <ac:cxnSpMk id="39" creationId="{F01B826D-DAC6-4F69-9FC4-639B74AD7EA9}"/>
          </ac:cxnSpMkLst>
        </pc:cxnChg>
        <pc:cxnChg chg="add mod">
          <ac:chgData name="Kopper, Jordan" userId="b70b14be-98b2-4048-a278-0b2ff614ef08" providerId="ADAL" clId="{C306FF50-8479-4715-8969-CDEBA8863634}" dt="2021-09-17T03:36:30.254" v="7035" actId="208"/>
          <ac:cxnSpMkLst>
            <pc:docMk/>
            <pc:sldMk cId="3561244179" sldId="302"/>
            <ac:cxnSpMk id="40" creationId="{4AB8C863-4334-4EFE-8466-D0ADEF1957BB}"/>
          </ac:cxnSpMkLst>
        </pc:cxnChg>
      </pc:sldChg>
      <pc:sldChg chg="addSp delSp modSp del mod ord">
        <pc:chgData name="Kopper, Jordan" userId="b70b14be-98b2-4048-a278-0b2ff614ef08" providerId="ADAL" clId="{C306FF50-8479-4715-8969-CDEBA8863634}" dt="2021-09-17T13:48:53.141" v="8970" actId="47"/>
        <pc:sldMkLst>
          <pc:docMk/>
          <pc:sldMk cId="1594044387" sldId="303"/>
        </pc:sldMkLst>
        <pc:spChg chg="mod">
          <ac:chgData name="Kopper, Jordan" userId="b70b14be-98b2-4048-a278-0b2ff614ef08" providerId="ADAL" clId="{C306FF50-8479-4715-8969-CDEBA8863634}" dt="2021-09-17T13:48:19.300" v="8948" actId="20577"/>
          <ac:spMkLst>
            <pc:docMk/>
            <pc:sldMk cId="1594044387" sldId="303"/>
            <ac:spMk id="2" creationId="{8FFC2A4D-D4F9-4899-A32E-55D0111E110B}"/>
          </ac:spMkLst>
        </pc:spChg>
        <pc:spChg chg="mod">
          <ac:chgData name="Kopper, Jordan" userId="b70b14be-98b2-4048-a278-0b2ff614ef08" providerId="ADAL" clId="{C306FF50-8479-4715-8969-CDEBA8863634}" dt="2021-09-17T02:50:51.425" v="6115"/>
          <ac:spMkLst>
            <pc:docMk/>
            <pc:sldMk cId="1594044387" sldId="303"/>
            <ac:spMk id="3" creationId="{ACAA8A55-978D-4D42-8B08-8E97EB6AB59A}"/>
          </ac:spMkLst>
        </pc:spChg>
        <pc:spChg chg="add del mod">
          <ac:chgData name="Kopper, Jordan" userId="b70b14be-98b2-4048-a278-0b2ff614ef08" providerId="ADAL" clId="{C306FF50-8479-4715-8969-CDEBA8863634}" dt="2021-09-17T02:50:54.807" v="6116" actId="478"/>
          <ac:spMkLst>
            <pc:docMk/>
            <pc:sldMk cId="1594044387" sldId="303"/>
            <ac:spMk id="4" creationId="{F7CA6318-C28C-47A8-A864-5B72B05187F0}"/>
          </ac:spMkLst>
        </pc:spChg>
        <pc:spChg chg="add del mod">
          <ac:chgData name="Kopper, Jordan" userId="b70b14be-98b2-4048-a278-0b2ff614ef08" providerId="ADAL" clId="{C306FF50-8479-4715-8969-CDEBA8863634}" dt="2021-09-17T03:03:55.951" v="6432" actId="478"/>
          <ac:spMkLst>
            <pc:docMk/>
            <pc:sldMk cId="1594044387" sldId="303"/>
            <ac:spMk id="8" creationId="{48C6A1D4-BBF6-4CA4-9C81-F07DD5D9F6C5}"/>
          </ac:spMkLst>
        </pc:spChg>
        <pc:spChg chg="add mod">
          <ac:chgData name="Kopper, Jordan" userId="b70b14be-98b2-4048-a278-0b2ff614ef08" providerId="ADAL" clId="{C306FF50-8479-4715-8969-CDEBA8863634}" dt="2021-09-17T03:04:00.110" v="6437" actId="1035"/>
          <ac:spMkLst>
            <pc:docMk/>
            <pc:sldMk cId="1594044387" sldId="303"/>
            <ac:spMk id="11" creationId="{A850E211-84CA-40A0-B5F4-B90A5BC013E0}"/>
          </ac:spMkLst>
        </pc:spChg>
        <pc:picChg chg="add del mod">
          <ac:chgData name="Kopper, Jordan" userId="b70b14be-98b2-4048-a278-0b2ff614ef08" providerId="ADAL" clId="{C306FF50-8479-4715-8969-CDEBA8863634}" dt="2021-09-17T02:50:29.789" v="6109" actId="478"/>
          <ac:picMkLst>
            <pc:docMk/>
            <pc:sldMk cId="1594044387" sldId="303"/>
            <ac:picMk id="9" creationId="{BD37FA06-17F0-4520-839D-C7F3154540E6}"/>
          </ac:picMkLst>
        </pc:picChg>
        <pc:picChg chg="add mod">
          <ac:chgData name="Kopper, Jordan" userId="b70b14be-98b2-4048-a278-0b2ff614ef08" providerId="ADAL" clId="{C306FF50-8479-4715-8969-CDEBA8863634}" dt="2021-09-17T02:50:16.558" v="6100"/>
          <ac:picMkLst>
            <pc:docMk/>
            <pc:sldMk cId="1594044387" sldId="303"/>
            <ac:picMk id="10" creationId="{D8A6A572-EC1B-4996-ACAD-6FA6875778F0}"/>
          </ac:picMkLst>
        </pc:picChg>
      </pc:sldChg>
      <pc:sldChg chg="addSp delSp modSp mod modAnim">
        <pc:chgData name="Kopper, Jordan" userId="b70b14be-98b2-4048-a278-0b2ff614ef08" providerId="ADAL" clId="{C306FF50-8479-4715-8969-CDEBA8863634}" dt="2021-09-17T13:49:19.866" v="8971" actId="20577"/>
        <pc:sldMkLst>
          <pc:docMk/>
          <pc:sldMk cId="1421285614" sldId="304"/>
        </pc:sldMkLst>
        <pc:spChg chg="mod">
          <ac:chgData name="Kopper, Jordan" userId="b70b14be-98b2-4048-a278-0b2ff614ef08" providerId="ADAL" clId="{C306FF50-8479-4715-8969-CDEBA8863634}" dt="2021-09-17T13:49:19.866" v="8971" actId="20577"/>
          <ac:spMkLst>
            <pc:docMk/>
            <pc:sldMk cId="1421285614" sldId="304"/>
            <ac:spMk id="2" creationId="{8FFC2A4D-D4F9-4899-A32E-55D0111E110B}"/>
          </ac:spMkLst>
        </pc:spChg>
        <pc:spChg chg="mod">
          <ac:chgData name="Kopper, Jordan" userId="b70b14be-98b2-4048-a278-0b2ff614ef08" providerId="ADAL" clId="{C306FF50-8479-4715-8969-CDEBA8863634}" dt="2021-09-17T02:51:01.309" v="6118"/>
          <ac:spMkLst>
            <pc:docMk/>
            <pc:sldMk cId="1421285614" sldId="304"/>
            <ac:spMk id="3" creationId="{ACAA8A55-978D-4D42-8B08-8E97EB6AB59A}"/>
          </ac:spMkLst>
        </pc:spChg>
        <pc:spChg chg="add del mod">
          <ac:chgData name="Kopper, Jordan" userId="b70b14be-98b2-4048-a278-0b2ff614ef08" providerId="ADAL" clId="{C306FF50-8479-4715-8969-CDEBA8863634}" dt="2021-09-17T02:51:03.819" v="6119" actId="478"/>
          <ac:spMkLst>
            <pc:docMk/>
            <pc:sldMk cId="1421285614" sldId="304"/>
            <ac:spMk id="4" creationId="{2950E80B-F659-4751-80EF-AE99BAD47A0C}"/>
          </ac:spMkLst>
        </pc:spChg>
        <pc:spChg chg="add mod">
          <ac:chgData name="Kopper, Jordan" userId="b70b14be-98b2-4048-a278-0b2ff614ef08" providerId="ADAL" clId="{C306FF50-8479-4715-8969-CDEBA8863634}" dt="2021-09-17T03:35:24.645" v="7021" actId="14100"/>
          <ac:spMkLst>
            <pc:docMk/>
            <pc:sldMk cId="1421285614" sldId="304"/>
            <ac:spMk id="15" creationId="{7606FB83-0EAC-4781-A518-33D637121A02}"/>
          </ac:spMkLst>
        </pc:spChg>
        <pc:spChg chg="add mod">
          <ac:chgData name="Kopper, Jordan" userId="b70b14be-98b2-4048-a278-0b2ff614ef08" providerId="ADAL" clId="{C306FF50-8479-4715-8969-CDEBA8863634}" dt="2021-09-17T03:35:30.116" v="7022" actId="14100"/>
          <ac:spMkLst>
            <pc:docMk/>
            <pc:sldMk cId="1421285614" sldId="304"/>
            <ac:spMk id="16" creationId="{4F12D8A7-A28C-4376-9010-6506A3E78041}"/>
          </ac:spMkLst>
        </pc:spChg>
        <pc:picChg chg="add del mod">
          <ac:chgData name="Kopper, Jordan" userId="b70b14be-98b2-4048-a278-0b2ff614ef08" providerId="ADAL" clId="{C306FF50-8479-4715-8969-CDEBA8863634}" dt="2021-09-17T02:50:28.827" v="6108" actId="478"/>
          <ac:picMkLst>
            <pc:docMk/>
            <pc:sldMk cId="1421285614" sldId="304"/>
            <ac:picMk id="6" creationId="{2F5DCF14-6FE6-46C9-9703-C83B6858B6CE}"/>
          </ac:picMkLst>
        </pc:picChg>
        <pc:picChg chg="add mod">
          <ac:chgData name="Kopper, Jordan" userId="b70b14be-98b2-4048-a278-0b2ff614ef08" providerId="ADAL" clId="{C306FF50-8479-4715-8969-CDEBA8863634}" dt="2021-09-17T02:50:17.235" v="6101"/>
          <ac:picMkLst>
            <pc:docMk/>
            <pc:sldMk cId="1421285614" sldId="304"/>
            <ac:picMk id="7" creationId="{E1ED0C44-2D19-489D-B74C-E1359246C208}"/>
          </ac:picMkLst>
        </pc:picChg>
        <pc:picChg chg="add mod">
          <ac:chgData name="Kopper, Jordan" userId="b70b14be-98b2-4048-a278-0b2ff614ef08" providerId="ADAL" clId="{C306FF50-8479-4715-8969-CDEBA8863634}" dt="2021-09-17T03:34:38.280" v="7011" actId="108"/>
          <ac:picMkLst>
            <pc:docMk/>
            <pc:sldMk cId="1421285614" sldId="304"/>
            <ac:picMk id="9" creationId="{B5737939-6033-4AC1-9981-01AA5C5F28DE}"/>
          </ac:picMkLst>
        </pc:picChg>
        <pc:picChg chg="add mod modCrop">
          <ac:chgData name="Kopper, Jordan" userId="b70b14be-98b2-4048-a278-0b2ff614ef08" providerId="ADAL" clId="{C306FF50-8479-4715-8969-CDEBA8863634}" dt="2021-09-17T03:34:59.637" v="7016" actId="732"/>
          <ac:picMkLst>
            <pc:docMk/>
            <pc:sldMk cId="1421285614" sldId="304"/>
            <ac:picMk id="10" creationId="{73A1233F-27D7-4075-A646-9248DE3FC0E0}"/>
          </ac:picMkLst>
        </pc:picChg>
        <pc:picChg chg="mod modCrop">
          <ac:chgData name="Kopper, Jordan" userId="b70b14be-98b2-4048-a278-0b2ff614ef08" providerId="ADAL" clId="{C306FF50-8479-4715-8969-CDEBA8863634}" dt="2021-09-17T03:35:35.593" v="7023" actId="732"/>
          <ac:picMkLst>
            <pc:docMk/>
            <pc:sldMk cId="1421285614" sldId="304"/>
            <ac:picMk id="11" creationId="{12A9930F-71C0-4494-B19A-6EA3FAED3C01}"/>
          </ac:picMkLst>
        </pc:picChg>
        <pc:picChg chg="add del mod">
          <ac:chgData name="Kopper, Jordan" userId="b70b14be-98b2-4048-a278-0b2ff614ef08" providerId="ADAL" clId="{C306FF50-8479-4715-8969-CDEBA8863634}" dt="2021-09-17T02:55:14.014" v="6209" actId="21"/>
          <ac:picMkLst>
            <pc:docMk/>
            <pc:sldMk cId="1421285614" sldId="304"/>
            <ac:picMk id="12" creationId="{EC8920C5-BAF1-47D4-8632-9DD3CE2DBC3A}"/>
          </ac:picMkLst>
        </pc:picChg>
        <pc:picChg chg="add mod">
          <ac:chgData name="Kopper, Jordan" userId="b70b14be-98b2-4048-a278-0b2ff614ef08" providerId="ADAL" clId="{C306FF50-8479-4715-8969-CDEBA8863634}" dt="2021-09-17T02:56:03.404" v="6226" actId="571"/>
          <ac:picMkLst>
            <pc:docMk/>
            <pc:sldMk cId="1421285614" sldId="304"/>
            <ac:picMk id="13" creationId="{F1C1BC7C-3CBD-4C92-8915-328315D7AD3C}"/>
          </ac:picMkLst>
        </pc:picChg>
        <pc:picChg chg="add mod">
          <ac:chgData name="Kopper, Jordan" userId="b70b14be-98b2-4048-a278-0b2ff614ef08" providerId="ADAL" clId="{C306FF50-8479-4715-8969-CDEBA8863634}" dt="2021-09-17T02:56:03.404" v="6226" actId="571"/>
          <ac:picMkLst>
            <pc:docMk/>
            <pc:sldMk cId="1421285614" sldId="304"/>
            <ac:picMk id="14" creationId="{5F4A198E-F4D8-4C52-B77E-39C7559A9E8E}"/>
          </ac:picMkLst>
        </pc:picChg>
      </pc:sldChg>
      <pc:sldChg chg="addSp delSp modSp del mod">
        <pc:chgData name="Kopper, Jordan" userId="b70b14be-98b2-4048-a278-0b2ff614ef08" providerId="ADAL" clId="{C306FF50-8479-4715-8969-CDEBA8863634}" dt="2021-09-17T02:51:52.664" v="6144" actId="47"/>
        <pc:sldMkLst>
          <pc:docMk/>
          <pc:sldMk cId="1057796279" sldId="305"/>
        </pc:sldMkLst>
        <pc:picChg chg="add del mod">
          <ac:chgData name="Kopper, Jordan" userId="b70b14be-98b2-4048-a278-0b2ff614ef08" providerId="ADAL" clId="{C306FF50-8479-4715-8969-CDEBA8863634}" dt="2021-09-17T02:50:27.128" v="6107" actId="478"/>
          <ac:picMkLst>
            <pc:docMk/>
            <pc:sldMk cId="1057796279" sldId="305"/>
            <ac:picMk id="8" creationId="{A7040D12-3836-4A42-851C-5C1E50DA79E8}"/>
          </ac:picMkLst>
        </pc:picChg>
        <pc:picChg chg="add mod">
          <ac:chgData name="Kopper, Jordan" userId="b70b14be-98b2-4048-a278-0b2ff614ef08" providerId="ADAL" clId="{C306FF50-8479-4715-8969-CDEBA8863634}" dt="2021-09-17T02:50:18.302" v="6102"/>
          <ac:picMkLst>
            <pc:docMk/>
            <pc:sldMk cId="1057796279" sldId="305"/>
            <ac:picMk id="9" creationId="{134AC630-D791-4FCF-BA7F-8D7D47FC4F07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3:57:43.686" v="9151" actId="1037"/>
        <pc:sldMkLst>
          <pc:docMk/>
          <pc:sldMk cId="2304555325" sldId="306"/>
        </pc:sldMkLst>
        <pc:spChg chg="mod">
          <ac:chgData name="Kopper, Jordan" userId="b70b14be-98b2-4048-a278-0b2ff614ef08" providerId="ADAL" clId="{C306FF50-8479-4715-8969-CDEBA8863634}" dt="2021-09-17T03:41:15.122" v="7092" actId="20577"/>
          <ac:spMkLst>
            <pc:docMk/>
            <pc:sldMk cId="2304555325" sldId="306"/>
            <ac:spMk id="2" creationId="{8FFC2A4D-D4F9-4899-A32E-55D0111E110B}"/>
          </ac:spMkLst>
        </pc:spChg>
        <pc:spChg chg="mod">
          <ac:chgData name="Kopper, Jordan" userId="b70b14be-98b2-4048-a278-0b2ff614ef08" providerId="ADAL" clId="{C306FF50-8479-4715-8969-CDEBA8863634}" dt="2021-09-17T02:56:37.521" v="6237"/>
          <ac:spMkLst>
            <pc:docMk/>
            <pc:sldMk cId="2304555325" sldId="306"/>
            <ac:spMk id="3" creationId="{ACAA8A55-978D-4D42-8B08-8E97EB6AB59A}"/>
          </ac:spMkLst>
        </pc:spChg>
        <pc:spChg chg="add del mod">
          <ac:chgData name="Kopper, Jordan" userId="b70b14be-98b2-4048-a278-0b2ff614ef08" providerId="ADAL" clId="{C306FF50-8479-4715-8969-CDEBA8863634}" dt="2021-09-17T02:56:39.505" v="6238" actId="478"/>
          <ac:spMkLst>
            <pc:docMk/>
            <pc:sldMk cId="2304555325" sldId="306"/>
            <ac:spMk id="4" creationId="{701DC236-DBCA-4D5A-B766-4BBB89D7E04B}"/>
          </ac:spMkLst>
        </pc:spChg>
        <pc:spChg chg="add del mod">
          <ac:chgData name="Kopper, Jordan" userId="b70b14be-98b2-4048-a278-0b2ff614ef08" providerId="ADAL" clId="{C306FF50-8479-4715-8969-CDEBA8863634}" dt="2021-09-17T02:56:12.799" v="6230" actId="478"/>
          <ac:spMkLst>
            <pc:docMk/>
            <pc:sldMk cId="2304555325" sldId="306"/>
            <ac:spMk id="6" creationId="{1D09EA9F-9192-4C3E-9C6A-1821E31BCFF1}"/>
          </ac:spMkLst>
        </pc:spChg>
        <pc:spChg chg="add mod">
          <ac:chgData name="Kopper, Jordan" userId="b70b14be-98b2-4048-a278-0b2ff614ef08" providerId="ADAL" clId="{C306FF50-8479-4715-8969-CDEBA8863634}" dt="2021-09-23T13:51:03.383" v="9130" actId="14100"/>
          <ac:spMkLst>
            <pc:docMk/>
            <pc:sldMk cId="2304555325" sldId="306"/>
            <ac:spMk id="11" creationId="{E4104139-ECA7-4299-A1BA-6C3A2C5B58EF}"/>
          </ac:spMkLst>
        </pc:spChg>
        <pc:spChg chg="add mod">
          <ac:chgData name="Kopper, Jordan" userId="b70b14be-98b2-4048-a278-0b2ff614ef08" providerId="ADAL" clId="{C306FF50-8479-4715-8969-CDEBA8863634}" dt="2021-09-23T13:57:43.686" v="9151" actId="1037"/>
          <ac:spMkLst>
            <pc:docMk/>
            <pc:sldMk cId="2304555325" sldId="306"/>
            <ac:spMk id="12" creationId="{632299A0-B0B5-4928-8B14-B7FC1CE6CB6A}"/>
          </ac:spMkLst>
        </pc:spChg>
        <pc:spChg chg="mod">
          <ac:chgData name="Kopper, Jordan" userId="b70b14be-98b2-4048-a278-0b2ff614ef08" providerId="ADAL" clId="{C306FF50-8479-4715-8969-CDEBA8863634}" dt="2021-09-17T03:01:24.850" v="6402"/>
          <ac:spMkLst>
            <pc:docMk/>
            <pc:sldMk cId="2304555325" sldId="306"/>
            <ac:spMk id="12" creationId="{A3B0D7C5-AF70-48AA-8F11-7B5E89B7A2B3}"/>
          </ac:spMkLst>
        </pc:spChg>
        <pc:spChg chg="mod">
          <ac:chgData name="Kopper, Jordan" userId="b70b14be-98b2-4048-a278-0b2ff614ef08" providerId="ADAL" clId="{C306FF50-8479-4715-8969-CDEBA8863634}" dt="2021-09-17T03:07:07.067" v="6518" actId="13926"/>
          <ac:spMkLst>
            <pc:docMk/>
            <pc:sldMk cId="2304555325" sldId="306"/>
            <ac:spMk id="13" creationId="{9558785D-EBEA-4480-B245-64CB728CBD04}"/>
          </ac:spMkLst>
        </pc:spChg>
        <pc:grpChg chg="add del mod">
          <ac:chgData name="Kopper, Jordan" userId="b70b14be-98b2-4048-a278-0b2ff614ef08" providerId="ADAL" clId="{C306FF50-8479-4715-8969-CDEBA8863634}" dt="2021-09-17T13:49:51.624" v="8972" actId="478"/>
          <ac:grpSpMkLst>
            <pc:docMk/>
            <pc:sldMk cId="2304555325" sldId="306"/>
            <ac:grpSpMk id="11" creationId="{BDB38D87-4DFB-4B86-97EA-6855969D00F7}"/>
          </ac:grpSpMkLst>
        </pc:grpChg>
        <pc:picChg chg="add del mod">
          <ac:chgData name="Kopper, Jordan" userId="b70b14be-98b2-4048-a278-0b2ff614ef08" providerId="ADAL" clId="{C306FF50-8479-4715-8969-CDEBA8863634}" dt="2021-09-17T02:50:25.561" v="6106" actId="478"/>
          <ac:picMkLst>
            <pc:docMk/>
            <pc:sldMk cId="2304555325" sldId="306"/>
            <ac:picMk id="7" creationId="{923FC0C8-A4C2-432B-9213-B98096BA72FE}"/>
          </ac:picMkLst>
        </pc:picChg>
        <pc:picChg chg="mod modCrop">
          <ac:chgData name="Kopper, Jordan" userId="b70b14be-98b2-4048-a278-0b2ff614ef08" providerId="ADAL" clId="{C306FF50-8479-4715-8969-CDEBA8863634}" dt="2021-09-17T13:50:01.862" v="8974" actId="1076"/>
          <ac:picMkLst>
            <pc:docMk/>
            <pc:sldMk cId="2304555325" sldId="306"/>
            <ac:picMk id="8" creationId="{AB27C3CE-2C71-44D5-BA1F-F3287AEBD86F}"/>
          </ac:picMkLst>
        </pc:picChg>
        <pc:picChg chg="add mod">
          <ac:chgData name="Kopper, Jordan" userId="b70b14be-98b2-4048-a278-0b2ff614ef08" providerId="ADAL" clId="{C306FF50-8479-4715-8969-CDEBA8863634}" dt="2021-09-17T02:50:19.660" v="6103"/>
          <ac:picMkLst>
            <pc:docMk/>
            <pc:sldMk cId="2304555325" sldId="306"/>
            <ac:picMk id="9" creationId="{195B1ED0-252C-440E-9939-1F5448FFCB85}"/>
          </ac:picMkLst>
        </pc:picChg>
        <pc:picChg chg="add mod ord">
          <ac:chgData name="Kopper, Jordan" userId="b70b14be-98b2-4048-a278-0b2ff614ef08" providerId="ADAL" clId="{C306FF50-8479-4715-8969-CDEBA8863634}" dt="2021-09-17T13:50:01.862" v="8974" actId="1076"/>
          <ac:picMkLst>
            <pc:docMk/>
            <pc:sldMk cId="2304555325" sldId="306"/>
            <ac:picMk id="10" creationId="{0D42AF58-12D0-45C3-88E8-FCAC6D305338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23T13:57:35.421" v="9142" actId="1037"/>
        <pc:sldMkLst>
          <pc:docMk/>
          <pc:sldMk cId="3700071686" sldId="307"/>
        </pc:sldMkLst>
        <pc:spChg chg="mod">
          <ac:chgData name="Kopper, Jordan" userId="b70b14be-98b2-4048-a278-0b2ff614ef08" providerId="ADAL" clId="{C306FF50-8479-4715-8969-CDEBA8863634}" dt="2021-09-17T03:10:27.366" v="6572" actId="27636"/>
          <ac:spMkLst>
            <pc:docMk/>
            <pc:sldMk cId="3700071686" sldId="307"/>
            <ac:spMk id="2" creationId="{94123AA9-E16E-47A3-B700-4434E9E54E60}"/>
          </ac:spMkLst>
        </pc:spChg>
        <pc:spChg chg="add del mod">
          <ac:chgData name="Kopper, Jordan" userId="b70b14be-98b2-4048-a278-0b2ff614ef08" providerId="ADAL" clId="{C306FF50-8479-4715-8969-CDEBA8863634}" dt="2021-09-17T13:51:04.911" v="8975" actId="478"/>
          <ac:spMkLst>
            <pc:docMk/>
            <pc:sldMk cId="3700071686" sldId="307"/>
            <ac:spMk id="3" creationId="{1901BD93-D19E-433F-B802-1B3E05243450}"/>
          </ac:spMkLst>
        </pc:spChg>
        <pc:spChg chg="del mod">
          <ac:chgData name="Kopper, Jordan" userId="b70b14be-98b2-4048-a278-0b2ff614ef08" providerId="ADAL" clId="{C306FF50-8479-4715-8969-CDEBA8863634}" dt="2021-09-17T03:10:41.017" v="6575" actId="478"/>
          <ac:spMkLst>
            <pc:docMk/>
            <pc:sldMk cId="3700071686" sldId="307"/>
            <ac:spMk id="4" creationId="{C76C6CA8-76E0-44B5-9966-F27055FD7664}"/>
          </ac:spMkLst>
        </pc:spChg>
        <pc:spChg chg="mod">
          <ac:chgData name="Kopper, Jordan" userId="b70b14be-98b2-4048-a278-0b2ff614ef08" providerId="ADAL" clId="{C306FF50-8479-4715-8969-CDEBA8863634}" dt="2021-09-17T03:10:27.214" v="6571"/>
          <ac:spMkLst>
            <pc:docMk/>
            <pc:sldMk cId="3700071686" sldId="307"/>
            <ac:spMk id="5" creationId="{90222E81-02AE-474A-9EF3-6C037C3B755C}"/>
          </ac:spMkLst>
        </pc:spChg>
        <pc:spChg chg="add del mod">
          <ac:chgData name="Kopper, Jordan" userId="b70b14be-98b2-4048-a278-0b2ff614ef08" providerId="ADAL" clId="{C306FF50-8479-4715-8969-CDEBA8863634}" dt="2021-09-17T03:01:01.012" v="6398" actId="478"/>
          <ac:spMkLst>
            <pc:docMk/>
            <pc:sldMk cId="3700071686" sldId="307"/>
            <ac:spMk id="8" creationId="{06BFE7DF-BDF1-4290-9044-861B08CAFF16}"/>
          </ac:spMkLst>
        </pc:spChg>
        <pc:spChg chg="mod">
          <ac:chgData name="Kopper, Jordan" userId="b70b14be-98b2-4048-a278-0b2ff614ef08" providerId="ADAL" clId="{C306FF50-8479-4715-8969-CDEBA8863634}" dt="2021-09-17T03:10:20.161" v="6569" actId="14100"/>
          <ac:spMkLst>
            <pc:docMk/>
            <pc:sldMk cId="3700071686" sldId="307"/>
            <ac:spMk id="12" creationId="{99888474-A9E9-4C66-8C82-7CB5C3EC05F5}"/>
          </ac:spMkLst>
        </pc:spChg>
        <pc:spChg chg="mod">
          <ac:chgData name="Kopper, Jordan" userId="b70b14be-98b2-4048-a278-0b2ff614ef08" providerId="ADAL" clId="{C306FF50-8479-4715-8969-CDEBA8863634}" dt="2021-09-17T03:09:16.378" v="6542" actId="1076"/>
          <ac:spMkLst>
            <pc:docMk/>
            <pc:sldMk cId="3700071686" sldId="307"/>
            <ac:spMk id="13" creationId="{B6521D13-49B4-4719-A677-E6638BD4886F}"/>
          </ac:spMkLst>
        </pc:spChg>
        <pc:spChg chg="mod">
          <ac:chgData name="Kopper, Jordan" userId="b70b14be-98b2-4048-a278-0b2ff614ef08" providerId="ADAL" clId="{C306FF50-8479-4715-8969-CDEBA8863634}" dt="2021-09-17T03:09:47.226" v="6559" actId="14100"/>
          <ac:spMkLst>
            <pc:docMk/>
            <pc:sldMk cId="3700071686" sldId="307"/>
            <ac:spMk id="15" creationId="{ABD46D96-1E4A-4F3A-8F01-97690D3B0776}"/>
          </ac:spMkLst>
        </pc:spChg>
        <pc:spChg chg="mod">
          <ac:chgData name="Kopper, Jordan" userId="b70b14be-98b2-4048-a278-0b2ff614ef08" providerId="ADAL" clId="{C306FF50-8479-4715-8969-CDEBA8863634}" dt="2021-09-17T03:09:42.661" v="6557"/>
          <ac:spMkLst>
            <pc:docMk/>
            <pc:sldMk cId="3700071686" sldId="307"/>
            <ac:spMk id="16" creationId="{E025C419-2830-40CE-B459-174427B1AC52}"/>
          </ac:spMkLst>
        </pc:spChg>
        <pc:spChg chg="add mod">
          <ac:chgData name="Kopper, Jordan" userId="b70b14be-98b2-4048-a278-0b2ff614ef08" providerId="ADAL" clId="{C306FF50-8479-4715-8969-CDEBA8863634}" dt="2021-09-23T13:57:24.684" v="9136" actId="1076"/>
          <ac:spMkLst>
            <pc:docMk/>
            <pc:sldMk cId="3700071686" sldId="307"/>
            <ac:spMk id="17" creationId="{A9CE0D32-3ACD-4301-BBF0-4CED785F6733}"/>
          </ac:spMkLst>
        </pc:spChg>
        <pc:spChg chg="add mod">
          <ac:chgData name="Kopper, Jordan" userId="b70b14be-98b2-4048-a278-0b2ff614ef08" providerId="ADAL" clId="{C306FF50-8479-4715-8969-CDEBA8863634}" dt="2021-09-23T13:57:35.421" v="9142" actId="1037"/>
          <ac:spMkLst>
            <pc:docMk/>
            <pc:sldMk cId="3700071686" sldId="307"/>
            <ac:spMk id="18" creationId="{72587423-B2C3-4867-9649-AB6FB1D35491}"/>
          </ac:spMkLst>
        </pc:spChg>
        <pc:grpChg chg="add mod">
          <ac:chgData name="Kopper, Jordan" userId="b70b14be-98b2-4048-a278-0b2ff614ef08" providerId="ADAL" clId="{C306FF50-8479-4715-8969-CDEBA8863634}" dt="2021-09-17T03:10:06.440" v="6566" actId="1076"/>
          <ac:grpSpMkLst>
            <pc:docMk/>
            <pc:sldMk cId="3700071686" sldId="307"/>
            <ac:grpSpMk id="11" creationId="{97C94288-40FA-4D3A-89A8-6E115448FB1E}"/>
          </ac:grpSpMkLst>
        </pc:grpChg>
        <pc:grpChg chg="add mod">
          <ac:chgData name="Kopper, Jordan" userId="b70b14be-98b2-4048-a278-0b2ff614ef08" providerId="ADAL" clId="{C306FF50-8479-4715-8969-CDEBA8863634}" dt="2021-09-17T03:10:06.440" v="6566" actId="1076"/>
          <ac:grpSpMkLst>
            <pc:docMk/>
            <pc:sldMk cId="3700071686" sldId="307"/>
            <ac:grpSpMk id="14" creationId="{BC8B50D5-0ED8-4C12-8201-4507A9456C29}"/>
          </ac:grpSpMkLst>
        </pc:grpChg>
        <pc:picChg chg="add del mod">
          <ac:chgData name="Kopper, Jordan" userId="b70b14be-98b2-4048-a278-0b2ff614ef08" providerId="ADAL" clId="{C306FF50-8479-4715-8969-CDEBA8863634}" dt="2021-09-17T02:50:24.116" v="6105" actId="478"/>
          <ac:picMkLst>
            <pc:docMk/>
            <pc:sldMk cId="3700071686" sldId="307"/>
            <ac:picMk id="9" creationId="{2C66A8B8-7B87-447D-B0AD-87B71E1F066A}"/>
          </ac:picMkLst>
        </pc:picChg>
        <pc:picChg chg="add mod">
          <ac:chgData name="Kopper, Jordan" userId="b70b14be-98b2-4048-a278-0b2ff614ef08" providerId="ADAL" clId="{C306FF50-8479-4715-8969-CDEBA8863634}" dt="2021-09-17T02:50:20.620" v="6104"/>
          <ac:picMkLst>
            <pc:docMk/>
            <pc:sldMk cId="3700071686" sldId="307"/>
            <ac:picMk id="10" creationId="{9C637391-CE94-4894-B90B-F4F654C358DD}"/>
          </ac:picMkLst>
        </pc:picChg>
        <pc:picChg chg="mod ord">
          <ac:chgData name="Kopper, Jordan" userId="b70b14be-98b2-4048-a278-0b2ff614ef08" providerId="ADAL" clId="{C306FF50-8479-4715-8969-CDEBA8863634}" dt="2021-09-17T03:10:06.440" v="6566" actId="1076"/>
          <ac:picMkLst>
            <pc:docMk/>
            <pc:sldMk cId="3700071686" sldId="307"/>
            <ac:picMk id="19" creationId="{5F625EB7-FF8A-43A7-ADBC-2880B78DA1AA}"/>
          </ac:picMkLst>
        </pc:picChg>
        <pc:picChg chg="mod">
          <ac:chgData name="Kopper, Jordan" userId="b70b14be-98b2-4048-a278-0b2ff614ef08" providerId="ADAL" clId="{C306FF50-8479-4715-8969-CDEBA8863634}" dt="2021-09-17T03:10:13.090" v="6568" actId="14100"/>
          <ac:picMkLst>
            <pc:docMk/>
            <pc:sldMk cId="3700071686" sldId="307"/>
            <ac:picMk id="20" creationId="{4EF2B53F-A8C8-4229-B0A7-74C4020B85CB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03:50:33.796" v="7255" actId="122"/>
        <pc:sldMkLst>
          <pc:docMk/>
          <pc:sldMk cId="2195655323" sldId="308"/>
        </pc:sldMkLst>
        <pc:graphicFrameChg chg="mod modGraphic">
          <ac:chgData name="Kopper, Jordan" userId="b70b14be-98b2-4048-a278-0b2ff614ef08" providerId="ADAL" clId="{C306FF50-8479-4715-8969-CDEBA8863634}" dt="2021-09-17T03:50:33.796" v="7255" actId="122"/>
          <ac:graphicFrameMkLst>
            <pc:docMk/>
            <pc:sldMk cId="2195655323" sldId="308"/>
            <ac:graphicFrameMk id="5" creationId="{A1CE391A-FE5E-4B3E-84A0-10518A6838AB}"/>
          </ac:graphicFrameMkLst>
        </pc:graphicFrameChg>
        <pc:picChg chg="add del mod">
          <ac:chgData name="Kopper, Jordan" userId="b70b14be-98b2-4048-a278-0b2ff614ef08" providerId="ADAL" clId="{C306FF50-8479-4715-8969-CDEBA8863634}" dt="2021-09-17T03:24:12.014" v="6837" actId="478"/>
          <ac:picMkLst>
            <pc:docMk/>
            <pc:sldMk cId="2195655323" sldId="308"/>
            <ac:picMk id="6" creationId="{A2B8EE41-44C8-4283-8AF1-8AD749C7B24C}"/>
          </ac:picMkLst>
        </pc:picChg>
        <pc:picChg chg="add mod">
          <ac:chgData name="Kopper, Jordan" userId="b70b14be-98b2-4048-a278-0b2ff614ef08" providerId="ADAL" clId="{C306FF50-8479-4715-8969-CDEBA8863634}" dt="2021-09-17T03:24:01.995" v="6832"/>
          <ac:picMkLst>
            <pc:docMk/>
            <pc:sldMk cId="2195655323" sldId="308"/>
            <ac:picMk id="7" creationId="{1D8881DF-A57D-440C-AD5E-2A1472942E9B}"/>
          </ac:picMkLst>
        </pc:picChg>
      </pc:sldChg>
      <pc:sldChg chg="addSp delSp modSp new del mod">
        <pc:chgData name="Kopper, Jordan" userId="b70b14be-98b2-4048-a278-0b2ff614ef08" providerId="ADAL" clId="{C306FF50-8479-4715-8969-CDEBA8863634}" dt="2021-09-17T03:25:27.429" v="6871" actId="47"/>
        <pc:sldMkLst>
          <pc:docMk/>
          <pc:sldMk cId="3057000111" sldId="309"/>
        </pc:sldMkLst>
        <pc:spChg chg="mod">
          <ac:chgData name="Kopper, Jordan" userId="b70b14be-98b2-4048-a278-0b2ff614ef08" providerId="ADAL" clId="{C306FF50-8479-4715-8969-CDEBA8863634}" dt="2021-09-17T03:20:20.906" v="6763"/>
          <ac:spMkLst>
            <pc:docMk/>
            <pc:sldMk cId="3057000111" sldId="309"/>
            <ac:spMk id="2" creationId="{2244A3F0-EAC7-4BF5-BAE1-10B58D5C9619}"/>
          </ac:spMkLst>
        </pc:spChg>
        <pc:spChg chg="add del mod">
          <ac:chgData name="Kopper, Jordan" userId="b70b14be-98b2-4048-a278-0b2ff614ef08" providerId="ADAL" clId="{C306FF50-8479-4715-8969-CDEBA8863634}" dt="2021-09-17T03:20:27.374" v="6765" actId="478"/>
          <ac:spMkLst>
            <pc:docMk/>
            <pc:sldMk cId="3057000111" sldId="309"/>
            <ac:spMk id="3" creationId="{4DDA2471-C2A4-4D4E-A583-2829760BC193}"/>
          </ac:spMkLst>
        </pc:spChg>
        <pc:spChg chg="add mod">
          <ac:chgData name="Kopper, Jordan" userId="b70b14be-98b2-4048-a278-0b2ff614ef08" providerId="ADAL" clId="{C306FF50-8479-4715-8969-CDEBA8863634}" dt="2021-09-17T03:20:38.422" v="6792" actId="1076"/>
          <ac:spMkLst>
            <pc:docMk/>
            <pc:sldMk cId="3057000111" sldId="309"/>
            <ac:spMk id="6" creationId="{5974D79B-AC0B-4FEA-893C-771825CDF05F}"/>
          </ac:spMkLst>
        </pc:spChg>
        <pc:spChg chg="add del mod">
          <ac:chgData name="Kopper, Jordan" userId="b70b14be-98b2-4048-a278-0b2ff614ef08" providerId="ADAL" clId="{C306FF50-8479-4715-8969-CDEBA8863634}" dt="2021-09-17T03:20:23.963" v="6764" actId="478"/>
          <ac:spMkLst>
            <pc:docMk/>
            <pc:sldMk cId="3057000111" sldId="309"/>
            <ac:spMk id="7" creationId="{ECEF4BE3-6FB3-4D13-AD96-7E12619EE811}"/>
          </ac:spMkLst>
        </pc:spChg>
        <pc:picChg chg="add del mod">
          <ac:chgData name="Kopper, Jordan" userId="b70b14be-98b2-4048-a278-0b2ff614ef08" providerId="ADAL" clId="{C306FF50-8479-4715-8969-CDEBA8863634}" dt="2021-09-17T03:20:18.534" v="6762" actId="478"/>
          <ac:picMkLst>
            <pc:docMk/>
            <pc:sldMk cId="3057000111" sldId="309"/>
            <ac:picMk id="4" creationId="{D532E497-5643-49D3-92C7-EA70CD4D040A}"/>
          </ac:picMkLst>
        </pc:picChg>
        <pc:picChg chg="add mod">
          <ac:chgData name="Kopper, Jordan" userId="b70b14be-98b2-4048-a278-0b2ff614ef08" providerId="ADAL" clId="{C306FF50-8479-4715-8969-CDEBA8863634}" dt="2021-09-17T03:20:16.714" v="6761"/>
          <ac:picMkLst>
            <pc:docMk/>
            <pc:sldMk cId="3057000111" sldId="309"/>
            <ac:picMk id="5" creationId="{1A8669F3-EAB4-4657-93ED-A20F164E9E91}"/>
          </ac:picMkLst>
        </pc:picChg>
      </pc:sldChg>
      <pc:sldChg chg="addSp delSp modSp mod">
        <pc:chgData name="Kopper, Jordan" userId="b70b14be-98b2-4048-a278-0b2ff614ef08" providerId="ADAL" clId="{C306FF50-8479-4715-8969-CDEBA8863634}" dt="2021-09-17T04:08:15.336" v="7843" actId="404"/>
        <pc:sldMkLst>
          <pc:docMk/>
          <pc:sldMk cId="19097214" sldId="310"/>
        </pc:sldMkLst>
        <pc:spChg chg="mod">
          <ac:chgData name="Kopper, Jordan" userId="b70b14be-98b2-4048-a278-0b2ff614ef08" providerId="ADAL" clId="{C306FF50-8479-4715-8969-CDEBA8863634}" dt="2021-09-17T04:08:15.336" v="7843" actId="404"/>
          <ac:spMkLst>
            <pc:docMk/>
            <pc:sldMk cId="19097214" sldId="310"/>
            <ac:spMk id="2" creationId="{85868D3F-9FD1-4504-B990-CE79A50B6F36}"/>
          </ac:spMkLst>
        </pc:spChg>
        <pc:spChg chg="del mod">
          <ac:chgData name="Kopper, Jordan" userId="b70b14be-98b2-4048-a278-0b2ff614ef08" providerId="ADAL" clId="{C306FF50-8479-4715-8969-CDEBA8863634}" dt="2021-09-17T04:03:56.966" v="7591" actId="478"/>
          <ac:spMkLst>
            <pc:docMk/>
            <pc:sldMk cId="19097214" sldId="310"/>
            <ac:spMk id="6" creationId="{9E38FA94-D06F-4692-8F67-4CB882657A3E}"/>
          </ac:spMkLst>
        </pc:spChg>
        <pc:spChg chg="add mod">
          <ac:chgData name="Kopper, Jordan" userId="b70b14be-98b2-4048-a278-0b2ff614ef08" providerId="ADAL" clId="{C306FF50-8479-4715-8969-CDEBA8863634}" dt="2021-09-17T04:03:53.450" v="7590" actId="403"/>
          <ac:spMkLst>
            <pc:docMk/>
            <pc:sldMk cId="19097214" sldId="310"/>
            <ac:spMk id="10" creationId="{038DF691-F932-44C8-BC6C-8FA8641503B4}"/>
          </ac:spMkLst>
        </pc:spChg>
        <pc:picChg chg="mod modCrop">
          <ac:chgData name="Kopper, Jordan" userId="b70b14be-98b2-4048-a278-0b2ff614ef08" providerId="ADAL" clId="{C306FF50-8479-4715-8969-CDEBA8863634}" dt="2021-09-17T04:04:03.103" v="7592" actId="108"/>
          <ac:picMkLst>
            <pc:docMk/>
            <pc:sldMk cId="19097214" sldId="310"/>
            <ac:picMk id="5" creationId="{65552782-7EBA-445E-B007-DC0654A1EE51}"/>
          </ac:picMkLst>
        </pc:picChg>
        <pc:picChg chg="add del mod">
          <ac:chgData name="Kopper, Jordan" userId="b70b14be-98b2-4048-a278-0b2ff614ef08" providerId="ADAL" clId="{C306FF50-8479-4715-8969-CDEBA8863634}" dt="2021-09-17T03:53:30.412" v="7300" actId="478"/>
          <ac:picMkLst>
            <pc:docMk/>
            <pc:sldMk cId="19097214" sldId="310"/>
            <ac:picMk id="7" creationId="{F2E14F3C-6579-46A7-B306-6E84320BB083}"/>
          </ac:picMkLst>
        </pc:picChg>
        <pc:picChg chg="add mod">
          <ac:chgData name="Kopper, Jordan" userId="b70b14be-98b2-4048-a278-0b2ff614ef08" providerId="ADAL" clId="{C306FF50-8479-4715-8969-CDEBA8863634}" dt="2021-09-17T03:53:23.915" v="7296"/>
          <ac:picMkLst>
            <pc:docMk/>
            <pc:sldMk cId="19097214" sldId="310"/>
            <ac:picMk id="8" creationId="{800DC5CC-05DA-4E03-A9C2-1A1A72C1F1CA}"/>
          </ac:picMkLst>
        </pc:picChg>
        <pc:picChg chg="add mod modCrop">
          <ac:chgData name="Kopper, Jordan" userId="b70b14be-98b2-4048-a278-0b2ff614ef08" providerId="ADAL" clId="{C306FF50-8479-4715-8969-CDEBA8863634}" dt="2021-09-17T04:00:10.011" v="7457" actId="108"/>
          <ac:picMkLst>
            <pc:docMk/>
            <pc:sldMk cId="19097214" sldId="310"/>
            <ac:picMk id="9" creationId="{AA249090-A47A-42ED-8529-104766E7750E}"/>
          </ac:picMkLst>
        </pc:picChg>
        <pc:picChg chg="add mod ord modCrop">
          <ac:chgData name="Kopper, Jordan" userId="b70b14be-98b2-4048-a278-0b2ff614ef08" providerId="ADAL" clId="{C306FF50-8479-4715-8969-CDEBA8863634}" dt="2021-09-17T04:00:53.835" v="7467" actId="166"/>
          <ac:picMkLst>
            <pc:docMk/>
            <pc:sldMk cId="19097214" sldId="310"/>
            <ac:picMk id="11" creationId="{A74D2068-D941-4330-9F05-42F1AA00135E}"/>
          </ac:picMkLst>
        </pc:picChg>
        <pc:cxnChg chg="add mod">
          <ac:chgData name="Kopper, Jordan" userId="b70b14be-98b2-4048-a278-0b2ff614ef08" providerId="ADAL" clId="{C306FF50-8479-4715-8969-CDEBA8863634}" dt="2021-09-17T04:01:23.240" v="7471" actId="693"/>
          <ac:cxnSpMkLst>
            <pc:docMk/>
            <pc:sldMk cId="19097214" sldId="310"/>
            <ac:cxnSpMk id="12" creationId="{9A8AD0BD-F481-4898-A6EB-D492040509E0}"/>
          </ac:cxnSpMkLst>
        </pc:cxnChg>
        <pc:cxnChg chg="add mod">
          <ac:chgData name="Kopper, Jordan" userId="b70b14be-98b2-4048-a278-0b2ff614ef08" providerId="ADAL" clId="{C306FF50-8479-4715-8969-CDEBA8863634}" dt="2021-09-17T04:01:23.240" v="7471" actId="693"/>
          <ac:cxnSpMkLst>
            <pc:docMk/>
            <pc:sldMk cId="19097214" sldId="310"/>
            <ac:cxnSpMk id="16" creationId="{A322F128-AD74-4EDF-8F34-37E73A16C81C}"/>
          </ac:cxnSpMkLst>
        </pc:cxnChg>
        <pc:cxnChg chg="add mod">
          <ac:chgData name="Kopper, Jordan" userId="b70b14be-98b2-4048-a278-0b2ff614ef08" providerId="ADAL" clId="{C306FF50-8479-4715-8969-CDEBA8863634}" dt="2021-09-17T04:01:23.240" v="7471" actId="693"/>
          <ac:cxnSpMkLst>
            <pc:docMk/>
            <pc:sldMk cId="19097214" sldId="310"/>
            <ac:cxnSpMk id="18" creationId="{9FF38EF7-8921-4682-9AAA-2AB9B1C93AE7}"/>
          </ac:cxnSpMkLst>
        </pc:cxnChg>
        <pc:cxnChg chg="add mod">
          <ac:chgData name="Kopper, Jordan" userId="b70b14be-98b2-4048-a278-0b2ff614ef08" providerId="ADAL" clId="{C306FF50-8479-4715-8969-CDEBA8863634}" dt="2021-09-17T04:01:23.240" v="7471" actId="693"/>
          <ac:cxnSpMkLst>
            <pc:docMk/>
            <pc:sldMk cId="19097214" sldId="310"/>
            <ac:cxnSpMk id="20" creationId="{E056E94F-F1AE-448B-BA30-A804684C4405}"/>
          </ac:cxnSpMkLst>
        </pc:cxnChg>
      </pc:sldChg>
      <pc:sldChg chg="addSp delSp modSp del mod">
        <pc:chgData name="Kopper, Jordan" userId="b70b14be-98b2-4048-a278-0b2ff614ef08" providerId="ADAL" clId="{C306FF50-8479-4715-8969-CDEBA8863634}" dt="2021-09-17T03:59:34.018" v="7451" actId="47"/>
        <pc:sldMkLst>
          <pc:docMk/>
          <pc:sldMk cId="1103308220" sldId="311"/>
        </pc:sldMkLst>
        <pc:spChg chg="add del mod">
          <ac:chgData name="Kopper, Jordan" userId="b70b14be-98b2-4048-a278-0b2ff614ef08" providerId="ADAL" clId="{C306FF50-8479-4715-8969-CDEBA8863634}" dt="2021-09-17T02:18:58.353" v="5637" actId="478"/>
          <ac:spMkLst>
            <pc:docMk/>
            <pc:sldMk cId="1103308220" sldId="311"/>
            <ac:spMk id="3" creationId="{84A79C6A-EBA0-42E9-A564-9C43AAE163F5}"/>
          </ac:spMkLst>
        </pc:spChg>
        <pc:picChg chg="add del mod">
          <ac:chgData name="Kopper, Jordan" userId="b70b14be-98b2-4048-a278-0b2ff614ef08" providerId="ADAL" clId="{C306FF50-8479-4715-8969-CDEBA8863634}" dt="2021-09-17T03:53:31.919" v="7301" actId="478"/>
          <ac:picMkLst>
            <pc:docMk/>
            <pc:sldMk cId="1103308220" sldId="311"/>
            <ac:picMk id="9" creationId="{5BDA469F-03AC-4DC6-8F21-C749513094C1}"/>
          </ac:picMkLst>
        </pc:picChg>
        <pc:picChg chg="add del mod">
          <ac:chgData name="Kopper, Jordan" userId="b70b14be-98b2-4048-a278-0b2ff614ef08" providerId="ADAL" clId="{C306FF50-8479-4715-8969-CDEBA8863634}" dt="2021-09-17T02:17:21.195" v="5628" actId="478"/>
          <ac:picMkLst>
            <pc:docMk/>
            <pc:sldMk cId="1103308220" sldId="311"/>
            <ac:picMk id="11" creationId="{4A6B2D85-12A4-4DF9-A7BF-07D54B4E83EB}"/>
          </ac:picMkLst>
        </pc:picChg>
        <pc:picChg chg="add mod">
          <ac:chgData name="Kopper, Jordan" userId="b70b14be-98b2-4048-a278-0b2ff614ef08" providerId="ADAL" clId="{C306FF50-8479-4715-8969-CDEBA8863634}" dt="2021-09-17T03:53:24.940" v="7297"/>
          <ac:picMkLst>
            <pc:docMk/>
            <pc:sldMk cId="1103308220" sldId="311"/>
            <ac:picMk id="12" creationId="{9463E0C9-A5C5-4548-9F64-5339A3796BBB}"/>
          </ac:picMkLst>
        </pc:picChg>
      </pc:sldChg>
      <pc:sldChg chg="addSp modSp new del mod">
        <pc:chgData name="Kopper, Jordan" userId="b70b14be-98b2-4048-a278-0b2ff614ef08" providerId="ADAL" clId="{C306FF50-8479-4715-8969-CDEBA8863634}" dt="2021-09-17T03:24:43.912" v="6843" actId="47"/>
        <pc:sldMkLst>
          <pc:docMk/>
          <pc:sldMk cId="1003240141" sldId="312"/>
        </pc:sldMkLst>
        <pc:spChg chg="add mod">
          <ac:chgData name="Kopper, Jordan" userId="b70b14be-98b2-4048-a278-0b2ff614ef08" providerId="ADAL" clId="{C306FF50-8479-4715-8969-CDEBA8863634}" dt="2021-09-16T13:48:48.400" v="5476" actId="20577"/>
          <ac:spMkLst>
            <pc:docMk/>
            <pc:sldMk cId="1003240141" sldId="312"/>
            <ac:spMk id="3" creationId="{F8D0612A-F579-4BEC-A511-AD8A6653096A}"/>
          </ac:spMkLst>
        </pc:spChg>
        <pc:picChg chg="add mod">
          <ac:chgData name="Kopper, Jordan" userId="b70b14be-98b2-4048-a278-0b2ff614ef08" providerId="ADAL" clId="{C306FF50-8479-4715-8969-CDEBA8863634}" dt="2021-09-16T13:58:33.635" v="5613" actId="1076"/>
          <ac:picMkLst>
            <pc:docMk/>
            <pc:sldMk cId="1003240141" sldId="312"/>
            <ac:picMk id="4" creationId="{3FBAE2A1-5249-4ED6-AAC3-8E50DF3145CC}"/>
          </ac:picMkLst>
        </pc:picChg>
      </pc:sldChg>
      <pc:sldChg chg="addSp delSp modSp add mod">
        <pc:chgData name="Kopper, Jordan" userId="b70b14be-98b2-4048-a278-0b2ff614ef08" providerId="ADAL" clId="{C306FF50-8479-4715-8969-CDEBA8863634}" dt="2021-09-17T03:54:24.033" v="7342" actId="20577"/>
        <pc:sldMkLst>
          <pc:docMk/>
          <pc:sldMk cId="3215549726" sldId="313"/>
        </pc:sldMkLst>
        <pc:spChg chg="mod">
          <ac:chgData name="Kopper, Jordan" userId="b70b14be-98b2-4048-a278-0b2ff614ef08" providerId="ADAL" clId="{C306FF50-8479-4715-8969-CDEBA8863634}" dt="2021-09-17T03:54:24.033" v="7342" actId="20577"/>
          <ac:spMkLst>
            <pc:docMk/>
            <pc:sldMk cId="3215549726" sldId="313"/>
            <ac:spMk id="2" creationId="{837EB5BE-E15E-4BB7-9DF9-57CAF803CCF0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3" creationId="{41805ACA-0411-4866-83B2-44D41797EC6A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96" creationId="{48A48F74-48E7-4E3A-AADC-7F9404831C44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00" creationId="{1E306C85-19A2-4B16-961E-BF8D3DD68815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01" creationId="{265850E3-F86B-4D0A-8CBA-664A357B6F4D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06" creationId="{D7AE6B2B-D5D3-4CB0-9579-49A2E4C204DA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08" creationId="{E5879A7E-DEF2-4E20-A7A2-22BFA6176F48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119" creationId="{6EDAE882-30BD-4F07-B4EF-1D6AB71D17F6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473" creationId="{6045506A-8956-435D-BE7D-4305C46575AA}"/>
          </ac:spMkLst>
        </pc:spChg>
        <pc:spChg chg="del">
          <ac:chgData name="Kopper, Jordan" userId="b70b14be-98b2-4048-a278-0b2ff614ef08" providerId="ADAL" clId="{C306FF50-8479-4715-8969-CDEBA8863634}" dt="2021-09-16T13:52:39.433" v="5516" actId="478"/>
          <ac:spMkLst>
            <pc:docMk/>
            <pc:sldMk cId="3215549726" sldId="313"/>
            <ac:spMk id="474" creationId="{21447E56-29C6-4286-B9F9-1F365CCAD89B}"/>
          </ac:spMkLst>
        </pc:spChg>
        <pc:grpChg chg="del">
          <ac:chgData name="Kopper, Jordan" userId="b70b14be-98b2-4048-a278-0b2ff614ef08" providerId="ADAL" clId="{C306FF50-8479-4715-8969-CDEBA8863634}" dt="2021-09-16T13:52:39.433" v="5516" actId="478"/>
          <ac:grpSpMkLst>
            <pc:docMk/>
            <pc:sldMk cId="3215549726" sldId="313"/>
            <ac:grpSpMk id="471" creationId="{F7037711-B132-4FAC-802F-D70047FEE177}"/>
          </ac:grpSpMkLst>
        </pc:grpChg>
        <pc:grpChg chg="del">
          <ac:chgData name="Kopper, Jordan" userId="b70b14be-98b2-4048-a278-0b2ff614ef08" providerId="ADAL" clId="{C306FF50-8479-4715-8969-CDEBA8863634}" dt="2021-09-16T13:52:39.433" v="5516" actId="478"/>
          <ac:grpSpMkLst>
            <pc:docMk/>
            <pc:sldMk cId="3215549726" sldId="313"/>
            <ac:grpSpMk id="472" creationId="{BFF58774-770B-4F15-8151-CB2E52463CDB}"/>
          </ac:grpSpMkLst>
        </pc:grpChg>
        <pc:grpChg chg="del">
          <ac:chgData name="Kopper, Jordan" userId="b70b14be-98b2-4048-a278-0b2ff614ef08" providerId="ADAL" clId="{C306FF50-8479-4715-8969-CDEBA8863634}" dt="2021-09-16T13:52:39.433" v="5516" actId="478"/>
          <ac:grpSpMkLst>
            <pc:docMk/>
            <pc:sldMk cId="3215549726" sldId="313"/>
            <ac:grpSpMk id="480" creationId="{E10B7209-2793-49FB-BD9F-2E6D7178CC56}"/>
          </ac:grpSpMkLst>
        </pc:grpChg>
        <pc:picChg chg="add mod">
          <ac:chgData name="Kopper, Jordan" userId="b70b14be-98b2-4048-a278-0b2ff614ef08" providerId="ADAL" clId="{C306FF50-8479-4715-8969-CDEBA8863634}" dt="2021-09-17T03:53:57.763" v="7307"/>
          <ac:picMkLst>
            <pc:docMk/>
            <pc:sldMk cId="3215549726" sldId="313"/>
            <ac:picMk id="5" creationId="{FE7CD6C5-D062-4CB9-A7C2-6C3989719B8B}"/>
          </ac:picMkLst>
        </pc:picChg>
        <pc:picChg chg="add del mod">
          <ac:chgData name="Kopper, Jordan" userId="b70b14be-98b2-4048-a278-0b2ff614ef08" providerId="ADAL" clId="{C306FF50-8479-4715-8969-CDEBA8863634}" dt="2021-09-17T03:53:45.146" v="7305" actId="478"/>
          <ac:picMkLst>
            <pc:docMk/>
            <pc:sldMk cId="3215549726" sldId="313"/>
            <ac:picMk id="95" creationId="{D647DD4F-8AA0-44AB-A641-CDFC972F2912}"/>
          </ac:picMkLst>
        </pc:picChg>
        <pc:picChg chg="del">
          <ac:chgData name="Kopper, Jordan" userId="b70b14be-98b2-4048-a278-0b2ff614ef08" providerId="ADAL" clId="{C306FF50-8479-4715-8969-CDEBA8863634}" dt="2021-09-16T13:52:39.433" v="5516" actId="478"/>
          <ac:picMkLst>
            <pc:docMk/>
            <pc:sldMk cId="3215549726" sldId="313"/>
            <ac:picMk id="121" creationId="{60EA7269-D836-4F8F-AD50-35F50F435C66}"/>
          </ac:picMkLst>
        </pc:picChg>
      </pc:sldChg>
      <pc:sldChg chg="addSp modSp new del">
        <pc:chgData name="Kopper, Jordan" userId="b70b14be-98b2-4048-a278-0b2ff614ef08" providerId="ADAL" clId="{C306FF50-8479-4715-8969-CDEBA8863634}" dt="2021-09-16T13:52:22.813" v="5493" actId="2696"/>
        <pc:sldMkLst>
          <pc:docMk/>
          <pc:sldMk cId="3291292633" sldId="313"/>
        </pc:sldMkLst>
        <pc:spChg chg="add mod">
          <ac:chgData name="Kopper, Jordan" userId="b70b14be-98b2-4048-a278-0b2ff614ef08" providerId="ADAL" clId="{C306FF50-8479-4715-8969-CDEBA8863634}" dt="2021-09-16T13:52:19.871" v="5492"/>
          <ac:spMkLst>
            <pc:docMk/>
            <pc:sldMk cId="3291292633" sldId="313"/>
            <ac:spMk id="4" creationId="{93F8B5BF-FD36-4CA8-9018-B848F70D53C6}"/>
          </ac:spMkLst>
        </pc:spChg>
      </pc:sldChg>
      <pc:sldChg chg="addSp delSp modSp add mod modAnim">
        <pc:chgData name="Kopper, Jordan" userId="b70b14be-98b2-4048-a278-0b2ff614ef08" providerId="ADAL" clId="{C306FF50-8479-4715-8969-CDEBA8863634}" dt="2021-09-23T12:54:24.790" v="9108" actId="478"/>
        <pc:sldMkLst>
          <pc:docMk/>
          <pc:sldMk cId="1621564224" sldId="314"/>
        </pc:sldMkLst>
        <pc:spChg chg="mod">
          <ac:chgData name="Kopper, Jordan" userId="b70b14be-98b2-4048-a278-0b2ff614ef08" providerId="ADAL" clId="{C306FF50-8479-4715-8969-CDEBA8863634}" dt="2021-09-17T04:07:55.878" v="7834" actId="1076"/>
          <ac:spMkLst>
            <pc:docMk/>
            <pc:sldMk cId="1621564224" sldId="314"/>
            <ac:spMk id="2" creationId="{F22DA72C-2850-4761-B572-DE5BC3A47932}"/>
          </ac:spMkLst>
        </pc:spChg>
        <pc:spChg chg="mod">
          <ac:chgData name="Kopper, Jordan" userId="b70b14be-98b2-4048-a278-0b2ff614ef08" providerId="ADAL" clId="{C306FF50-8479-4715-8969-CDEBA8863634}" dt="2021-09-23T12:54:20.179" v="9107" actId="113"/>
          <ac:spMkLst>
            <pc:docMk/>
            <pc:sldMk cId="1621564224" sldId="314"/>
            <ac:spMk id="3" creationId="{0B7CF994-BEA8-4F7F-B9E8-5D536B9606C3}"/>
          </ac:spMkLst>
        </pc:spChg>
        <pc:spChg chg="del">
          <ac:chgData name="Kopper, Jordan" userId="b70b14be-98b2-4048-a278-0b2ff614ef08" providerId="ADAL" clId="{C306FF50-8479-4715-8969-CDEBA8863634}" dt="2021-09-17T02:17:32.754" v="5632" actId="478"/>
          <ac:spMkLst>
            <pc:docMk/>
            <pc:sldMk cId="1621564224" sldId="314"/>
            <ac:spMk id="3" creationId="{84A79C6A-EBA0-42E9-A564-9C43AAE163F5}"/>
          </ac:spMkLst>
        </pc:spChg>
        <pc:spChg chg="del">
          <ac:chgData name="Kopper, Jordan" userId="b70b14be-98b2-4048-a278-0b2ff614ef08" providerId="ADAL" clId="{C306FF50-8479-4715-8969-CDEBA8863634}" dt="2021-09-17T02:17:25.626" v="5630" actId="478"/>
          <ac:spMkLst>
            <pc:docMk/>
            <pc:sldMk cId="1621564224" sldId="314"/>
            <ac:spMk id="6" creationId="{77E30E97-1405-4469-8FF9-D6817B2BE588}"/>
          </ac:spMkLst>
        </pc:spChg>
        <pc:spChg chg="del">
          <ac:chgData name="Kopper, Jordan" userId="b70b14be-98b2-4048-a278-0b2ff614ef08" providerId="ADAL" clId="{C306FF50-8479-4715-8969-CDEBA8863634}" dt="2021-09-17T02:17:29.870" v="5631" actId="478"/>
          <ac:spMkLst>
            <pc:docMk/>
            <pc:sldMk cId="1621564224" sldId="314"/>
            <ac:spMk id="7" creationId="{65EDD5F9-0E69-4FF7-B760-B027482E931B}"/>
          </ac:spMkLst>
        </pc:spChg>
        <pc:spChg chg="del">
          <ac:chgData name="Kopper, Jordan" userId="b70b14be-98b2-4048-a278-0b2ff614ef08" providerId="ADAL" clId="{C306FF50-8479-4715-8969-CDEBA8863634}" dt="2021-09-17T02:17:35.992" v="5633" actId="478"/>
          <ac:spMkLst>
            <pc:docMk/>
            <pc:sldMk cId="1621564224" sldId="314"/>
            <ac:spMk id="8" creationId="{348FE470-12B1-4815-8760-45F3C8BC904D}"/>
          </ac:spMkLst>
        </pc:spChg>
        <pc:spChg chg="add mod">
          <ac:chgData name="Kopper, Jordan" userId="b70b14be-98b2-4048-a278-0b2ff614ef08" providerId="ADAL" clId="{C306FF50-8479-4715-8969-CDEBA8863634}" dt="2021-09-17T04:20:11.621" v="8148" actId="208"/>
          <ac:spMkLst>
            <pc:docMk/>
            <pc:sldMk cId="1621564224" sldId="314"/>
            <ac:spMk id="10" creationId="{9CFCBA72-62CC-419E-A680-A211C090F9EE}"/>
          </ac:spMkLst>
        </pc:spChg>
        <pc:spChg chg="add mod">
          <ac:chgData name="Kopper, Jordan" userId="b70b14be-98b2-4048-a278-0b2ff614ef08" providerId="ADAL" clId="{C306FF50-8479-4715-8969-CDEBA8863634}" dt="2021-09-17T04:23:38.696" v="8189" actId="207"/>
          <ac:spMkLst>
            <pc:docMk/>
            <pc:sldMk cId="1621564224" sldId="314"/>
            <ac:spMk id="13" creationId="{CCDBC3CC-EF6F-4E4D-89DB-E6FBEB3844BD}"/>
          </ac:spMkLst>
        </pc:spChg>
        <pc:spChg chg="add del mod">
          <ac:chgData name="Kopper, Jordan" userId="b70b14be-98b2-4048-a278-0b2ff614ef08" providerId="ADAL" clId="{C306FF50-8479-4715-8969-CDEBA8863634}" dt="2021-09-17T04:09:16.763" v="7853" actId="478"/>
          <ac:spMkLst>
            <pc:docMk/>
            <pc:sldMk cId="1621564224" sldId="314"/>
            <ac:spMk id="14" creationId="{5AAE82BB-9442-49B0-973A-9C87D57BC2E0}"/>
          </ac:spMkLst>
        </pc:spChg>
        <pc:spChg chg="add mod">
          <ac:chgData name="Kopper, Jordan" userId="b70b14be-98b2-4048-a278-0b2ff614ef08" providerId="ADAL" clId="{C306FF50-8479-4715-8969-CDEBA8863634}" dt="2021-09-17T04:13:52.573" v="7895" actId="14100"/>
          <ac:spMkLst>
            <pc:docMk/>
            <pc:sldMk cId="1621564224" sldId="314"/>
            <ac:spMk id="15" creationId="{8D418F3F-24C0-4443-AB3B-6B97C8583F81}"/>
          </ac:spMkLst>
        </pc:spChg>
        <pc:spChg chg="add del mod">
          <ac:chgData name="Kopper, Jordan" userId="b70b14be-98b2-4048-a278-0b2ff614ef08" providerId="ADAL" clId="{C306FF50-8479-4715-8969-CDEBA8863634}" dt="2021-09-17T04:10:44.044" v="7867" actId="767"/>
          <ac:spMkLst>
            <pc:docMk/>
            <pc:sldMk cId="1621564224" sldId="314"/>
            <ac:spMk id="16" creationId="{A8526404-93C8-4E9C-B825-5FF0AACEE975}"/>
          </ac:spMkLst>
        </pc:spChg>
        <pc:spChg chg="add del mod">
          <ac:chgData name="Kopper, Jordan" userId="b70b14be-98b2-4048-a278-0b2ff614ef08" providerId="ADAL" clId="{C306FF50-8479-4715-8969-CDEBA8863634}" dt="2021-09-17T04:11:01.372" v="7870" actId="478"/>
          <ac:spMkLst>
            <pc:docMk/>
            <pc:sldMk cId="1621564224" sldId="314"/>
            <ac:spMk id="17" creationId="{76BACFC1-159D-40F4-AD75-1F83BF75FF9E}"/>
          </ac:spMkLst>
        </pc:spChg>
        <pc:spChg chg="add mod">
          <ac:chgData name="Kopper, Jordan" userId="b70b14be-98b2-4048-a278-0b2ff614ef08" providerId="ADAL" clId="{C306FF50-8479-4715-8969-CDEBA8863634}" dt="2021-09-17T04:14:11.037" v="7900" actId="1076"/>
          <ac:spMkLst>
            <pc:docMk/>
            <pc:sldMk cId="1621564224" sldId="314"/>
            <ac:spMk id="18" creationId="{F5E420C8-CA50-452B-9325-4E98F8819367}"/>
          </ac:spMkLst>
        </pc:spChg>
        <pc:spChg chg="add mod">
          <ac:chgData name="Kopper, Jordan" userId="b70b14be-98b2-4048-a278-0b2ff614ef08" providerId="ADAL" clId="{C306FF50-8479-4715-8969-CDEBA8863634}" dt="2021-09-17T04:14:33.100" v="7908" actId="1076"/>
          <ac:spMkLst>
            <pc:docMk/>
            <pc:sldMk cId="1621564224" sldId="314"/>
            <ac:spMk id="22" creationId="{3712EF34-BAE0-4BFD-B359-7AFFB9AE74D6}"/>
          </ac:spMkLst>
        </pc:spChg>
        <pc:spChg chg="add mod">
          <ac:chgData name="Kopper, Jordan" userId="b70b14be-98b2-4048-a278-0b2ff614ef08" providerId="ADAL" clId="{C306FF50-8479-4715-8969-CDEBA8863634}" dt="2021-09-17T04:14:43.750" v="7917" actId="1036"/>
          <ac:spMkLst>
            <pc:docMk/>
            <pc:sldMk cId="1621564224" sldId="314"/>
            <ac:spMk id="23" creationId="{4AC5DD38-93A6-425C-A659-C6B058C0DCAB}"/>
          </ac:spMkLst>
        </pc:spChg>
        <pc:spChg chg="add mod">
          <ac:chgData name="Kopper, Jordan" userId="b70b14be-98b2-4048-a278-0b2ff614ef08" providerId="ADAL" clId="{C306FF50-8479-4715-8969-CDEBA8863634}" dt="2021-09-17T04:14:57.988" v="7922" actId="14100"/>
          <ac:spMkLst>
            <pc:docMk/>
            <pc:sldMk cId="1621564224" sldId="314"/>
            <ac:spMk id="24" creationId="{917C0F9D-4C2D-40D6-A0BA-C70922208950}"/>
          </ac:spMkLst>
        </pc:spChg>
        <pc:spChg chg="add mod">
          <ac:chgData name="Kopper, Jordan" userId="b70b14be-98b2-4048-a278-0b2ff614ef08" providerId="ADAL" clId="{C306FF50-8479-4715-8969-CDEBA8863634}" dt="2021-09-17T04:15:23.620" v="7933" actId="14100"/>
          <ac:spMkLst>
            <pc:docMk/>
            <pc:sldMk cId="1621564224" sldId="314"/>
            <ac:spMk id="25" creationId="{3B3993FF-8C04-43B4-83E2-E95353EE1DBD}"/>
          </ac:spMkLst>
        </pc:spChg>
        <pc:spChg chg="mod">
          <ac:chgData name="Kopper, Jordan" userId="b70b14be-98b2-4048-a278-0b2ff614ef08" providerId="ADAL" clId="{C306FF50-8479-4715-8969-CDEBA8863634}" dt="2021-09-23T12:54:18.164" v="9106" actId="113"/>
          <ac:spMkLst>
            <pc:docMk/>
            <pc:sldMk cId="1621564224" sldId="314"/>
            <ac:spMk id="26" creationId="{621E4F60-7B57-4799-834B-EAF995331D76}"/>
          </ac:spMkLst>
        </pc:spChg>
        <pc:spChg chg="add del mod">
          <ac:chgData name="Kopper, Jordan" userId="b70b14be-98b2-4048-a278-0b2ff614ef08" providerId="ADAL" clId="{C306FF50-8479-4715-8969-CDEBA8863634}" dt="2021-09-17T04:16:05.906" v="7936" actId="478"/>
          <ac:spMkLst>
            <pc:docMk/>
            <pc:sldMk cId="1621564224" sldId="314"/>
            <ac:spMk id="26" creationId="{92A75531-FB62-4F62-B97B-FAD1A83C72B3}"/>
          </ac:spMkLst>
        </pc:spChg>
        <pc:spChg chg="add mod">
          <ac:chgData name="Kopper, Jordan" userId="b70b14be-98b2-4048-a278-0b2ff614ef08" providerId="ADAL" clId="{C306FF50-8479-4715-8969-CDEBA8863634}" dt="2021-09-23T12:51:28.604" v="9092" actId="1076"/>
          <ac:spMkLst>
            <pc:docMk/>
            <pc:sldMk cId="1621564224" sldId="314"/>
            <ac:spMk id="28" creationId="{6654D160-6E37-4307-B9A2-5833F4EB22D9}"/>
          </ac:spMkLst>
        </pc:spChg>
        <pc:spChg chg="add mod">
          <ac:chgData name="Kopper, Jordan" userId="b70b14be-98b2-4048-a278-0b2ff614ef08" providerId="ADAL" clId="{C306FF50-8479-4715-8969-CDEBA8863634}" dt="2021-09-17T13:03:13.943" v="8912" actId="20577"/>
          <ac:spMkLst>
            <pc:docMk/>
            <pc:sldMk cId="1621564224" sldId="314"/>
            <ac:spMk id="29" creationId="{5856DDE5-6677-4240-9E9D-48136144F18C}"/>
          </ac:spMkLst>
        </pc:spChg>
        <pc:spChg chg="add mod">
          <ac:chgData name="Kopper, Jordan" userId="b70b14be-98b2-4048-a278-0b2ff614ef08" providerId="ADAL" clId="{C306FF50-8479-4715-8969-CDEBA8863634}" dt="2021-09-17T04:19:35.179" v="8143" actId="1076"/>
          <ac:spMkLst>
            <pc:docMk/>
            <pc:sldMk cId="1621564224" sldId="314"/>
            <ac:spMk id="31" creationId="{2ACD1C9D-E1E5-406A-B0DE-892B04AA2DC6}"/>
          </ac:spMkLst>
        </pc:spChg>
        <pc:spChg chg="add mod">
          <ac:chgData name="Kopper, Jordan" userId="b70b14be-98b2-4048-a278-0b2ff614ef08" providerId="ADAL" clId="{C306FF50-8479-4715-8969-CDEBA8863634}" dt="2021-09-17T04:19:35.179" v="8143" actId="1076"/>
          <ac:spMkLst>
            <pc:docMk/>
            <pc:sldMk cId="1621564224" sldId="314"/>
            <ac:spMk id="33" creationId="{A7BA0AC6-956A-4369-A1F9-43EEE2F73AE5}"/>
          </ac:spMkLst>
        </pc:spChg>
        <pc:spChg chg="add mod">
          <ac:chgData name="Kopper, Jordan" userId="b70b14be-98b2-4048-a278-0b2ff614ef08" providerId="ADAL" clId="{C306FF50-8479-4715-8969-CDEBA8863634}" dt="2021-09-17T04:22:48.147" v="8170" actId="1076"/>
          <ac:spMkLst>
            <pc:docMk/>
            <pc:sldMk cId="1621564224" sldId="314"/>
            <ac:spMk id="35" creationId="{E9DA7BA0-4880-4A3F-8C67-2A1015393E4B}"/>
          </ac:spMkLst>
        </pc:spChg>
        <pc:spChg chg="add mod">
          <ac:chgData name="Kopper, Jordan" userId="b70b14be-98b2-4048-a278-0b2ff614ef08" providerId="ADAL" clId="{C306FF50-8479-4715-8969-CDEBA8863634}" dt="2021-09-17T04:23:01.514" v="8185" actId="1076"/>
          <ac:spMkLst>
            <pc:docMk/>
            <pc:sldMk cId="1621564224" sldId="314"/>
            <ac:spMk id="37" creationId="{43E89413-011F-4E3F-BE46-52ACC8605AFC}"/>
          </ac:spMkLst>
        </pc:spChg>
        <pc:spChg chg="del">
          <ac:chgData name="Kopper, Jordan" userId="b70b14be-98b2-4048-a278-0b2ff614ef08" providerId="ADAL" clId="{C306FF50-8479-4715-8969-CDEBA8863634}" dt="2021-09-23T12:54:24.790" v="9108" actId="478"/>
          <ac:spMkLst>
            <pc:docMk/>
            <pc:sldMk cId="1621564224" sldId="314"/>
            <ac:spMk id="40" creationId="{A0F497C9-5CED-4F83-AA8D-B5A8478837B7}"/>
          </ac:spMkLst>
        </pc:spChg>
        <pc:picChg chg="del">
          <ac:chgData name="Kopper, Jordan" userId="b70b14be-98b2-4048-a278-0b2ff614ef08" providerId="ADAL" clId="{C306FF50-8479-4715-8969-CDEBA8863634}" dt="2021-09-17T02:17:24.437" v="5629" actId="478"/>
          <ac:picMkLst>
            <pc:docMk/>
            <pc:sldMk cId="1621564224" sldId="314"/>
            <ac:picMk id="5" creationId="{CB569C69-F6F7-4AD0-B73D-8ECA2073FD45}"/>
          </ac:picMkLst>
        </pc:picChg>
        <pc:picChg chg="del">
          <ac:chgData name="Kopper, Jordan" userId="b70b14be-98b2-4048-a278-0b2ff614ef08" providerId="ADAL" clId="{C306FF50-8479-4715-8969-CDEBA8863634}" dt="2021-09-17T03:53:33.907" v="7302" actId="478"/>
          <ac:picMkLst>
            <pc:docMk/>
            <pc:sldMk cId="1621564224" sldId="314"/>
            <ac:picMk id="9" creationId="{5BDA469F-03AC-4DC6-8F21-C749513094C1}"/>
          </ac:picMkLst>
        </pc:picChg>
        <pc:picChg chg="mod">
          <ac:chgData name="Kopper, Jordan" userId="b70b14be-98b2-4048-a278-0b2ff614ef08" providerId="ADAL" clId="{C306FF50-8479-4715-8969-CDEBA8863634}" dt="2021-09-17T13:46:17.698" v="8914" actId="1076"/>
          <ac:picMkLst>
            <pc:docMk/>
            <pc:sldMk cId="1621564224" sldId="314"/>
            <ac:picMk id="11" creationId="{4A6B2D85-12A4-4DF9-A7BF-07D54B4E83EB}"/>
          </ac:picMkLst>
        </pc:picChg>
        <pc:picChg chg="add mod">
          <ac:chgData name="Kopper, Jordan" userId="b70b14be-98b2-4048-a278-0b2ff614ef08" providerId="ADAL" clId="{C306FF50-8479-4715-8969-CDEBA8863634}" dt="2021-09-17T03:53:25.716" v="7298"/>
          <ac:picMkLst>
            <pc:docMk/>
            <pc:sldMk cId="1621564224" sldId="314"/>
            <ac:picMk id="12" creationId="{EB294528-5B41-473F-9AD2-4FCE28978DF9}"/>
          </ac:picMkLst>
        </pc:picChg>
        <pc:cxnChg chg="add mod">
          <ac:chgData name="Kopper, Jordan" userId="b70b14be-98b2-4048-a278-0b2ff614ef08" providerId="ADAL" clId="{C306FF50-8479-4715-8969-CDEBA8863634}" dt="2021-09-17T04:13:36.771" v="7892" actId="208"/>
          <ac:cxnSpMkLst>
            <pc:docMk/>
            <pc:sldMk cId="1621564224" sldId="314"/>
            <ac:cxnSpMk id="20" creationId="{4E208697-2616-4189-BCD4-A1576CA6EFF0}"/>
          </ac:cxnSpMkLst>
        </pc:cxnChg>
        <pc:cxnChg chg="add mod">
          <ac:chgData name="Kopper, Jordan" userId="b70b14be-98b2-4048-a278-0b2ff614ef08" providerId="ADAL" clId="{C306FF50-8479-4715-8969-CDEBA8863634}" dt="2021-09-17T04:19:35.179" v="8143" actId="1076"/>
          <ac:cxnSpMkLst>
            <pc:docMk/>
            <pc:sldMk cId="1621564224" sldId="314"/>
            <ac:cxnSpMk id="27" creationId="{08FCC9BC-D41A-45F1-870E-BBA7E5AA1554}"/>
          </ac:cxnSpMkLst>
        </pc:cxnChg>
        <pc:cxnChg chg="add mod">
          <ac:chgData name="Kopper, Jordan" userId="b70b14be-98b2-4048-a278-0b2ff614ef08" providerId="ADAL" clId="{C306FF50-8479-4715-8969-CDEBA8863634}" dt="2021-09-17T04:19:35.179" v="8143" actId="1076"/>
          <ac:cxnSpMkLst>
            <pc:docMk/>
            <pc:sldMk cId="1621564224" sldId="314"/>
            <ac:cxnSpMk id="30" creationId="{B6387F69-237A-47BF-BD06-F3D4FB0AB2B7}"/>
          </ac:cxnSpMkLst>
        </pc:cxnChg>
        <pc:cxnChg chg="add mod">
          <ac:chgData name="Kopper, Jordan" userId="b70b14be-98b2-4048-a278-0b2ff614ef08" providerId="ADAL" clId="{C306FF50-8479-4715-8969-CDEBA8863634}" dt="2021-09-17T04:19:35.179" v="8143" actId="1076"/>
          <ac:cxnSpMkLst>
            <pc:docMk/>
            <pc:sldMk cId="1621564224" sldId="314"/>
            <ac:cxnSpMk id="32" creationId="{EA68D72D-47FA-4C24-82C5-16C69D41DC39}"/>
          </ac:cxnSpMkLst>
        </pc:cxnChg>
        <pc:cxnChg chg="add mod">
          <ac:chgData name="Kopper, Jordan" userId="b70b14be-98b2-4048-a278-0b2ff614ef08" providerId="ADAL" clId="{C306FF50-8479-4715-8969-CDEBA8863634}" dt="2021-09-17T04:23:11.827" v="8187" actId="1076"/>
          <ac:cxnSpMkLst>
            <pc:docMk/>
            <pc:sldMk cId="1621564224" sldId="314"/>
            <ac:cxnSpMk id="34" creationId="{E1FC1BAB-39B3-43EF-83F8-0F46105B7149}"/>
          </ac:cxnSpMkLst>
        </pc:cxnChg>
        <pc:cxnChg chg="add mod">
          <ac:chgData name="Kopper, Jordan" userId="b70b14be-98b2-4048-a278-0b2ff614ef08" providerId="ADAL" clId="{C306FF50-8479-4715-8969-CDEBA8863634}" dt="2021-09-17T04:23:07.635" v="8186" actId="1076"/>
          <ac:cxnSpMkLst>
            <pc:docMk/>
            <pc:sldMk cId="1621564224" sldId="314"/>
            <ac:cxnSpMk id="36" creationId="{54569DD7-F3DC-4748-A32A-ECD0323A3B9F}"/>
          </ac:cxnSpMkLst>
        </pc:cxnChg>
      </pc:sldChg>
      <pc:sldChg chg="addSp delSp modSp add mod modTransition modAnim">
        <pc:chgData name="Kopper, Jordan" userId="b70b14be-98b2-4048-a278-0b2ff614ef08" providerId="ADAL" clId="{C306FF50-8479-4715-8969-CDEBA8863634}" dt="2021-09-17T14:09:35.289" v="9076"/>
        <pc:sldMkLst>
          <pc:docMk/>
          <pc:sldMk cId="1309452986" sldId="315"/>
        </pc:sldMkLst>
        <pc:spChg chg="mod">
          <ac:chgData name="Kopper, Jordan" userId="b70b14be-98b2-4048-a278-0b2ff614ef08" providerId="ADAL" clId="{C306FF50-8479-4715-8969-CDEBA8863634}" dt="2021-09-17T03:51:50.059" v="7282" actId="14100"/>
          <ac:spMkLst>
            <pc:docMk/>
            <pc:sldMk cId="1309452986" sldId="315"/>
            <ac:spMk id="2" creationId="{C7B838FD-C1FD-40B9-9F72-2E8A22D69B17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39" creationId="{3391AFB7-4006-423F-BF25-B348B5D34053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40" creationId="{B5114739-651E-4F7A-A652-EF684A21FFC6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1" creationId="{D3D5195E-FACF-4323-9D58-B476EF04577B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42" creationId="{05725F0B-4685-4DA5-84CB-30A24F702C42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3" creationId="{47ED573E-C941-4AF5-AC31-033EB83BED9F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44" creationId="{80AA1634-4F7D-4A70-A767-79C2E1D40D7A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5" creationId="{9DFA985A-DDBB-416B-AA28-F61B66E4B68B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6" creationId="{8CBF3842-E8D5-4105-9426-6FEADB6B427E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49" creationId="{77BE9510-FF65-4074-91DD-B3DA6629A19C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50" creationId="{DC16D5E8-BB88-4767-B72C-0F3E76E00D49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52" creationId="{25491A41-6070-4292-B80E-4136F40B3B6E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53" creationId="{CF86E901-272A-451B-9E0C-A2A977361C3C}"/>
          </ac:spMkLst>
        </pc:spChg>
        <pc:spChg chg="del">
          <ac:chgData name="Kopper, Jordan" userId="b70b14be-98b2-4048-a278-0b2ff614ef08" providerId="ADAL" clId="{C306FF50-8479-4715-8969-CDEBA8863634}" dt="2021-09-17T03:24:48.204" v="6844" actId="478"/>
          <ac:spMkLst>
            <pc:docMk/>
            <pc:sldMk cId="1309452986" sldId="315"/>
            <ac:spMk id="74" creationId="{02A69F23-4BB1-4F52-B80F-76AC5FA46FCF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89" creationId="{693A950A-486B-466C-B47C-7D435501198A}"/>
          </ac:spMkLst>
        </pc:spChg>
        <pc:spChg chg="del">
          <ac:chgData name="Kopper, Jordan" userId="b70b14be-98b2-4048-a278-0b2ff614ef08" providerId="ADAL" clId="{C306FF50-8479-4715-8969-CDEBA8863634}" dt="2021-09-17T03:24:50.500" v="6845" actId="478"/>
          <ac:spMkLst>
            <pc:docMk/>
            <pc:sldMk cId="1309452986" sldId="315"/>
            <ac:spMk id="90" creationId="{900020FD-385D-49CE-BA9B-DA630F80C4D1}"/>
          </ac:spMkLst>
        </pc:spChg>
        <pc:grpChg chg="del">
          <ac:chgData name="Kopper, Jordan" userId="b70b14be-98b2-4048-a278-0b2ff614ef08" providerId="ADAL" clId="{C306FF50-8479-4715-8969-CDEBA8863634}" dt="2021-09-17T03:24:50.500" v="6845" actId="478"/>
          <ac:grpSpMkLst>
            <pc:docMk/>
            <pc:sldMk cId="1309452986" sldId="315"/>
            <ac:grpSpMk id="54" creationId="{1F3D4CA7-7925-4A59-B48D-285F8BA7B493}"/>
          </ac:grpSpMkLst>
        </pc:grpChg>
        <pc:grpChg chg="del">
          <ac:chgData name="Kopper, Jordan" userId="b70b14be-98b2-4048-a278-0b2ff614ef08" providerId="ADAL" clId="{C306FF50-8479-4715-8969-CDEBA8863634}" dt="2021-09-17T03:24:50.500" v="6845" actId="478"/>
          <ac:grpSpMkLst>
            <pc:docMk/>
            <pc:sldMk cId="1309452986" sldId="315"/>
            <ac:grpSpMk id="57" creationId="{44DD80B8-EA31-48DD-96AA-F2B51FB5A210}"/>
          </ac:grpSpMkLst>
        </pc:grpChg>
        <pc:grpChg chg="del">
          <ac:chgData name="Kopper, Jordan" userId="b70b14be-98b2-4048-a278-0b2ff614ef08" providerId="ADAL" clId="{C306FF50-8479-4715-8969-CDEBA8863634}" dt="2021-09-17T03:24:50.500" v="6845" actId="478"/>
          <ac:grpSpMkLst>
            <pc:docMk/>
            <pc:sldMk cId="1309452986" sldId="315"/>
            <ac:grpSpMk id="60" creationId="{71D0C9C6-BB4E-48D8-8320-80AEA26581DD}"/>
          </ac:grpSpMkLst>
        </pc:grpChg>
        <pc:grpChg chg="del">
          <ac:chgData name="Kopper, Jordan" userId="b70b14be-98b2-4048-a278-0b2ff614ef08" providerId="ADAL" clId="{C306FF50-8479-4715-8969-CDEBA8863634}" dt="2021-09-17T03:24:48.204" v="6844" actId="478"/>
          <ac:grpSpMkLst>
            <pc:docMk/>
            <pc:sldMk cId="1309452986" sldId="315"/>
            <ac:grpSpMk id="76" creationId="{41F2C462-148A-4C53-82E1-5245EDAED0A3}"/>
          </ac:grpSpMkLst>
        </pc:grpChg>
        <pc:grpChg chg="del">
          <ac:chgData name="Kopper, Jordan" userId="b70b14be-98b2-4048-a278-0b2ff614ef08" providerId="ADAL" clId="{C306FF50-8479-4715-8969-CDEBA8863634}" dt="2021-09-17T03:24:48.204" v="6844" actId="478"/>
          <ac:grpSpMkLst>
            <pc:docMk/>
            <pc:sldMk cId="1309452986" sldId="315"/>
            <ac:grpSpMk id="80" creationId="{BE9E2572-69A2-4B60-8F55-BBABF3E7DABE}"/>
          </ac:grpSpMkLst>
        </pc:grpChg>
        <pc:grpChg chg="del">
          <ac:chgData name="Kopper, Jordan" userId="b70b14be-98b2-4048-a278-0b2ff614ef08" providerId="ADAL" clId="{C306FF50-8479-4715-8969-CDEBA8863634}" dt="2021-09-17T03:24:50.500" v="6845" actId="478"/>
          <ac:grpSpMkLst>
            <pc:docMk/>
            <pc:sldMk cId="1309452986" sldId="315"/>
            <ac:grpSpMk id="83" creationId="{0E3229AF-A5AF-4320-8775-B4D0243C5D0B}"/>
          </ac:grpSpMkLst>
        </pc:grpChg>
        <pc:picChg chg="add del mod">
          <ac:chgData name="Kopper, Jordan" userId="b70b14be-98b2-4048-a278-0b2ff614ef08" providerId="ADAL" clId="{C306FF50-8479-4715-8969-CDEBA8863634}" dt="2021-09-17T03:52:27.189" v="7289" actId="478"/>
          <ac:picMkLst>
            <pc:docMk/>
            <pc:sldMk cId="1309452986" sldId="315"/>
            <ac:picMk id="4" creationId="{D786F5E3-3CAC-4AFB-9A34-C9CE33EC3170}"/>
          </ac:picMkLst>
        </pc:picChg>
        <pc:picChg chg="add mod">
          <ac:chgData name="Kopper, Jordan" userId="b70b14be-98b2-4048-a278-0b2ff614ef08" providerId="ADAL" clId="{C306FF50-8479-4715-8969-CDEBA8863634}" dt="2021-09-17T03:52:42.089" v="7293" actId="1076"/>
          <ac:picMkLst>
            <pc:docMk/>
            <pc:sldMk cId="1309452986" sldId="315"/>
            <ac:picMk id="6" creationId="{807CA738-4E4D-424A-A51D-5B7D729AA634}"/>
          </ac:picMkLst>
        </pc:picChg>
        <pc:picChg chg="add mod">
          <ac:chgData name="Kopper, Jordan" userId="b70b14be-98b2-4048-a278-0b2ff614ef08" providerId="ADAL" clId="{C306FF50-8479-4715-8969-CDEBA8863634}" dt="2021-09-17T14:09:35.289" v="9076"/>
          <ac:picMkLst>
            <pc:docMk/>
            <pc:sldMk cId="1309452986" sldId="315"/>
            <ac:picMk id="36" creationId="{C21529FE-0237-42CD-B882-F4E53D092A3A}"/>
          </ac:picMkLst>
        </pc:picChg>
        <pc:picChg chg="add del mod">
          <ac:chgData name="Kopper, Jordan" userId="b70b14be-98b2-4048-a278-0b2ff614ef08" providerId="ADAL" clId="{C306FF50-8479-4715-8969-CDEBA8863634}" dt="2021-09-17T14:09:31.894" v="9075" actId="478"/>
          <ac:picMkLst>
            <pc:docMk/>
            <pc:sldMk cId="1309452986" sldId="315"/>
            <ac:picMk id="73" creationId="{19047A9D-3EBF-419F-907C-A7D86B3E027D}"/>
          </ac:picMkLst>
        </pc:picChg>
      </pc:sldChg>
      <pc:sldChg chg="add del">
        <pc:chgData name="Kopper, Jordan" userId="b70b14be-98b2-4048-a278-0b2ff614ef08" providerId="ADAL" clId="{C306FF50-8479-4715-8969-CDEBA8863634}" dt="2021-09-17T03:01:19.434" v="6401"/>
        <pc:sldMkLst>
          <pc:docMk/>
          <pc:sldMk cId="2689561385" sldId="315"/>
        </pc:sldMkLst>
      </pc:sldChg>
      <pc:sldChg chg="addSp modSp add mod modAnim">
        <pc:chgData name="Kopper, Jordan" userId="b70b14be-98b2-4048-a278-0b2ff614ef08" providerId="ADAL" clId="{C306FF50-8479-4715-8969-CDEBA8863634}" dt="2021-09-17T14:09:24.857" v="9074"/>
        <pc:sldMkLst>
          <pc:docMk/>
          <pc:sldMk cId="365928129" sldId="316"/>
        </pc:sldMkLst>
        <pc:spChg chg="mod">
          <ac:chgData name="Kopper, Jordan" userId="b70b14be-98b2-4048-a278-0b2ff614ef08" providerId="ADAL" clId="{C306FF50-8479-4715-8969-CDEBA8863634}" dt="2021-09-17T03:25:23.839" v="6870" actId="404"/>
          <ac:spMkLst>
            <pc:docMk/>
            <pc:sldMk cId="365928129" sldId="316"/>
            <ac:spMk id="2" creationId="{C7B838FD-C1FD-40B9-9F72-2E8A22D69B17}"/>
          </ac:spMkLst>
        </pc:spChg>
        <pc:picChg chg="add mod">
          <ac:chgData name="Kopper, Jordan" userId="b70b14be-98b2-4048-a278-0b2ff614ef08" providerId="ADAL" clId="{C306FF50-8479-4715-8969-CDEBA8863634}" dt="2021-09-17T03:50:05.435" v="7254" actId="1076"/>
          <ac:picMkLst>
            <pc:docMk/>
            <pc:sldMk cId="365928129" sldId="316"/>
            <ac:picMk id="36" creationId="{66AF54D8-D6A6-422B-A50B-661E874319EB}"/>
          </ac:picMkLst>
        </pc:picChg>
        <pc:picChg chg="add mod">
          <ac:chgData name="Kopper, Jordan" userId="b70b14be-98b2-4048-a278-0b2ff614ef08" providerId="ADAL" clId="{C306FF50-8479-4715-8969-CDEBA8863634}" dt="2021-09-17T14:09:24.857" v="9074"/>
          <ac:picMkLst>
            <pc:docMk/>
            <pc:sldMk cId="365928129" sldId="316"/>
            <ac:picMk id="39" creationId="{2D179C53-365E-4D77-ADF8-1582A37A084A}"/>
          </ac:picMkLst>
        </pc:picChg>
      </pc:sldChg>
      <pc:sldChg chg="add del">
        <pc:chgData name="Kopper, Jordan" userId="b70b14be-98b2-4048-a278-0b2ff614ef08" providerId="ADAL" clId="{C306FF50-8479-4715-8969-CDEBA8863634}" dt="2021-09-17T03:25:43.385" v="6873"/>
        <pc:sldMkLst>
          <pc:docMk/>
          <pc:sldMk cId="1633810583" sldId="317"/>
        </pc:sldMkLst>
      </pc:sldChg>
      <pc:sldChg chg="delSp modSp add mod">
        <pc:chgData name="Kopper, Jordan" userId="b70b14be-98b2-4048-a278-0b2ff614ef08" providerId="ADAL" clId="{C306FF50-8479-4715-8969-CDEBA8863634}" dt="2021-09-17T03:54:13.999" v="7322" actId="478"/>
        <pc:sldMkLst>
          <pc:docMk/>
          <pc:sldMk cId="3057232083" sldId="317"/>
        </pc:sldMkLst>
        <pc:spChg chg="mod">
          <ac:chgData name="Kopper, Jordan" userId="b70b14be-98b2-4048-a278-0b2ff614ef08" providerId="ADAL" clId="{C306FF50-8479-4715-8969-CDEBA8863634}" dt="2021-09-17T03:54:11.828" v="7321" actId="20577"/>
          <ac:spMkLst>
            <pc:docMk/>
            <pc:sldMk cId="3057232083" sldId="317"/>
            <ac:spMk id="2" creationId="{C7B838FD-C1FD-40B9-9F72-2E8A22D69B17}"/>
          </ac:spMkLst>
        </pc:spChg>
        <pc:picChg chg="del">
          <ac:chgData name="Kopper, Jordan" userId="b70b14be-98b2-4048-a278-0b2ff614ef08" providerId="ADAL" clId="{C306FF50-8479-4715-8969-CDEBA8863634}" dt="2021-09-17T03:54:13.999" v="7322" actId="478"/>
          <ac:picMkLst>
            <pc:docMk/>
            <pc:sldMk cId="3057232083" sldId="317"/>
            <ac:picMk id="6" creationId="{807CA738-4E4D-424A-A51D-5B7D729AA634}"/>
          </ac:picMkLst>
        </pc:picChg>
      </pc:sldChg>
      <pc:sldChg chg="addSp modSp mod">
        <pc:chgData name="Kopper, Jordan" userId="b70b14be-98b2-4048-a278-0b2ff614ef08" providerId="ADAL" clId="{C306FF50-8479-4715-8969-CDEBA8863634}" dt="2021-09-23T13:33:19.881" v="9127"/>
        <pc:sldMkLst>
          <pc:docMk/>
          <pc:sldMk cId="2926233895" sldId="319"/>
        </pc:sldMkLst>
        <pc:picChg chg="mod">
          <ac:chgData name="Kopper, Jordan" userId="b70b14be-98b2-4048-a278-0b2ff614ef08" providerId="ADAL" clId="{C306FF50-8479-4715-8969-CDEBA8863634}" dt="2021-09-23T13:33:00.763" v="9122" actId="14100"/>
          <ac:picMkLst>
            <pc:docMk/>
            <pc:sldMk cId="2926233895" sldId="319"/>
            <ac:picMk id="5" creationId="{E13A1BCC-F458-4E67-BE25-4B0695DC5686}"/>
          </ac:picMkLst>
        </pc:picChg>
        <pc:picChg chg="add mod">
          <ac:chgData name="Kopper, Jordan" userId="b70b14be-98b2-4048-a278-0b2ff614ef08" providerId="ADAL" clId="{C306FF50-8479-4715-8969-CDEBA8863634}" dt="2021-09-23T13:33:04.397" v="9123" actId="1076"/>
          <ac:picMkLst>
            <pc:docMk/>
            <pc:sldMk cId="2926233895" sldId="319"/>
            <ac:picMk id="6" creationId="{81B025C4-6BF4-4D95-834D-862C9DF9EB01}"/>
          </ac:picMkLst>
        </pc:picChg>
        <pc:picChg chg="add mod">
          <ac:chgData name="Kopper, Jordan" userId="b70b14be-98b2-4048-a278-0b2ff614ef08" providerId="ADAL" clId="{C306FF50-8479-4715-8969-CDEBA8863634}" dt="2021-09-23T13:33:08.896" v="9125" actId="1076"/>
          <ac:picMkLst>
            <pc:docMk/>
            <pc:sldMk cId="2926233895" sldId="319"/>
            <ac:picMk id="7" creationId="{02617755-FCEF-4421-B5B6-883E7276C55F}"/>
          </ac:picMkLst>
        </pc:picChg>
        <pc:picChg chg="add mod">
          <ac:chgData name="Kopper, Jordan" userId="b70b14be-98b2-4048-a278-0b2ff614ef08" providerId="ADAL" clId="{C306FF50-8479-4715-8969-CDEBA8863634}" dt="2021-09-23T13:33:19.881" v="9127"/>
          <ac:picMkLst>
            <pc:docMk/>
            <pc:sldMk cId="2926233895" sldId="319"/>
            <ac:picMk id="8" creationId="{1C89D362-F472-405A-BA0C-032EA0A274C9}"/>
          </ac:picMkLst>
        </pc:picChg>
      </pc:sldChg>
      <pc:sldChg chg="addSp delSp modSp del mod">
        <pc:chgData name="Kopper, Jordan" userId="b70b14be-98b2-4048-a278-0b2ff614ef08" providerId="ADAL" clId="{C306FF50-8479-4715-8969-CDEBA8863634}" dt="2021-09-23T13:33:12.038" v="9126" actId="47"/>
        <pc:sldMkLst>
          <pc:docMk/>
          <pc:sldMk cId="927516220" sldId="320"/>
        </pc:sldMkLst>
        <pc:spChg chg="add del mod">
          <ac:chgData name="Kopper, Jordan" userId="b70b14be-98b2-4048-a278-0b2ff614ef08" providerId="ADAL" clId="{C306FF50-8479-4715-8969-CDEBA8863634}" dt="2021-09-23T13:32:23.097" v="9112" actId="21"/>
          <ac:spMkLst>
            <pc:docMk/>
            <pc:sldMk cId="927516220" sldId="320"/>
            <ac:spMk id="8" creationId="{8D3D41A7-D642-40BA-A5CE-F20C24B7A9CC}"/>
          </ac:spMkLst>
        </pc:spChg>
        <pc:picChg chg="add del mod">
          <ac:chgData name="Kopper, Jordan" userId="b70b14be-98b2-4048-a278-0b2ff614ef08" providerId="ADAL" clId="{C306FF50-8479-4715-8969-CDEBA8863634}" dt="2021-09-23T13:32:23.097" v="9112" actId="21"/>
          <ac:picMkLst>
            <pc:docMk/>
            <pc:sldMk cId="927516220" sldId="320"/>
            <ac:picMk id="5" creationId="{EA83F17C-8B09-4C51-884A-86ED3858B9AC}"/>
          </ac:picMkLst>
        </pc:picChg>
        <pc:picChg chg="add del">
          <ac:chgData name="Kopper, Jordan" userId="b70b14be-98b2-4048-a278-0b2ff614ef08" providerId="ADAL" clId="{C306FF50-8479-4715-8969-CDEBA8863634}" dt="2021-09-23T13:32:23.097" v="9112" actId="21"/>
          <ac:picMkLst>
            <pc:docMk/>
            <pc:sldMk cId="927516220" sldId="320"/>
            <ac:picMk id="6" creationId="{8B56DFBD-CDE9-4E37-945E-76D4E64B0C2E}"/>
          </ac:picMkLst>
        </pc:picChg>
      </pc:sldChg>
    </pc:docChg>
  </pc:docChgLst>
  <pc:docChgLst>
    <pc:chgData name="Kopper, Jordan" userId="S::jordan_kopper@dell.com::b70b14be-98b2-4048-a278-0b2ff614ef08" providerId="AD" clId="Web-{07B4BDB6-DC9B-4D44-AB4F-E68AC10BA4E9}"/>
    <pc:docChg chg="modSld">
      <pc:chgData name="Kopper, Jordan" userId="S::jordan_kopper@dell.com::b70b14be-98b2-4048-a278-0b2ff614ef08" providerId="AD" clId="Web-{07B4BDB6-DC9B-4D44-AB4F-E68AC10BA4E9}" dt="2021-09-22T14:27:55.406" v="0" actId="1076"/>
      <pc:docMkLst>
        <pc:docMk/>
      </pc:docMkLst>
      <pc:sldChg chg="modSp">
        <pc:chgData name="Kopper, Jordan" userId="S::jordan_kopper@dell.com::b70b14be-98b2-4048-a278-0b2ff614ef08" providerId="AD" clId="Web-{07B4BDB6-DC9B-4D44-AB4F-E68AC10BA4E9}" dt="2021-09-22T14:27:55.406" v="0" actId="1076"/>
        <pc:sldMkLst>
          <pc:docMk/>
          <pc:sldMk cId="1229639259" sldId="294"/>
        </pc:sldMkLst>
        <pc:picChg chg="mod">
          <ac:chgData name="Kopper, Jordan" userId="S::jordan_kopper@dell.com::b70b14be-98b2-4048-a278-0b2ff614ef08" providerId="AD" clId="Web-{07B4BDB6-DC9B-4D44-AB4F-E68AC10BA4E9}" dt="2021-09-22T14:27:55.406" v="0" actId="1076"/>
          <ac:picMkLst>
            <pc:docMk/>
            <pc:sldMk cId="1229639259" sldId="294"/>
            <ac:picMk id="23" creationId="{CA16D8BD-ABCD-4188-B595-EBA3B5BB815F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5466E8-7C9D-4179-A1CC-A85A83248B39}" type="datetimeFigureOut">
              <a:rPr lang="en-US" smtClean="0"/>
              <a:t>9/2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A4673-B59B-4061-980F-3ACBC69926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834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water"&gt;Water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416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  <a:latin typeface="Century Gothic" panose="020B0502020202020204" pitchFamily="34" charset="0"/>
              </a:rPr>
              <a:t>Binning hours into morning, afternoon, evening, and midnight gives approximate predictions</a:t>
            </a:r>
            <a:endParaRPr lang="en-ID" sz="1200" b="1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390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9913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1286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5653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7233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0199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ikisuper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94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background"&gt;Background vector created by </a:t>
            </a:r>
            <a:r>
              <a:rPr lang="en-US" err="1"/>
              <a:t>katemango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708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ikisuper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532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background"&gt;Background vector created by </a:t>
            </a:r>
            <a:r>
              <a:rPr lang="en-US" err="1"/>
              <a:t>katemango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735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water"&gt;Water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338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839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n-US" b="1">
                <a:solidFill>
                  <a:srgbClr val="3B3E98"/>
                </a:solidFill>
                <a:latin typeface="Century Gothic" panose="020B0502020202020204" pitchFamily="34" charset="0"/>
              </a:rPr>
              <a:t>Bike rental is very dependent on weather conditions and time component. This unpredictability increases operational costs and adds risk to cash flow.</a:t>
            </a:r>
          </a:p>
          <a:p>
            <a:pPr algn="just"/>
            <a:endParaRPr lang="en-US" b="1">
              <a:solidFill>
                <a:srgbClr val="3B3E98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b="1">
                <a:solidFill>
                  <a:srgbClr val="3B3E98"/>
                </a:solidFill>
                <a:latin typeface="Century Gothic" panose="020B0502020202020204" pitchFamily="34" charset="0"/>
              </a:rPr>
              <a:t>Therefore, how can we predict customer demand in a monthly basis so the company can anticipate financial provisions on higher income months to be used on lower income months (weather forecast for weekly predictions by season | general model forecast by month without weather by months/day/hour)?</a:t>
            </a:r>
            <a:endParaRPr lang="en-ID" b="1">
              <a:solidFill>
                <a:srgbClr val="3B3E98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09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water"&gt;Water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6197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infographic"&gt;Infographic vector created by </a:t>
            </a:r>
            <a:r>
              <a:rPr lang="en-US" err="1"/>
              <a:t>freepik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923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summer"&gt;Summer vector created by </a:t>
            </a:r>
            <a:r>
              <a:rPr lang="en-US" err="1"/>
              <a:t>macro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1447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water"&gt;Water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3117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business"&gt;Business vector created by </a:t>
            </a:r>
            <a:r>
              <a:rPr lang="en-US" err="1"/>
              <a:t>pch.vecto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2401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a </a:t>
            </a:r>
            <a:r>
              <a:rPr lang="en-US" err="1"/>
              <a:t>href</a:t>
            </a:r>
            <a:r>
              <a:rPr lang="en-US"/>
              <a:t>="https://www.freepik.com/free-photos-vectors/people"&gt;People vector created by </a:t>
            </a:r>
            <a:r>
              <a:rPr lang="en-US" err="1"/>
              <a:t>pikisuperstar</a:t>
            </a:r>
            <a:r>
              <a:rPr lang="en-US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A4673-B59B-4061-980F-3ACBC699260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993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BFF11-19B1-4659-A542-3F771F81A2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EA16A1-ED8A-4EF3-9A44-AC3BAFC9F5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84C6F6-7CFE-456A-B803-42A2918E73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A33B9-8F52-4303-A016-C23BDFF5D2EE}" type="datetime1">
              <a:rPr lang="en-US" smtClean="0"/>
              <a:t>9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E2A470-83F9-41AB-9E01-844F9576B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A97303-9F94-4179-8F0A-332A87B2C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6998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481C0-2A63-4F37-AA77-672E9E967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82A3FB4-0AEF-429E-8F40-C66AF55FA2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289EC2-120C-4702-B8E4-556B00B94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60F11-8F7C-41D7-AC89-59FF6B63B7DC}" type="datetime1">
              <a:rPr lang="en-US" smtClean="0"/>
              <a:t>9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3EC4D1-7251-494A-AC48-D14BE8E7D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26C617-4823-4BCD-A8BC-EA6E42DF7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454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02EE19C-F90C-4C53-9087-4D0D298059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1C3733-E66F-458B-BF02-B6FB883175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332C3D-2A39-4FCA-92F4-6796E6A41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4610D-986D-4BB2-952F-570DF3CA23B1}" type="datetime1">
              <a:rPr lang="en-US" smtClean="0"/>
              <a:t>9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F17BF6-4EAF-47F9-87AD-AE0F05E19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97E5A6-1747-48D6-9B15-B334A7E0D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93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191F3DB-0E52-4234-863C-0850F2628C4F}"/>
              </a:ext>
            </a:extLst>
          </p:cNvPr>
          <p:cNvGrpSpPr/>
          <p:nvPr userDrawn="1"/>
        </p:nvGrpSpPr>
        <p:grpSpPr>
          <a:xfrm>
            <a:off x="11577427" y="6308098"/>
            <a:ext cx="639973" cy="554643"/>
            <a:chOff x="8153400" y="3619500"/>
            <a:chExt cx="1143000" cy="9906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0D50BE9-C4C8-42FC-82AC-926462B02197}"/>
                </a:ext>
              </a:extLst>
            </p:cNvPr>
            <p:cNvSpPr/>
            <p:nvPr userDrawn="1"/>
          </p:nvSpPr>
          <p:spPr>
            <a:xfrm>
              <a:off x="8178610" y="3660057"/>
              <a:ext cx="845820" cy="845820"/>
            </a:xfrm>
            <a:prstGeom prst="ellipse">
              <a:avLst/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DE33854-2F64-47DE-AD72-711E28E70771}"/>
                </a:ext>
              </a:extLst>
            </p:cNvPr>
            <p:cNvSpPr/>
            <p:nvPr userDrawn="1"/>
          </p:nvSpPr>
          <p:spPr>
            <a:xfrm rot="18900000">
              <a:off x="8153400" y="4042411"/>
              <a:ext cx="1143000" cy="14858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26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ight Triangle 6">
              <a:extLst>
                <a:ext uri="{FF2B5EF4-FFF2-40B4-BE49-F238E27FC236}">
                  <a16:creationId xmlns:a16="http://schemas.microsoft.com/office/drawing/2014/main" id="{5DCC5A91-1237-4B51-94D3-03217E32C930}"/>
                </a:ext>
              </a:extLst>
            </p:cNvPr>
            <p:cNvSpPr/>
            <p:nvPr userDrawn="1"/>
          </p:nvSpPr>
          <p:spPr>
            <a:xfrm flipH="1">
              <a:off x="8224838" y="3619500"/>
              <a:ext cx="990600" cy="9906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12BC3F5-11E9-40D8-9B15-1DB8D0F910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057" y="365126"/>
            <a:ext cx="11059886" cy="810532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rgbClr val="EF4B35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91CD66-2C0D-4559-9CB9-1A60DF2796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057" y="1538514"/>
            <a:ext cx="11059886" cy="46384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1913C5-6D02-4BBC-BEAB-ED39746844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6057" y="6356350"/>
            <a:ext cx="2743200" cy="365125"/>
          </a:xfrm>
        </p:spPr>
        <p:txBody>
          <a:bodyPr/>
          <a:lstStyle/>
          <a:p>
            <a:fld id="{4289D6EE-9EBC-418B-94B1-E000D4A3D633}" type="datetime1">
              <a:rPr lang="en-US" smtClean="0"/>
              <a:t>9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4F0BD2-ADDE-4236-9BA2-0016773A5A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C0E9D-08B4-4CA3-9E9D-91712F5F2B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0730" y="6356350"/>
            <a:ext cx="373654" cy="365125"/>
          </a:xfrm>
        </p:spPr>
        <p:txBody>
          <a:bodyPr/>
          <a:lstStyle>
            <a:lvl1pPr algn="ctr">
              <a:defRPr sz="10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3954EDD1-DCF3-463D-AB83-28D791F03B8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953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95083-39B0-41DD-96FE-03F7A2272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F45CE7-2D39-487B-86C1-5BF28F1154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3B6E32-B942-46F5-8A15-ABA90A39C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19D3-B126-49C0-A630-B5A21D617D39}" type="datetime1">
              <a:rPr lang="en-US" smtClean="0"/>
              <a:t>9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6FA044-7DBD-45A1-8478-055307599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3B482D-C447-45D6-AE58-58D31ED47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696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2DFC2-B6B7-4118-913A-15107DF1A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AEE808-CB96-4669-BC81-49A5AB62A07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323021-253D-440A-BBFB-D478B9DC15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4793E4-0623-4B43-9A3E-201B6F54F6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3DCC6-777E-4FDB-819C-5D32F2ACB10F}" type="datetime1">
              <a:rPr lang="en-US" smtClean="0"/>
              <a:t>9/2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583D79-2B31-4BD9-8ED7-0369679C05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FCC41B-0B59-4B40-95BC-0EDB2134B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411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E5DD3-AEA3-4618-BAF0-035F66B41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CCC9A8-2529-4694-A7E4-AA724FDDD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5196F-1A65-4D75-AC55-90D7A6FD1A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F3871E-8B4A-4AD5-BCC5-97F32EC554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1E01C1-2974-44DB-8575-1D07AC18BE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4C3435-CB34-40EA-BF21-2BFB84D7E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AAEF4-BB17-4916-88F2-2F5B612C0AE1}" type="datetime1">
              <a:rPr lang="en-US" smtClean="0"/>
              <a:t>9/29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4133AC-4C79-4C2F-9B40-232E78700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188663-C09E-4282-A774-8596AFDCB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3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394A9-5B37-4E5B-ABA0-C135C1DDB1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4111BF-0078-4A47-B679-A62CFA86E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FF2D56-3996-4ED0-B8A9-4AFE4C46883C}" type="datetime1">
              <a:rPr lang="en-US" smtClean="0"/>
              <a:t>9/2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1D1BFE-8E00-41C4-A7EE-F81D8E419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6203AB-E180-4EBC-A0A8-5C8079990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238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81BAF0-874A-4E68-BFEE-B11F6FF1D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A8C48-7A11-4DD4-9E16-C91312CB70D3}" type="datetime1">
              <a:rPr lang="en-US" smtClean="0"/>
              <a:t>9/2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BCB63E-3E13-46B5-8CB4-40C0571A7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457DC3-77A3-44DE-875E-01713835C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8634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5761BD-8FDD-4205-9BD7-1BC7FED0D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4764C3-720D-463C-8FB9-CCCD225CA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A3F033-6CAD-4C5F-ADF2-FD84CE4C83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6B7F90-0F1F-452E-95BE-1599AC346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D8CAA-4721-48C5-A179-24CA0DE44828}" type="datetime1">
              <a:rPr lang="en-US" smtClean="0"/>
              <a:t>9/2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5FA621-470D-4EB3-BB1B-01A4AC0A9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085AB1-5FB4-4694-86AF-7EADF1E6D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822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54357-3080-45E6-9F83-295ADA58A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A5AE45-A53B-4923-8E4A-3C534DD346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FC3D47-8BBD-467C-BB7C-128C4545F4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2A8E22-054D-4D95-988D-A5175DDA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B562-10FC-49D7-B48A-706BDF69FAEA}" type="datetime1">
              <a:rPr lang="en-US" smtClean="0"/>
              <a:t>9/2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56EC62-740D-4F39-AAB6-4FFAD968E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A66FA9-70A7-40F3-99E3-64EFED7A9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475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3354C74-35E8-484E-820E-7A20E3439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46816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3354C74-35E8-484E-820E-7A20E3439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6BC7CF-16F1-4CE1-815D-573F107A0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3DF4CA-1713-401B-B2C5-AE047E3AB5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89E92C-4F88-4375-B6A7-AAA9127260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98B86A-C3F0-4947-A5F7-505E81C80C58}" type="datetime1">
              <a:rPr lang="en-US" smtClean="0"/>
              <a:t>9/2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24618-05EC-40DB-8D23-3A2913E68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219231-963E-4F8E-AEE7-2BBCCC226B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54EDD1-DCF3-463D-AB83-28D791F03B8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876667767,&quot;Placement&quot;:&quot;Footer&quot;,&quot;Top&quot;:523.380066,&quot;Left&quot;:0.0,&quot;SlideWidth&quot;:960,&quot;SlideHeight&quot;:540}">
            <a:extLst>
              <a:ext uri="{FF2B5EF4-FFF2-40B4-BE49-F238E27FC236}">
                <a16:creationId xmlns:a16="http://schemas.microsoft.com/office/drawing/2014/main" id="{6CF47017-BE52-427B-B961-213509A225C0}"/>
              </a:ext>
            </a:extLst>
          </p:cNvPr>
          <p:cNvSpPr txBox="1"/>
          <p:nvPr userDrawn="1"/>
        </p:nvSpPr>
        <p:spPr>
          <a:xfrm>
            <a:off x="0" y="6646927"/>
            <a:ext cx="1185008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737373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31066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18" Type="http://schemas.openxmlformats.org/officeDocument/2006/relationships/image" Target="../media/image52.png"/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17" Type="http://schemas.openxmlformats.org/officeDocument/2006/relationships/image" Target="../media/image51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0.png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39.svg"/><Relationship Id="rId15" Type="http://schemas.openxmlformats.org/officeDocument/2006/relationships/image" Target="../media/image49.svg"/><Relationship Id="rId10" Type="http://schemas.openxmlformats.org/officeDocument/2006/relationships/image" Target="../media/image44.png"/><Relationship Id="rId19" Type="http://schemas.openxmlformats.org/officeDocument/2006/relationships/image" Target="../media/image53.svg"/><Relationship Id="rId4" Type="http://schemas.openxmlformats.org/officeDocument/2006/relationships/image" Target="../media/image38.png"/><Relationship Id="rId9" Type="http://schemas.openxmlformats.org/officeDocument/2006/relationships/image" Target="../media/image43.svg"/><Relationship Id="rId1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6.png"/><Relationship Id="rId11" Type="http://schemas.openxmlformats.org/officeDocument/2006/relationships/image" Target="../media/image60.svg"/><Relationship Id="rId5" Type="http://schemas.openxmlformats.org/officeDocument/2006/relationships/image" Target="../media/image1.emf"/><Relationship Id="rId10" Type="http://schemas.openxmlformats.org/officeDocument/2006/relationships/image" Target="../media/image5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8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6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10" Type="http://schemas.openxmlformats.org/officeDocument/2006/relationships/image" Target="../media/image74.svg"/><Relationship Id="rId4" Type="http://schemas.openxmlformats.org/officeDocument/2006/relationships/image" Target="../media/image69.png"/><Relationship Id="rId9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7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7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8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83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arkets.businessinsider.com/news/stocks/the-bike-and-scooter-rental-market-is-projected-to-grow-from-usd-2-5-billion-in-2019-to-reach-usd-10-1-billion-by-2027-at-a-cagr-of-18-9-1028677949" TargetMode="Externa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jpeg"/><Relationship Id="rId5" Type="http://schemas.openxmlformats.org/officeDocument/2006/relationships/image" Target="../media/image88.png"/><Relationship Id="rId4" Type="http://schemas.openxmlformats.org/officeDocument/2006/relationships/image" Target="../media/image87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6.png"/><Relationship Id="rId3" Type="http://schemas.openxmlformats.org/officeDocument/2006/relationships/image" Target="../media/image7.png"/><Relationship Id="rId7" Type="http://schemas.openxmlformats.org/officeDocument/2006/relationships/image" Target="../media/image13.sv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1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6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Freeform: Shape 552">
            <a:extLst>
              <a:ext uri="{FF2B5EF4-FFF2-40B4-BE49-F238E27FC236}">
                <a16:creationId xmlns:a16="http://schemas.microsoft.com/office/drawing/2014/main" id="{E39FF8C9-88A5-4449-ABD8-968B7C7916A1}"/>
              </a:ext>
            </a:extLst>
          </p:cNvPr>
          <p:cNvSpPr>
            <a:spLocks/>
          </p:cNvSpPr>
          <p:nvPr/>
        </p:nvSpPr>
        <p:spPr bwMode="auto">
          <a:xfrm flipV="1">
            <a:off x="9958934" y="1438258"/>
            <a:ext cx="2233066" cy="2193532"/>
          </a:xfrm>
          <a:custGeom>
            <a:avLst/>
            <a:gdLst>
              <a:gd name="connsiteX0" fmla="*/ 2233066 w 2233066"/>
              <a:gd name="connsiteY0" fmla="*/ 2193532 h 2193532"/>
              <a:gd name="connsiteX1" fmla="*/ 2233066 w 2233066"/>
              <a:gd name="connsiteY1" fmla="*/ 509885 h 2193532"/>
              <a:gd name="connsiteX2" fmla="*/ 2191054 w 2233066"/>
              <a:gd name="connsiteY2" fmla="*/ 523575 h 2193532"/>
              <a:gd name="connsiteX3" fmla="*/ 1764825 w 2233066"/>
              <a:gd name="connsiteY3" fmla="*/ 247939 h 2193532"/>
              <a:gd name="connsiteX4" fmla="*/ 659221 w 2233066"/>
              <a:gd name="connsiteY4" fmla="*/ 310018 h 2193532"/>
              <a:gd name="connsiteX5" fmla="*/ 282797 w 2233066"/>
              <a:gd name="connsiteY5" fmla="*/ 750210 h 2193532"/>
              <a:gd name="connsiteX6" fmla="*/ 192268 w 2233066"/>
              <a:gd name="connsiteY6" fmla="*/ 802126 h 2193532"/>
              <a:gd name="connsiteX7" fmla="*/ 183420 w 2233066"/>
              <a:gd name="connsiteY7" fmla="*/ 809441 h 2193532"/>
              <a:gd name="connsiteX8" fmla="*/ 175704 w 2233066"/>
              <a:gd name="connsiteY8" fmla="*/ 813034 h 2193532"/>
              <a:gd name="connsiteX9" fmla="*/ 512675 w 2233066"/>
              <a:gd name="connsiteY9" fmla="*/ 1513872 h 2193532"/>
              <a:gd name="connsiteX10" fmla="*/ 1046881 w 2233066"/>
              <a:gd name="connsiteY10" fmla="*/ 1880699 h 2193532"/>
              <a:gd name="connsiteX11" fmla="*/ 1584468 w 2233066"/>
              <a:gd name="connsiteY11" fmla="*/ 1773472 h 2193532"/>
              <a:gd name="connsiteX12" fmla="*/ 2066832 w 2233066"/>
              <a:gd name="connsiteY12" fmla="*/ 2030815 h 2193532"/>
              <a:gd name="connsiteX13" fmla="*/ 2173436 w 2233066"/>
              <a:gd name="connsiteY13" fmla="*/ 2150943 h 2193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33066" h="2193532">
                <a:moveTo>
                  <a:pt x="2233066" y="2193532"/>
                </a:moveTo>
                <a:lnTo>
                  <a:pt x="2233066" y="509885"/>
                </a:lnTo>
                <a:lnTo>
                  <a:pt x="2191054" y="523575"/>
                </a:lnTo>
                <a:cubicBezTo>
                  <a:pt x="2062640" y="558296"/>
                  <a:pt x="1948248" y="528420"/>
                  <a:pt x="1764825" y="247939"/>
                </a:cubicBezTo>
                <a:cubicBezTo>
                  <a:pt x="1479690" y="-186610"/>
                  <a:pt x="796717" y="25585"/>
                  <a:pt x="659221" y="310018"/>
                </a:cubicBezTo>
                <a:cubicBezTo>
                  <a:pt x="546518" y="541400"/>
                  <a:pt x="629918" y="582034"/>
                  <a:pt x="282797" y="750210"/>
                </a:cubicBezTo>
                <a:cubicBezTo>
                  <a:pt x="248564" y="766716"/>
                  <a:pt x="218517" y="784079"/>
                  <a:pt x="192268" y="802126"/>
                </a:cubicBezTo>
                <a:lnTo>
                  <a:pt x="183420" y="809441"/>
                </a:lnTo>
                <a:lnTo>
                  <a:pt x="175704" y="813034"/>
                </a:lnTo>
                <a:cubicBezTo>
                  <a:pt x="-175423" y="1025070"/>
                  <a:pt x="31931" y="1674711"/>
                  <a:pt x="512675" y="1513872"/>
                </a:cubicBezTo>
                <a:cubicBezTo>
                  <a:pt x="704268" y="1450664"/>
                  <a:pt x="747095" y="1742997"/>
                  <a:pt x="1046881" y="1880699"/>
                </a:cubicBezTo>
                <a:cubicBezTo>
                  <a:pt x="1256506" y="1976638"/>
                  <a:pt x="1408654" y="1837808"/>
                  <a:pt x="1584468" y="1773472"/>
                </a:cubicBezTo>
                <a:cubicBezTo>
                  <a:pt x="1737743" y="1717037"/>
                  <a:pt x="1857207" y="1710265"/>
                  <a:pt x="2066832" y="2030815"/>
                </a:cubicBezTo>
                <a:cubicBezTo>
                  <a:pt x="2098019" y="2078344"/>
                  <a:pt x="2133965" y="2118136"/>
                  <a:pt x="2173436" y="2150943"/>
                </a:cubicBezTo>
                <a:close/>
              </a:path>
            </a:pathLst>
          </a:custGeom>
          <a:gradFill>
            <a:gsLst>
              <a:gs pos="13000">
                <a:srgbClr val="4EC9F0">
                  <a:alpha val="57000"/>
                </a:srgbClr>
              </a:gs>
              <a:gs pos="93000">
                <a:srgbClr val="CDF0FB">
                  <a:alpha val="47000"/>
                </a:srgb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95" name="Freeform 231">
            <a:extLst>
              <a:ext uri="{FF2B5EF4-FFF2-40B4-BE49-F238E27FC236}">
                <a16:creationId xmlns:a16="http://schemas.microsoft.com/office/drawing/2014/main" id="{62B7CDE1-0902-4C61-B4DE-97766E505AD5}"/>
              </a:ext>
            </a:extLst>
          </p:cNvPr>
          <p:cNvSpPr>
            <a:spLocks/>
          </p:cNvSpPr>
          <p:nvPr/>
        </p:nvSpPr>
        <p:spPr bwMode="auto">
          <a:xfrm>
            <a:off x="136183" y="2223934"/>
            <a:ext cx="11155818" cy="4383542"/>
          </a:xfrm>
          <a:custGeom>
            <a:avLst/>
            <a:gdLst>
              <a:gd name="T0" fmla="*/ 465 w 3814"/>
              <a:gd name="T1" fmla="*/ 1492 h 1496"/>
              <a:gd name="T2" fmla="*/ 486 w 3814"/>
              <a:gd name="T3" fmla="*/ 830 h 1496"/>
              <a:gd name="T4" fmla="*/ 820 w 3814"/>
              <a:gd name="T5" fmla="*/ 440 h 1496"/>
              <a:gd name="T6" fmla="*/ 1801 w 3814"/>
              <a:gd name="T7" fmla="*/ 385 h 1496"/>
              <a:gd name="T8" fmla="*/ 2229 w 3814"/>
              <a:gd name="T9" fmla="*/ 613 h 1496"/>
              <a:gd name="T10" fmla="*/ 2706 w 3814"/>
              <a:gd name="T11" fmla="*/ 518 h 1496"/>
              <a:gd name="T12" fmla="*/ 3180 w 3814"/>
              <a:gd name="T13" fmla="*/ 843 h 1496"/>
              <a:gd name="T14" fmla="*/ 3410 w 3814"/>
              <a:gd name="T15" fmla="*/ 1496 h 1496"/>
              <a:gd name="T16" fmla="*/ 465 w 3814"/>
              <a:gd name="T17" fmla="*/ 1492 h 1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814" h="1496">
                <a:moveTo>
                  <a:pt x="465" y="1492"/>
                </a:moveTo>
                <a:cubicBezTo>
                  <a:pt x="465" y="1492"/>
                  <a:pt x="0" y="1064"/>
                  <a:pt x="486" y="830"/>
                </a:cubicBezTo>
                <a:cubicBezTo>
                  <a:pt x="794" y="681"/>
                  <a:pt x="720" y="645"/>
                  <a:pt x="820" y="440"/>
                </a:cubicBezTo>
                <a:cubicBezTo>
                  <a:pt x="942" y="188"/>
                  <a:pt x="1548" y="0"/>
                  <a:pt x="1801" y="385"/>
                </a:cubicBezTo>
                <a:cubicBezTo>
                  <a:pt x="1987" y="669"/>
                  <a:pt x="2093" y="663"/>
                  <a:pt x="2229" y="613"/>
                </a:cubicBezTo>
                <a:cubicBezTo>
                  <a:pt x="2385" y="556"/>
                  <a:pt x="2520" y="433"/>
                  <a:pt x="2706" y="518"/>
                </a:cubicBezTo>
                <a:cubicBezTo>
                  <a:pt x="2972" y="640"/>
                  <a:pt x="3010" y="899"/>
                  <a:pt x="3180" y="843"/>
                </a:cubicBezTo>
                <a:cubicBezTo>
                  <a:pt x="3635" y="691"/>
                  <a:pt x="3814" y="1356"/>
                  <a:pt x="3410" y="1496"/>
                </a:cubicBezTo>
                <a:lnTo>
                  <a:pt x="465" y="1492"/>
                </a:lnTo>
                <a:close/>
              </a:path>
            </a:pathLst>
          </a:custGeom>
          <a:gradFill>
            <a:gsLst>
              <a:gs pos="13000">
                <a:srgbClr val="9FE2F7"/>
              </a:gs>
              <a:gs pos="93000">
                <a:srgbClr val="D8F3FC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Freeform: Shape 554">
            <a:extLst>
              <a:ext uri="{FF2B5EF4-FFF2-40B4-BE49-F238E27FC236}">
                <a16:creationId xmlns:a16="http://schemas.microsoft.com/office/drawing/2014/main" id="{E3F1F9B8-2227-4232-80EA-6F82F951DDB0}"/>
              </a:ext>
            </a:extLst>
          </p:cNvPr>
          <p:cNvSpPr>
            <a:spLocks/>
          </p:cNvSpPr>
          <p:nvPr/>
        </p:nvSpPr>
        <p:spPr bwMode="auto">
          <a:xfrm flipH="1" flipV="1">
            <a:off x="0" y="1"/>
            <a:ext cx="4188733" cy="2174879"/>
          </a:xfrm>
          <a:custGeom>
            <a:avLst/>
            <a:gdLst>
              <a:gd name="connsiteX0" fmla="*/ 4188733 w 4188733"/>
              <a:gd name="connsiteY0" fmla="*/ 2174879 h 2174879"/>
              <a:gd name="connsiteX1" fmla="*/ 255305 w 4188733"/>
              <a:gd name="connsiteY1" fmla="*/ 2174879 h 2174879"/>
              <a:gd name="connsiteX2" fmla="*/ 231274 w 4188733"/>
              <a:gd name="connsiteY2" fmla="*/ 2146885 h 2174879"/>
              <a:gd name="connsiteX3" fmla="*/ 378146 w 4188733"/>
              <a:gd name="connsiteY3" fmla="*/ 1135996 h 2174879"/>
              <a:gd name="connsiteX4" fmla="*/ 948142 w 4188733"/>
              <a:gd name="connsiteY4" fmla="*/ 469441 h 2174879"/>
              <a:gd name="connsiteX5" fmla="*/ 2622289 w 4188733"/>
              <a:gd name="connsiteY5" fmla="*/ 375439 h 2174879"/>
              <a:gd name="connsiteX6" fmla="*/ 3352702 w 4188733"/>
              <a:gd name="connsiteY6" fmla="*/ 765118 h 2174879"/>
              <a:gd name="connsiteX7" fmla="*/ 4166737 w 4188733"/>
              <a:gd name="connsiteY7" fmla="*/ 602752 h 2174879"/>
              <a:gd name="connsiteX8" fmla="*/ 4188733 w 4188733"/>
              <a:gd name="connsiteY8" fmla="*/ 615338 h 217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88733" h="2174879">
                <a:moveTo>
                  <a:pt x="4188733" y="2174879"/>
                </a:moveTo>
                <a:lnTo>
                  <a:pt x="255305" y="2174879"/>
                </a:lnTo>
                <a:lnTo>
                  <a:pt x="231274" y="2146885"/>
                </a:lnTo>
                <a:cubicBezTo>
                  <a:pt x="46965" y="1922403"/>
                  <a:pt x="-243900" y="1435946"/>
                  <a:pt x="378146" y="1135996"/>
                </a:cubicBezTo>
                <a:cubicBezTo>
                  <a:pt x="903771" y="881338"/>
                  <a:pt x="777484" y="819810"/>
                  <a:pt x="948142" y="469441"/>
                </a:cubicBezTo>
                <a:cubicBezTo>
                  <a:pt x="1156343" y="38743"/>
                  <a:pt x="2190526" y="-282571"/>
                  <a:pt x="2622289" y="375439"/>
                </a:cubicBezTo>
                <a:cubicBezTo>
                  <a:pt x="2939711" y="860828"/>
                  <a:pt x="3120608" y="850574"/>
                  <a:pt x="3352702" y="765118"/>
                </a:cubicBezTo>
                <a:cubicBezTo>
                  <a:pt x="3618927" y="667698"/>
                  <a:pt x="3849314" y="457477"/>
                  <a:pt x="4166737" y="602752"/>
                </a:cubicBezTo>
                <a:lnTo>
                  <a:pt x="4188733" y="615338"/>
                </a:lnTo>
                <a:close/>
              </a:path>
            </a:pathLst>
          </a:custGeom>
          <a:gradFill>
            <a:gsLst>
              <a:gs pos="13000">
                <a:srgbClr val="4EC9F0">
                  <a:alpha val="57000"/>
                </a:srgbClr>
              </a:gs>
              <a:gs pos="93000">
                <a:srgbClr val="CDF0FB">
                  <a:alpha val="47000"/>
                </a:srgb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534" name="Group 1533">
            <a:extLst>
              <a:ext uri="{FF2B5EF4-FFF2-40B4-BE49-F238E27FC236}">
                <a16:creationId xmlns:a16="http://schemas.microsoft.com/office/drawing/2014/main" id="{1CA4557A-6F7B-4A2A-8E13-C3A5F92C26C3}"/>
              </a:ext>
            </a:extLst>
          </p:cNvPr>
          <p:cNvGrpSpPr/>
          <p:nvPr/>
        </p:nvGrpSpPr>
        <p:grpSpPr>
          <a:xfrm>
            <a:off x="1697915" y="481922"/>
            <a:ext cx="9448107" cy="2123658"/>
            <a:chOff x="2182640" y="670801"/>
            <a:chExt cx="9448107" cy="2123658"/>
          </a:xfrm>
        </p:grpSpPr>
        <p:sp>
          <p:nvSpPr>
            <p:cNvPr id="1529" name="TextBox 1528">
              <a:extLst>
                <a:ext uri="{FF2B5EF4-FFF2-40B4-BE49-F238E27FC236}">
                  <a16:creationId xmlns:a16="http://schemas.microsoft.com/office/drawing/2014/main" id="{2B43CBED-9160-44E4-9861-C3422E375C7D}"/>
                </a:ext>
              </a:extLst>
            </p:cNvPr>
            <p:cNvSpPr txBox="1"/>
            <p:nvPr/>
          </p:nvSpPr>
          <p:spPr>
            <a:xfrm>
              <a:off x="2182640" y="670801"/>
              <a:ext cx="3495889" cy="21236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4400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BIKESHARE DEMAND FORECAST</a:t>
              </a:r>
            </a:p>
          </p:txBody>
        </p:sp>
        <p:sp>
          <p:nvSpPr>
            <p:cNvPr id="570" name="Rectangle 569">
              <a:extLst>
                <a:ext uri="{FF2B5EF4-FFF2-40B4-BE49-F238E27FC236}">
                  <a16:creationId xmlns:a16="http://schemas.microsoft.com/office/drawing/2014/main" id="{FE248338-9B86-4C4E-9AC0-173B433446CD}"/>
                </a:ext>
              </a:extLst>
            </p:cNvPr>
            <p:cNvSpPr/>
            <p:nvPr/>
          </p:nvSpPr>
          <p:spPr>
            <a:xfrm>
              <a:off x="6228399" y="1495041"/>
              <a:ext cx="5402348" cy="43088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400" b="1" dirty="0">
                  <a:solidFill>
                    <a:srgbClr val="4EC9F0"/>
                  </a:solidFill>
                  <a:latin typeface="Century Gothic" panose="020B0502020202020204" pitchFamily="34" charset="0"/>
                </a:rPr>
                <a:t>A data science project to predict the number of riders for bikeshare at a certain hour given whether information.</a:t>
              </a:r>
            </a:p>
          </p:txBody>
        </p:sp>
        <p:cxnSp>
          <p:nvCxnSpPr>
            <p:cNvPr id="1533" name="Straight Connector 1532">
              <a:extLst>
                <a:ext uri="{FF2B5EF4-FFF2-40B4-BE49-F238E27FC236}">
                  <a16:creationId xmlns:a16="http://schemas.microsoft.com/office/drawing/2014/main" id="{4DFBD8F6-D372-4C4E-BC6B-2A4CC17E1DBF}"/>
                </a:ext>
              </a:extLst>
            </p:cNvPr>
            <p:cNvCxnSpPr>
              <a:cxnSpLocks/>
            </p:cNvCxnSpPr>
            <p:nvPr/>
          </p:nvCxnSpPr>
          <p:spPr>
            <a:xfrm>
              <a:off x="5908527" y="830064"/>
              <a:ext cx="0" cy="1715935"/>
            </a:xfrm>
            <a:prstGeom prst="line">
              <a:avLst/>
            </a:prstGeom>
            <a:ln w="9525" cap="rnd">
              <a:solidFill>
                <a:srgbClr val="F160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D9359E-B3CD-4304-8FC2-5F4F907322C3}"/>
              </a:ext>
            </a:extLst>
          </p:cNvPr>
          <p:cNvGrpSpPr/>
          <p:nvPr/>
        </p:nvGrpSpPr>
        <p:grpSpPr>
          <a:xfrm>
            <a:off x="134625" y="3221423"/>
            <a:ext cx="2460540" cy="3300584"/>
            <a:chOff x="134625" y="3221423"/>
            <a:chExt cx="2460540" cy="3300584"/>
          </a:xfrm>
        </p:grpSpPr>
        <p:grpSp>
          <p:nvGrpSpPr>
            <p:cNvPr id="622" name="Group 621">
              <a:extLst>
                <a:ext uri="{FF2B5EF4-FFF2-40B4-BE49-F238E27FC236}">
                  <a16:creationId xmlns:a16="http://schemas.microsoft.com/office/drawing/2014/main" id="{5D28ACDE-DFAD-42FA-8BFA-D394DF167DD4}"/>
                </a:ext>
              </a:extLst>
            </p:cNvPr>
            <p:cNvGrpSpPr/>
            <p:nvPr/>
          </p:nvGrpSpPr>
          <p:grpSpPr>
            <a:xfrm flipH="1">
              <a:off x="134625" y="4321156"/>
              <a:ext cx="2460540" cy="2200851"/>
              <a:chOff x="6280150" y="1362075"/>
              <a:chExt cx="2884488" cy="2959101"/>
            </a:xfrm>
          </p:grpSpPr>
          <p:sp>
            <p:nvSpPr>
              <p:cNvPr id="623" name="Freeform 5">
                <a:extLst>
                  <a:ext uri="{FF2B5EF4-FFF2-40B4-BE49-F238E27FC236}">
                    <a16:creationId xmlns:a16="http://schemas.microsoft.com/office/drawing/2014/main" id="{A9861AE1-81D8-4370-B53D-312E214DD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7588" y="3790950"/>
                <a:ext cx="173038" cy="173038"/>
              </a:xfrm>
              <a:custGeom>
                <a:avLst/>
                <a:gdLst>
                  <a:gd name="T0" fmla="*/ 51 w 51"/>
                  <a:gd name="T1" fmla="*/ 26 h 51"/>
                  <a:gd name="T2" fmla="*/ 25 w 51"/>
                  <a:gd name="T3" fmla="*/ 51 h 51"/>
                  <a:gd name="T4" fmla="*/ 0 w 51"/>
                  <a:gd name="T5" fmla="*/ 26 h 51"/>
                  <a:gd name="T6" fmla="*/ 25 w 51"/>
                  <a:gd name="T7" fmla="*/ 0 h 51"/>
                  <a:gd name="T8" fmla="*/ 51 w 51"/>
                  <a:gd name="T9" fmla="*/ 2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51" y="26"/>
                    </a:moveTo>
                    <a:cubicBezTo>
                      <a:pt x="51" y="39"/>
                      <a:pt x="39" y="51"/>
                      <a:pt x="25" y="51"/>
                    </a:cubicBezTo>
                    <a:cubicBezTo>
                      <a:pt x="11" y="51"/>
                      <a:pt x="0" y="39"/>
                      <a:pt x="0" y="26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39" y="0"/>
                      <a:pt x="51" y="11"/>
                      <a:pt x="51" y="26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7">
                <a:extLst>
                  <a:ext uri="{FF2B5EF4-FFF2-40B4-BE49-F238E27FC236}">
                    <a16:creationId xmlns:a16="http://schemas.microsoft.com/office/drawing/2014/main" id="{98344F23-4FD0-47F9-98B6-05C2374356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80400" y="3433763"/>
                <a:ext cx="884238" cy="887413"/>
              </a:xfrm>
              <a:custGeom>
                <a:avLst/>
                <a:gdLst>
                  <a:gd name="T0" fmla="*/ 130 w 260"/>
                  <a:gd name="T1" fmla="*/ 30 h 261"/>
                  <a:gd name="T2" fmla="*/ 30 w 260"/>
                  <a:gd name="T3" fmla="*/ 131 h 261"/>
                  <a:gd name="T4" fmla="*/ 130 w 260"/>
                  <a:gd name="T5" fmla="*/ 231 h 261"/>
                  <a:gd name="T6" fmla="*/ 230 w 260"/>
                  <a:gd name="T7" fmla="*/ 131 h 261"/>
                  <a:gd name="T8" fmla="*/ 130 w 260"/>
                  <a:gd name="T9" fmla="*/ 30 h 261"/>
                  <a:gd name="T10" fmla="*/ 130 w 260"/>
                  <a:gd name="T11" fmla="*/ 261 h 261"/>
                  <a:gd name="T12" fmla="*/ 0 w 260"/>
                  <a:gd name="T13" fmla="*/ 131 h 261"/>
                  <a:gd name="T14" fmla="*/ 130 w 260"/>
                  <a:gd name="T15" fmla="*/ 0 h 261"/>
                  <a:gd name="T16" fmla="*/ 260 w 260"/>
                  <a:gd name="T17" fmla="*/ 131 h 261"/>
                  <a:gd name="T18" fmla="*/ 130 w 260"/>
                  <a:gd name="T19" fmla="*/ 26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0" h="261">
                    <a:moveTo>
                      <a:pt x="130" y="30"/>
                    </a:moveTo>
                    <a:cubicBezTo>
                      <a:pt x="75" y="30"/>
                      <a:pt x="30" y="75"/>
                      <a:pt x="30" y="131"/>
                    </a:cubicBezTo>
                    <a:cubicBezTo>
                      <a:pt x="30" y="186"/>
                      <a:pt x="75" y="231"/>
                      <a:pt x="130" y="231"/>
                    </a:cubicBezTo>
                    <a:cubicBezTo>
                      <a:pt x="185" y="231"/>
                      <a:pt x="230" y="186"/>
                      <a:pt x="230" y="131"/>
                    </a:cubicBezTo>
                    <a:cubicBezTo>
                      <a:pt x="230" y="75"/>
                      <a:pt x="185" y="30"/>
                      <a:pt x="130" y="30"/>
                    </a:cubicBezTo>
                    <a:close/>
                    <a:moveTo>
                      <a:pt x="130" y="261"/>
                    </a:moveTo>
                    <a:cubicBezTo>
                      <a:pt x="58" y="261"/>
                      <a:pt x="0" y="202"/>
                      <a:pt x="0" y="131"/>
                    </a:cubicBezTo>
                    <a:cubicBezTo>
                      <a:pt x="0" y="59"/>
                      <a:pt x="58" y="0"/>
                      <a:pt x="130" y="0"/>
                    </a:cubicBezTo>
                    <a:cubicBezTo>
                      <a:pt x="202" y="0"/>
                      <a:pt x="260" y="59"/>
                      <a:pt x="260" y="131"/>
                    </a:cubicBezTo>
                    <a:cubicBezTo>
                      <a:pt x="260" y="202"/>
                      <a:pt x="202" y="261"/>
                      <a:pt x="130" y="261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Freeform 8">
                <a:extLst>
                  <a:ext uri="{FF2B5EF4-FFF2-40B4-BE49-F238E27FC236}">
                    <a16:creationId xmlns:a16="http://schemas.microsoft.com/office/drawing/2014/main" id="{847033DE-4004-4080-AE9E-54CEE3A5EC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64538" y="3517900"/>
                <a:ext cx="715963" cy="717550"/>
              </a:xfrm>
              <a:custGeom>
                <a:avLst/>
                <a:gdLst>
                  <a:gd name="T0" fmla="*/ 105 w 210"/>
                  <a:gd name="T1" fmla="*/ 10 h 211"/>
                  <a:gd name="T2" fmla="*/ 10 w 210"/>
                  <a:gd name="T3" fmla="*/ 106 h 211"/>
                  <a:gd name="T4" fmla="*/ 105 w 210"/>
                  <a:gd name="T5" fmla="*/ 201 h 211"/>
                  <a:gd name="T6" fmla="*/ 200 w 210"/>
                  <a:gd name="T7" fmla="*/ 106 h 211"/>
                  <a:gd name="T8" fmla="*/ 105 w 210"/>
                  <a:gd name="T9" fmla="*/ 10 h 211"/>
                  <a:gd name="T10" fmla="*/ 105 w 210"/>
                  <a:gd name="T11" fmla="*/ 211 h 211"/>
                  <a:gd name="T12" fmla="*/ 0 w 210"/>
                  <a:gd name="T13" fmla="*/ 106 h 211"/>
                  <a:gd name="T14" fmla="*/ 105 w 210"/>
                  <a:gd name="T15" fmla="*/ 0 h 211"/>
                  <a:gd name="T16" fmla="*/ 210 w 210"/>
                  <a:gd name="T17" fmla="*/ 106 h 211"/>
                  <a:gd name="T18" fmla="*/ 105 w 210"/>
                  <a:gd name="T19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0" h="211">
                    <a:moveTo>
                      <a:pt x="105" y="10"/>
                    </a:moveTo>
                    <a:cubicBezTo>
                      <a:pt x="53" y="10"/>
                      <a:pt x="10" y="53"/>
                      <a:pt x="10" y="106"/>
                    </a:cubicBezTo>
                    <a:cubicBezTo>
                      <a:pt x="10" y="158"/>
                      <a:pt x="53" y="201"/>
                      <a:pt x="105" y="201"/>
                    </a:cubicBezTo>
                    <a:cubicBezTo>
                      <a:pt x="158" y="201"/>
                      <a:pt x="200" y="158"/>
                      <a:pt x="200" y="106"/>
                    </a:cubicBezTo>
                    <a:cubicBezTo>
                      <a:pt x="200" y="53"/>
                      <a:pt x="158" y="10"/>
                      <a:pt x="105" y="10"/>
                    </a:cubicBezTo>
                    <a:close/>
                    <a:moveTo>
                      <a:pt x="105" y="211"/>
                    </a:moveTo>
                    <a:cubicBezTo>
                      <a:pt x="47" y="211"/>
                      <a:pt x="0" y="164"/>
                      <a:pt x="0" y="106"/>
                    </a:cubicBezTo>
                    <a:cubicBezTo>
                      <a:pt x="0" y="47"/>
                      <a:pt x="47" y="0"/>
                      <a:pt x="105" y="0"/>
                    </a:cubicBezTo>
                    <a:cubicBezTo>
                      <a:pt x="163" y="0"/>
                      <a:pt x="210" y="47"/>
                      <a:pt x="210" y="106"/>
                    </a:cubicBezTo>
                    <a:cubicBezTo>
                      <a:pt x="210" y="164"/>
                      <a:pt x="163" y="211"/>
                      <a:pt x="105" y="211"/>
                    </a:cubicBezTo>
                    <a:close/>
                  </a:path>
                </a:pathLst>
              </a:custGeom>
              <a:solidFill>
                <a:srgbClr val="787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9">
                <a:extLst>
                  <a:ext uri="{FF2B5EF4-FFF2-40B4-BE49-F238E27FC236}">
                    <a16:creationId xmlns:a16="http://schemas.microsoft.com/office/drawing/2014/main" id="{73702198-056C-4B04-9B84-6709C5BF61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338" y="3790950"/>
                <a:ext cx="174625" cy="173038"/>
              </a:xfrm>
              <a:custGeom>
                <a:avLst/>
                <a:gdLst>
                  <a:gd name="T0" fmla="*/ 51 w 51"/>
                  <a:gd name="T1" fmla="*/ 26 h 51"/>
                  <a:gd name="T2" fmla="*/ 25 w 51"/>
                  <a:gd name="T3" fmla="*/ 51 h 51"/>
                  <a:gd name="T4" fmla="*/ 0 w 51"/>
                  <a:gd name="T5" fmla="*/ 26 h 51"/>
                  <a:gd name="T6" fmla="*/ 25 w 51"/>
                  <a:gd name="T7" fmla="*/ 0 h 51"/>
                  <a:gd name="T8" fmla="*/ 51 w 51"/>
                  <a:gd name="T9" fmla="*/ 2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1">
                    <a:moveTo>
                      <a:pt x="51" y="26"/>
                    </a:moveTo>
                    <a:cubicBezTo>
                      <a:pt x="51" y="39"/>
                      <a:pt x="39" y="51"/>
                      <a:pt x="25" y="51"/>
                    </a:cubicBezTo>
                    <a:cubicBezTo>
                      <a:pt x="11" y="51"/>
                      <a:pt x="0" y="39"/>
                      <a:pt x="0" y="26"/>
                    </a:cubicBezTo>
                    <a:cubicBezTo>
                      <a:pt x="0" y="11"/>
                      <a:pt x="11" y="0"/>
                      <a:pt x="25" y="0"/>
                    </a:cubicBezTo>
                    <a:cubicBezTo>
                      <a:pt x="39" y="0"/>
                      <a:pt x="51" y="11"/>
                      <a:pt x="51" y="26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10">
                <a:extLst>
                  <a:ext uri="{FF2B5EF4-FFF2-40B4-BE49-F238E27FC236}">
                    <a16:creationId xmlns:a16="http://schemas.microsoft.com/office/drawing/2014/main" id="{5FFEF305-02A3-4DA8-83A6-3683FCA8C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313" y="3402013"/>
                <a:ext cx="214313" cy="146050"/>
              </a:xfrm>
              <a:custGeom>
                <a:avLst/>
                <a:gdLst>
                  <a:gd name="T0" fmla="*/ 44 w 63"/>
                  <a:gd name="T1" fmla="*/ 0 h 43"/>
                  <a:gd name="T2" fmla="*/ 62 w 63"/>
                  <a:gd name="T3" fmla="*/ 33 h 43"/>
                  <a:gd name="T4" fmla="*/ 0 w 63"/>
                  <a:gd name="T5" fmla="*/ 37 h 43"/>
                  <a:gd name="T6" fmla="*/ 31 w 63"/>
                  <a:gd name="T7" fmla="*/ 24 h 43"/>
                  <a:gd name="T8" fmla="*/ 23 w 63"/>
                  <a:gd name="T9" fmla="*/ 4 h 43"/>
                  <a:gd name="T10" fmla="*/ 44 w 63"/>
                  <a:gd name="T1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43">
                    <a:moveTo>
                      <a:pt x="44" y="0"/>
                    </a:moveTo>
                    <a:cubicBezTo>
                      <a:pt x="44" y="0"/>
                      <a:pt x="63" y="28"/>
                      <a:pt x="62" y="33"/>
                    </a:cubicBezTo>
                    <a:cubicBezTo>
                      <a:pt x="62" y="37"/>
                      <a:pt x="0" y="43"/>
                      <a:pt x="0" y="37"/>
                    </a:cubicBezTo>
                    <a:cubicBezTo>
                      <a:pt x="1" y="30"/>
                      <a:pt x="31" y="24"/>
                      <a:pt x="31" y="24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44" y="0"/>
                      <a:pt x="44" y="0"/>
                      <a:pt x="44" y="0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11">
                <a:extLst>
                  <a:ext uri="{FF2B5EF4-FFF2-40B4-BE49-F238E27FC236}">
                    <a16:creationId xmlns:a16="http://schemas.microsoft.com/office/drawing/2014/main" id="{CCA2EEC8-80B6-4EA4-AD82-742260946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1400" y="2547938"/>
                <a:ext cx="673100" cy="904875"/>
              </a:xfrm>
              <a:custGeom>
                <a:avLst/>
                <a:gdLst>
                  <a:gd name="T0" fmla="*/ 141 w 198"/>
                  <a:gd name="T1" fmla="*/ 0 h 266"/>
                  <a:gd name="T2" fmla="*/ 16 w 198"/>
                  <a:gd name="T3" fmla="*/ 154 h 266"/>
                  <a:gd name="T4" fmla="*/ 120 w 198"/>
                  <a:gd name="T5" fmla="*/ 266 h 266"/>
                  <a:gd name="T6" fmla="*/ 140 w 198"/>
                  <a:gd name="T7" fmla="*/ 255 h 266"/>
                  <a:gd name="T8" fmla="*/ 83 w 198"/>
                  <a:gd name="T9" fmla="*/ 156 h 266"/>
                  <a:gd name="T10" fmla="*/ 198 w 198"/>
                  <a:gd name="T11" fmla="*/ 60 h 266"/>
                  <a:gd name="T12" fmla="*/ 141 w 198"/>
                  <a:gd name="T13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8" h="266">
                    <a:moveTo>
                      <a:pt x="141" y="0"/>
                    </a:moveTo>
                    <a:cubicBezTo>
                      <a:pt x="141" y="0"/>
                      <a:pt x="0" y="80"/>
                      <a:pt x="16" y="154"/>
                    </a:cubicBezTo>
                    <a:cubicBezTo>
                      <a:pt x="33" y="227"/>
                      <a:pt x="120" y="266"/>
                      <a:pt x="120" y="266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83" y="156"/>
                      <a:pt x="83" y="156"/>
                      <a:pt x="83" y="156"/>
                    </a:cubicBezTo>
                    <a:cubicBezTo>
                      <a:pt x="198" y="60"/>
                      <a:pt x="198" y="60"/>
                      <a:pt x="198" y="60"/>
                    </a:cubicBezTo>
                    <a:cubicBezTo>
                      <a:pt x="141" y="0"/>
                      <a:pt x="141" y="0"/>
                      <a:pt x="141" y="0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13">
                <a:extLst>
                  <a:ext uri="{FF2B5EF4-FFF2-40B4-BE49-F238E27FC236}">
                    <a16:creationId xmlns:a16="http://schemas.microsoft.com/office/drawing/2014/main" id="{B3531420-ECD0-4B2C-AB24-8B7D82E338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80150" y="3433763"/>
                <a:ext cx="885825" cy="887413"/>
              </a:xfrm>
              <a:custGeom>
                <a:avLst/>
                <a:gdLst>
                  <a:gd name="T0" fmla="*/ 130 w 260"/>
                  <a:gd name="T1" fmla="*/ 30 h 261"/>
                  <a:gd name="T2" fmla="*/ 30 w 260"/>
                  <a:gd name="T3" fmla="*/ 131 h 261"/>
                  <a:gd name="T4" fmla="*/ 130 w 260"/>
                  <a:gd name="T5" fmla="*/ 231 h 261"/>
                  <a:gd name="T6" fmla="*/ 230 w 260"/>
                  <a:gd name="T7" fmla="*/ 131 h 261"/>
                  <a:gd name="T8" fmla="*/ 130 w 260"/>
                  <a:gd name="T9" fmla="*/ 30 h 261"/>
                  <a:gd name="T10" fmla="*/ 130 w 260"/>
                  <a:gd name="T11" fmla="*/ 261 h 261"/>
                  <a:gd name="T12" fmla="*/ 0 w 260"/>
                  <a:gd name="T13" fmla="*/ 131 h 261"/>
                  <a:gd name="T14" fmla="*/ 130 w 260"/>
                  <a:gd name="T15" fmla="*/ 0 h 261"/>
                  <a:gd name="T16" fmla="*/ 260 w 260"/>
                  <a:gd name="T17" fmla="*/ 131 h 261"/>
                  <a:gd name="T18" fmla="*/ 130 w 260"/>
                  <a:gd name="T19" fmla="*/ 26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0" h="261">
                    <a:moveTo>
                      <a:pt x="130" y="30"/>
                    </a:moveTo>
                    <a:cubicBezTo>
                      <a:pt x="75" y="30"/>
                      <a:pt x="30" y="75"/>
                      <a:pt x="30" y="131"/>
                    </a:cubicBezTo>
                    <a:cubicBezTo>
                      <a:pt x="30" y="186"/>
                      <a:pt x="75" y="231"/>
                      <a:pt x="130" y="231"/>
                    </a:cubicBezTo>
                    <a:cubicBezTo>
                      <a:pt x="185" y="231"/>
                      <a:pt x="230" y="186"/>
                      <a:pt x="230" y="131"/>
                    </a:cubicBezTo>
                    <a:cubicBezTo>
                      <a:pt x="230" y="75"/>
                      <a:pt x="185" y="30"/>
                      <a:pt x="130" y="30"/>
                    </a:cubicBezTo>
                    <a:close/>
                    <a:moveTo>
                      <a:pt x="130" y="261"/>
                    </a:moveTo>
                    <a:cubicBezTo>
                      <a:pt x="59" y="261"/>
                      <a:pt x="0" y="202"/>
                      <a:pt x="0" y="131"/>
                    </a:cubicBezTo>
                    <a:cubicBezTo>
                      <a:pt x="0" y="59"/>
                      <a:pt x="59" y="0"/>
                      <a:pt x="130" y="0"/>
                    </a:cubicBezTo>
                    <a:cubicBezTo>
                      <a:pt x="202" y="0"/>
                      <a:pt x="260" y="59"/>
                      <a:pt x="260" y="131"/>
                    </a:cubicBezTo>
                    <a:cubicBezTo>
                      <a:pt x="260" y="202"/>
                      <a:pt x="202" y="261"/>
                      <a:pt x="130" y="261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14">
                <a:extLst>
                  <a:ext uri="{FF2B5EF4-FFF2-40B4-BE49-F238E27FC236}">
                    <a16:creationId xmlns:a16="http://schemas.microsoft.com/office/drawing/2014/main" id="{B5E398A6-EDE5-45B4-8F3B-BF34D94971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5875" y="3517900"/>
                <a:ext cx="714375" cy="717550"/>
              </a:xfrm>
              <a:custGeom>
                <a:avLst/>
                <a:gdLst>
                  <a:gd name="T0" fmla="*/ 105 w 210"/>
                  <a:gd name="T1" fmla="*/ 10 h 211"/>
                  <a:gd name="T2" fmla="*/ 10 w 210"/>
                  <a:gd name="T3" fmla="*/ 106 h 211"/>
                  <a:gd name="T4" fmla="*/ 105 w 210"/>
                  <a:gd name="T5" fmla="*/ 201 h 211"/>
                  <a:gd name="T6" fmla="*/ 200 w 210"/>
                  <a:gd name="T7" fmla="*/ 106 h 211"/>
                  <a:gd name="T8" fmla="*/ 105 w 210"/>
                  <a:gd name="T9" fmla="*/ 10 h 211"/>
                  <a:gd name="T10" fmla="*/ 105 w 210"/>
                  <a:gd name="T11" fmla="*/ 211 h 211"/>
                  <a:gd name="T12" fmla="*/ 0 w 210"/>
                  <a:gd name="T13" fmla="*/ 106 h 211"/>
                  <a:gd name="T14" fmla="*/ 105 w 210"/>
                  <a:gd name="T15" fmla="*/ 0 h 211"/>
                  <a:gd name="T16" fmla="*/ 210 w 210"/>
                  <a:gd name="T17" fmla="*/ 106 h 211"/>
                  <a:gd name="T18" fmla="*/ 105 w 210"/>
                  <a:gd name="T19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0" h="211">
                    <a:moveTo>
                      <a:pt x="105" y="10"/>
                    </a:moveTo>
                    <a:cubicBezTo>
                      <a:pt x="53" y="10"/>
                      <a:pt x="10" y="53"/>
                      <a:pt x="10" y="106"/>
                    </a:cubicBezTo>
                    <a:cubicBezTo>
                      <a:pt x="10" y="158"/>
                      <a:pt x="53" y="201"/>
                      <a:pt x="105" y="201"/>
                    </a:cubicBezTo>
                    <a:cubicBezTo>
                      <a:pt x="158" y="201"/>
                      <a:pt x="200" y="158"/>
                      <a:pt x="200" y="106"/>
                    </a:cubicBezTo>
                    <a:cubicBezTo>
                      <a:pt x="200" y="53"/>
                      <a:pt x="158" y="10"/>
                      <a:pt x="105" y="10"/>
                    </a:cubicBezTo>
                    <a:close/>
                    <a:moveTo>
                      <a:pt x="105" y="211"/>
                    </a:moveTo>
                    <a:cubicBezTo>
                      <a:pt x="47" y="211"/>
                      <a:pt x="0" y="164"/>
                      <a:pt x="0" y="106"/>
                    </a:cubicBezTo>
                    <a:cubicBezTo>
                      <a:pt x="0" y="47"/>
                      <a:pt x="47" y="0"/>
                      <a:pt x="105" y="0"/>
                    </a:cubicBezTo>
                    <a:cubicBezTo>
                      <a:pt x="163" y="0"/>
                      <a:pt x="210" y="47"/>
                      <a:pt x="210" y="106"/>
                    </a:cubicBezTo>
                    <a:cubicBezTo>
                      <a:pt x="210" y="164"/>
                      <a:pt x="163" y="211"/>
                      <a:pt x="105" y="211"/>
                    </a:cubicBezTo>
                    <a:close/>
                  </a:path>
                </a:pathLst>
              </a:custGeom>
              <a:solidFill>
                <a:srgbClr val="787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15">
                <a:extLst>
                  <a:ext uri="{FF2B5EF4-FFF2-40B4-BE49-F238E27FC236}">
                    <a16:creationId xmlns:a16="http://schemas.microsoft.com/office/drawing/2014/main" id="{BE1BE884-0A50-4556-8912-DF271D774E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4963" y="2654300"/>
                <a:ext cx="2074863" cy="1258888"/>
              </a:xfrm>
              <a:custGeom>
                <a:avLst/>
                <a:gdLst>
                  <a:gd name="T0" fmla="*/ 384 w 609"/>
                  <a:gd name="T1" fmla="*/ 332 h 370"/>
                  <a:gd name="T2" fmla="*/ 416 w 609"/>
                  <a:gd name="T3" fmla="*/ 138 h 370"/>
                  <a:gd name="T4" fmla="*/ 577 w 609"/>
                  <a:gd name="T5" fmla="*/ 348 h 370"/>
                  <a:gd name="T6" fmla="*/ 384 w 609"/>
                  <a:gd name="T7" fmla="*/ 332 h 370"/>
                  <a:gd name="T8" fmla="*/ 126 w 609"/>
                  <a:gd name="T9" fmla="*/ 200 h 370"/>
                  <a:gd name="T10" fmla="*/ 129 w 609"/>
                  <a:gd name="T11" fmla="*/ 170 h 370"/>
                  <a:gd name="T12" fmla="*/ 384 w 609"/>
                  <a:gd name="T13" fmla="*/ 206 h 370"/>
                  <a:gd name="T14" fmla="*/ 366 w 609"/>
                  <a:gd name="T15" fmla="*/ 319 h 370"/>
                  <a:gd name="T16" fmla="*/ 126 w 609"/>
                  <a:gd name="T17" fmla="*/ 200 h 370"/>
                  <a:gd name="T18" fmla="*/ 606 w 609"/>
                  <a:gd name="T19" fmla="*/ 353 h 370"/>
                  <a:gd name="T20" fmla="*/ 420 w 609"/>
                  <a:gd name="T21" fmla="*/ 111 h 370"/>
                  <a:gd name="T22" fmla="*/ 435 w 609"/>
                  <a:gd name="T23" fmla="*/ 24 h 370"/>
                  <a:gd name="T24" fmla="*/ 426 w 609"/>
                  <a:gd name="T25" fmla="*/ 12 h 370"/>
                  <a:gd name="T26" fmla="*/ 415 w 609"/>
                  <a:gd name="T27" fmla="*/ 21 h 370"/>
                  <a:gd name="T28" fmla="*/ 388 w 609"/>
                  <a:gd name="T29" fmla="*/ 186 h 370"/>
                  <a:gd name="T30" fmla="*/ 131 w 609"/>
                  <a:gd name="T31" fmla="*/ 150 h 370"/>
                  <a:gd name="T32" fmla="*/ 146 w 609"/>
                  <a:gd name="T33" fmla="*/ 12 h 370"/>
                  <a:gd name="T34" fmla="*/ 137 w 609"/>
                  <a:gd name="T35" fmla="*/ 1 h 370"/>
                  <a:gd name="T36" fmla="*/ 126 w 609"/>
                  <a:gd name="T37" fmla="*/ 9 h 370"/>
                  <a:gd name="T38" fmla="*/ 105 w 609"/>
                  <a:gd name="T39" fmla="*/ 207 h 370"/>
                  <a:gd name="T40" fmla="*/ 80 w 609"/>
                  <a:gd name="T41" fmla="*/ 265 h 370"/>
                  <a:gd name="T42" fmla="*/ 4 w 609"/>
                  <a:gd name="T43" fmla="*/ 353 h 370"/>
                  <a:gd name="T44" fmla="*/ 5 w 609"/>
                  <a:gd name="T45" fmla="*/ 367 h 370"/>
                  <a:gd name="T46" fmla="*/ 11 w 609"/>
                  <a:gd name="T47" fmla="*/ 370 h 370"/>
                  <a:gd name="T48" fmla="*/ 19 w 609"/>
                  <a:gd name="T49" fmla="*/ 366 h 370"/>
                  <a:gd name="T50" fmla="*/ 95 w 609"/>
                  <a:gd name="T51" fmla="*/ 279 h 370"/>
                  <a:gd name="T52" fmla="*/ 124 w 609"/>
                  <a:gd name="T53" fmla="*/ 220 h 370"/>
                  <a:gd name="T54" fmla="*/ 365 w 609"/>
                  <a:gd name="T55" fmla="*/ 348 h 370"/>
                  <a:gd name="T56" fmla="*/ 365 w 609"/>
                  <a:gd name="T57" fmla="*/ 348 h 370"/>
                  <a:gd name="T58" fmla="*/ 368 w 609"/>
                  <a:gd name="T59" fmla="*/ 350 h 370"/>
                  <a:gd name="T60" fmla="*/ 370 w 609"/>
                  <a:gd name="T61" fmla="*/ 351 h 370"/>
                  <a:gd name="T62" fmla="*/ 372 w 609"/>
                  <a:gd name="T63" fmla="*/ 351 h 370"/>
                  <a:gd name="T64" fmla="*/ 597 w 609"/>
                  <a:gd name="T65" fmla="*/ 369 h 370"/>
                  <a:gd name="T66" fmla="*/ 598 w 609"/>
                  <a:gd name="T67" fmla="*/ 370 h 370"/>
                  <a:gd name="T68" fmla="*/ 607 w 609"/>
                  <a:gd name="T69" fmla="*/ 364 h 370"/>
                  <a:gd name="T70" fmla="*/ 606 w 609"/>
                  <a:gd name="T71" fmla="*/ 353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9" h="370">
                    <a:moveTo>
                      <a:pt x="384" y="332"/>
                    </a:moveTo>
                    <a:cubicBezTo>
                      <a:pt x="416" y="138"/>
                      <a:pt x="416" y="138"/>
                      <a:pt x="416" y="138"/>
                    </a:cubicBezTo>
                    <a:cubicBezTo>
                      <a:pt x="577" y="348"/>
                      <a:pt x="577" y="348"/>
                      <a:pt x="577" y="348"/>
                    </a:cubicBezTo>
                    <a:cubicBezTo>
                      <a:pt x="384" y="332"/>
                      <a:pt x="384" y="332"/>
                      <a:pt x="384" y="332"/>
                    </a:cubicBezTo>
                    <a:close/>
                    <a:moveTo>
                      <a:pt x="126" y="200"/>
                    </a:moveTo>
                    <a:cubicBezTo>
                      <a:pt x="129" y="170"/>
                      <a:pt x="129" y="170"/>
                      <a:pt x="129" y="170"/>
                    </a:cubicBezTo>
                    <a:cubicBezTo>
                      <a:pt x="384" y="206"/>
                      <a:pt x="384" y="206"/>
                      <a:pt x="384" y="206"/>
                    </a:cubicBezTo>
                    <a:cubicBezTo>
                      <a:pt x="366" y="319"/>
                      <a:pt x="366" y="319"/>
                      <a:pt x="366" y="319"/>
                    </a:cubicBezTo>
                    <a:cubicBezTo>
                      <a:pt x="286" y="239"/>
                      <a:pt x="161" y="207"/>
                      <a:pt x="126" y="200"/>
                    </a:cubicBezTo>
                    <a:close/>
                    <a:moveTo>
                      <a:pt x="606" y="353"/>
                    </a:moveTo>
                    <a:cubicBezTo>
                      <a:pt x="420" y="111"/>
                      <a:pt x="420" y="111"/>
                      <a:pt x="420" y="111"/>
                    </a:cubicBezTo>
                    <a:cubicBezTo>
                      <a:pt x="435" y="24"/>
                      <a:pt x="435" y="24"/>
                      <a:pt x="435" y="24"/>
                    </a:cubicBezTo>
                    <a:cubicBezTo>
                      <a:pt x="436" y="18"/>
                      <a:pt x="432" y="13"/>
                      <a:pt x="426" y="12"/>
                    </a:cubicBezTo>
                    <a:cubicBezTo>
                      <a:pt x="421" y="11"/>
                      <a:pt x="416" y="15"/>
                      <a:pt x="415" y="21"/>
                    </a:cubicBezTo>
                    <a:cubicBezTo>
                      <a:pt x="388" y="186"/>
                      <a:pt x="388" y="186"/>
                      <a:pt x="388" y="186"/>
                    </a:cubicBezTo>
                    <a:cubicBezTo>
                      <a:pt x="131" y="150"/>
                      <a:pt x="131" y="150"/>
                      <a:pt x="131" y="150"/>
                    </a:cubicBezTo>
                    <a:cubicBezTo>
                      <a:pt x="146" y="12"/>
                      <a:pt x="146" y="12"/>
                      <a:pt x="146" y="12"/>
                    </a:cubicBezTo>
                    <a:cubicBezTo>
                      <a:pt x="146" y="6"/>
                      <a:pt x="142" y="1"/>
                      <a:pt x="137" y="1"/>
                    </a:cubicBezTo>
                    <a:cubicBezTo>
                      <a:pt x="131" y="0"/>
                      <a:pt x="126" y="4"/>
                      <a:pt x="126" y="9"/>
                    </a:cubicBezTo>
                    <a:cubicBezTo>
                      <a:pt x="105" y="207"/>
                      <a:pt x="105" y="207"/>
                      <a:pt x="105" y="207"/>
                    </a:cubicBezTo>
                    <a:cubicBezTo>
                      <a:pt x="103" y="229"/>
                      <a:pt x="94" y="249"/>
                      <a:pt x="80" y="265"/>
                    </a:cubicBezTo>
                    <a:cubicBezTo>
                      <a:pt x="4" y="353"/>
                      <a:pt x="4" y="353"/>
                      <a:pt x="4" y="353"/>
                    </a:cubicBezTo>
                    <a:cubicBezTo>
                      <a:pt x="0" y="357"/>
                      <a:pt x="1" y="363"/>
                      <a:pt x="5" y="367"/>
                    </a:cubicBezTo>
                    <a:cubicBezTo>
                      <a:pt x="7" y="369"/>
                      <a:pt x="9" y="370"/>
                      <a:pt x="11" y="370"/>
                    </a:cubicBezTo>
                    <a:cubicBezTo>
                      <a:pt x="14" y="370"/>
                      <a:pt x="17" y="368"/>
                      <a:pt x="19" y="366"/>
                    </a:cubicBezTo>
                    <a:cubicBezTo>
                      <a:pt x="95" y="279"/>
                      <a:pt x="95" y="279"/>
                      <a:pt x="95" y="279"/>
                    </a:cubicBezTo>
                    <a:cubicBezTo>
                      <a:pt x="110" y="262"/>
                      <a:pt x="119" y="242"/>
                      <a:pt x="124" y="220"/>
                    </a:cubicBezTo>
                    <a:cubicBezTo>
                      <a:pt x="161" y="228"/>
                      <a:pt x="292" y="263"/>
                      <a:pt x="365" y="348"/>
                    </a:cubicBezTo>
                    <a:cubicBezTo>
                      <a:pt x="365" y="348"/>
                      <a:pt x="365" y="348"/>
                      <a:pt x="365" y="348"/>
                    </a:cubicBezTo>
                    <a:cubicBezTo>
                      <a:pt x="366" y="349"/>
                      <a:pt x="367" y="350"/>
                      <a:pt x="368" y="350"/>
                    </a:cubicBezTo>
                    <a:cubicBezTo>
                      <a:pt x="369" y="350"/>
                      <a:pt x="369" y="350"/>
                      <a:pt x="370" y="351"/>
                    </a:cubicBezTo>
                    <a:cubicBezTo>
                      <a:pt x="370" y="351"/>
                      <a:pt x="371" y="351"/>
                      <a:pt x="372" y="351"/>
                    </a:cubicBezTo>
                    <a:cubicBezTo>
                      <a:pt x="597" y="369"/>
                      <a:pt x="597" y="369"/>
                      <a:pt x="597" y="369"/>
                    </a:cubicBezTo>
                    <a:cubicBezTo>
                      <a:pt x="598" y="370"/>
                      <a:pt x="598" y="370"/>
                      <a:pt x="598" y="370"/>
                    </a:cubicBezTo>
                    <a:cubicBezTo>
                      <a:pt x="602" y="370"/>
                      <a:pt x="605" y="368"/>
                      <a:pt x="607" y="364"/>
                    </a:cubicBezTo>
                    <a:cubicBezTo>
                      <a:pt x="609" y="361"/>
                      <a:pt x="609" y="357"/>
                      <a:pt x="606" y="353"/>
                    </a:cubicBezTo>
                    <a:close/>
                  </a:path>
                </a:pathLst>
              </a:custGeom>
              <a:solidFill>
                <a:srgbClr val="ED341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16">
                <a:extLst>
                  <a:ext uri="{FF2B5EF4-FFF2-40B4-BE49-F238E27FC236}">
                    <a16:creationId xmlns:a16="http://schemas.microsoft.com/office/drawing/2014/main" id="{50602C3F-B982-469F-8634-86671D74C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9450" y="2613025"/>
                <a:ext cx="347663" cy="98425"/>
              </a:xfrm>
              <a:custGeom>
                <a:avLst/>
                <a:gdLst>
                  <a:gd name="T0" fmla="*/ 91 w 102"/>
                  <a:gd name="T1" fmla="*/ 29 h 29"/>
                  <a:gd name="T2" fmla="*/ 90 w 102"/>
                  <a:gd name="T3" fmla="*/ 29 h 29"/>
                  <a:gd name="T4" fmla="*/ 9 w 102"/>
                  <a:gd name="T5" fmla="*/ 21 h 29"/>
                  <a:gd name="T6" fmla="*/ 1 w 102"/>
                  <a:gd name="T7" fmla="*/ 10 h 29"/>
                  <a:gd name="T8" fmla="*/ 12 w 102"/>
                  <a:gd name="T9" fmla="*/ 1 h 29"/>
                  <a:gd name="T10" fmla="*/ 92 w 102"/>
                  <a:gd name="T11" fmla="*/ 9 h 29"/>
                  <a:gd name="T12" fmla="*/ 101 w 102"/>
                  <a:gd name="T13" fmla="*/ 20 h 29"/>
                  <a:gd name="T14" fmla="*/ 91 w 102"/>
                  <a:gd name="T1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2" h="29">
                    <a:moveTo>
                      <a:pt x="91" y="29"/>
                    </a:moveTo>
                    <a:cubicBezTo>
                      <a:pt x="91" y="29"/>
                      <a:pt x="90" y="29"/>
                      <a:pt x="90" y="29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4" y="20"/>
                      <a:pt x="0" y="15"/>
                      <a:pt x="1" y="10"/>
                    </a:cubicBezTo>
                    <a:cubicBezTo>
                      <a:pt x="1" y="4"/>
                      <a:pt x="6" y="0"/>
                      <a:pt x="12" y="1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8" y="10"/>
                      <a:pt x="102" y="15"/>
                      <a:pt x="101" y="20"/>
                    </a:cubicBezTo>
                    <a:cubicBezTo>
                      <a:pt x="100" y="26"/>
                      <a:pt x="96" y="29"/>
                      <a:pt x="91" y="29"/>
                    </a:cubicBezTo>
                    <a:close/>
                  </a:path>
                </a:pathLst>
              </a:custGeom>
              <a:solidFill>
                <a:srgbClr val="ED341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Line 17">
                <a:extLst>
                  <a:ext uri="{FF2B5EF4-FFF2-40B4-BE49-F238E27FC236}">
                    <a16:creationId xmlns:a16="http://schemas.microsoft.com/office/drawing/2014/main" id="{01BE5B70-76C9-4983-8817-F23CE4DB45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843838" y="3544888"/>
                <a:ext cx="109538" cy="269875"/>
              </a:xfrm>
              <a:prstGeom prst="line">
                <a:avLst/>
              </a:prstGeom>
              <a:noFill/>
              <a:ln w="11113" cap="flat">
                <a:solidFill>
                  <a:srgbClr val="142C5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18">
                <a:extLst>
                  <a:ext uri="{FF2B5EF4-FFF2-40B4-BE49-F238E27FC236}">
                    <a16:creationId xmlns:a16="http://schemas.microsoft.com/office/drawing/2014/main" id="{50BC14A8-B5CD-4804-90E9-014B90743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1288" y="3529013"/>
                <a:ext cx="168275" cy="33338"/>
              </a:xfrm>
              <a:custGeom>
                <a:avLst/>
                <a:gdLst>
                  <a:gd name="T0" fmla="*/ 106 w 106"/>
                  <a:gd name="T1" fmla="*/ 21 h 21"/>
                  <a:gd name="T2" fmla="*/ 0 w 106"/>
                  <a:gd name="T3" fmla="*/ 21 h 21"/>
                  <a:gd name="T4" fmla="*/ 0 w 106"/>
                  <a:gd name="T5" fmla="*/ 0 h 21"/>
                  <a:gd name="T6" fmla="*/ 106 w 106"/>
                  <a:gd name="T7" fmla="*/ 0 h 21"/>
                  <a:gd name="T8" fmla="*/ 106 w 106"/>
                  <a:gd name="T9" fmla="*/ 21 h 21"/>
                  <a:gd name="T10" fmla="*/ 106 w 106"/>
                  <a:gd name="T1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6" h="21">
                    <a:moveTo>
                      <a:pt x="106" y="21"/>
                    </a:moveTo>
                    <a:lnTo>
                      <a:pt x="0" y="21"/>
                    </a:lnTo>
                    <a:lnTo>
                      <a:pt x="0" y="0"/>
                    </a:lnTo>
                    <a:lnTo>
                      <a:pt x="106" y="0"/>
                    </a:lnTo>
                    <a:lnTo>
                      <a:pt x="106" y="21"/>
                    </a:lnTo>
                    <a:lnTo>
                      <a:pt x="106" y="21"/>
                    </a:lnTo>
                    <a:close/>
                  </a:path>
                </a:pathLst>
              </a:custGeom>
              <a:solidFill>
                <a:srgbClr val="142C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19">
                <a:extLst>
                  <a:ext uri="{FF2B5EF4-FFF2-40B4-BE49-F238E27FC236}">
                    <a16:creationId xmlns:a16="http://schemas.microsoft.com/office/drawing/2014/main" id="{A4A5E1B0-2F3A-4F5A-86CA-F3205AB7E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9250" y="4065588"/>
                <a:ext cx="163513" cy="34925"/>
              </a:xfrm>
              <a:custGeom>
                <a:avLst/>
                <a:gdLst>
                  <a:gd name="T0" fmla="*/ 103 w 103"/>
                  <a:gd name="T1" fmla="*/ 22 h 22"/>
                  <a:gd name="T2" fmla="*/ 0 w 103"/>
                  <a:gd name="T3" fmla="*/ 22 h 22"/>
                  <a:gd name="T4" fmla="*/ 0 w 103"/>
                  <a:gd name="T5" fmla="*/ 0 h 22"/>
                  <a:gd name="T6" fmla="*/ 103 w 103"/>
                  <a:gd name="T7" fmla="*/ 0 h 22"/>
                  <a:gd name="T8" fmla="*/ 103 w 103"/>
                  <a:gd name="T9" fmla="*/ 22 h 22"/>
                  <a:gd name="T10" fmla="*/ 103 w 103"/>
                  <a:gd name="T1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22">
                    <a:moveTo>
                      <a:pt x="103" y="22"/>
                    </a:moveTo>
                    <a:lnTo>
                      <a:pt x="0" y="22"/>
                    </a:lnTo>
                    <a:lnTo>
                      <a:pt x="0" y="0"/>
                    </a:lnTo>
                    <a:lnTo>
                      <a:pt x="103" y="0"/>
                    </a:lnTo>
                    <a:lnTo>
                      <a:pt x="103" y="22"/>
                    </a:lnTo>
                    <a:lnTo>
                      <a:pt x="103" y="22"/>
                    </a:lnTo>
                    <a:close/>
                  </a:path>
                </a:pathLst>
              </a:custGeom>
              <a:solidFill>
                <a:srgbClr val="142C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20">
                <a:extLst>
                  <a:ext uri="{FF2B5EF4-FFF2-40B4-BE49-F238E27FC236}">
                    <a16:creationId xmlns:a16="http://schemas.microsoft.com/office/drawing/2014/main" id="{B5214F63-A1E3-47AA-B95C-DDBBF945D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4938" y="3613150"/>
                <a:ext cx="1087438" cy="398463"/>
              </a:xfrm>
              <a:custGeom>
                <a:avLst/>
                <a:gdLst>
                  <a:gd name="T0" fmla="*/ 284 w 319"/>
                  <a:gd name="T1" fmla="*/ 42 h 117"/>
                  <a:gd name="T2" fmla="*/ 58 w 319"/>
                  <a:gd name="T3" fmla="*/ 0 h 117"/>
                  <a:gd name="T4" fmla="*/ 0 w 319"/>
                  <a:gd name="T5" fmla="*/ 59 h 117"/>
                  <a:gd name="T6" fmla="*/ 58 w 319"/>
                  <a:gd name="T7" fmla="*/ 117 h 117"/>
                  <a:gd name="T8" fmla="*/ 284 w 319"/>
                  <a:gd name="T9" fmla="*/ 113 h 117"/>
                  <a:gd name="T10" fmla="*/ 319 w 319"/>
                  <a:gd name="T11" fmla="*/ 78 h 117"/>
                  <a:gd name="T12" fmla="*/ 284 w 319"/>
                  <a:gd name="T13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9" h="117">
                    <a:moveTo>
                      <a:pt x="284" y="42"/>
                    </a:moveTo>
                    <a:cubicBezTo>
                      <a:pt x="284" y="42"/>
                      <a:pt x="60" y="0"/>
                      <a:pt x="58" y="0"/>
                    </a:cubicBezTo>
                    <a:cubicBezTo>
                      <a:pt x="26" y="0"/>
                      <a:pt x="0" y="27"/>
                      <a:pt x="0" y="59"/>
                    </a:cubicBezTo>
                    <a:cubicBezTo>
                      <a:pt x="0" y="91"/>
                      <a:pt x="26" y="117"/>
                      <a:pt x="58" y="117"/>
                    </a:cubicBezTo>
                    <a:cubicBezTo>
                      <a:pt x="284" y="113"/>
                      <a:pt x="284" y="113"/>
                      <a:pt x="284" y="113"/>
                    </a:cubicBezTo>
                    <a:cubicBezTo>
                      <a:pt x="304" y="113"/>
                      <a:pt x="319" y="97"/>
                      <a:pt x="319" y="78"/>
                    </a:cubicBezTo>
                    <a:cubicBezTo>
                      <a:pt x="319" y="58"/>
                      <a:pt x="304" y="42"/>
                      <a:pt x="284" y="42"/>
                    </a:cubicBezTo>
                    <a:close/>
                  </a:path>
                </a:pathLst>
              </a:custGeom>
              <a:noFill/>
              <a:ln w="7938" cap="flat">
                <a:solidFill>
                  <a:srgbClr val="AEADA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Oval 21">
                <a:extLst>
                  <a:ext uri="{FF2B5EF4-FFF2-40B4-BE49-F238E27FC236}">
                    <a16:creationId xmlns:a16="http://schemas.microsoft.com/office/drawing/2014/main" id="{66C4148B-57D9-420B-B253-E23D601C47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9388" y="3657600"/>
                <a:ext cx="309563" cy="312738"/>
              </a:xfrm>
              <a:prstGeom prst="ellipse">
                <a:avLst/>
              </a:pr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Line 22">
                <a:extLst>
                  <a:ext uri="{FF2B5EF4-FFF2-40B4-BE49-F238E27FC236}">
                    <a16:creationId xmlns:a16="http://schemas.microsoft.com/office/drawing/2014/main" id="{42687362-A5E1-4333-8593-12931343F1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53375" y="3814763"/>
                <a:ext cx="111125" cy="268288"/>
              </a:xfrm>
              <a:prstGeom prst="line">
                <a:avLst/>
              </a:prstGeom>
              <a:noFill/>
              <a:ln w="11113" cap="flat">
                <a:solidFill>
                  <a:srgbClr val="142C5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23">
                <a:extLst>
                  <a:ext uri="{FF2B5EF4-FFF2-40B4-BE49-F238E27FC236}">
                    <a16:creationId xmlns:a16="http://schemas.microsoft.com/office/drawing/2014/main" id="{E0CDEB95-33C0-4B39-884E-4B9074F0A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1463" y="3902075"/>
                <a:ext cx="246063" cy="187325"/>
              </a:xfrm>
              <a:custGeom>
                <a:avLst/>
                <a:gdLst>
                  <a:gd name="T0" fmla="*/ 62 w 72"/>
                  <a:gd name="T1" fmla="*/ 0 h 55"/>
                  <a:gd name="T2" fmla="*/ 71 w 72"/>
                  <a:gd name="T3" fmla="*/ 35 h 55"/>
                  <a:gd name="T4" fmla="*/ 5 w 72"/>
                  <a:gd name="T5" fmla="*/ 52 h 55"/>
                  <a:gd name="T6" fmla="*/ 51 w 72"/>
                  <a:gd name="T7" fmla="*/ 18 h 55"/>
                  <a:gd name="T8" fmla="*/ 62 w 72"/>
                  <a:gd name="T9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55">
                    <a:moveTo>
                      <a:pt x="62" y="0"/>
                    </a:moveTo>
                    <a:cubicBezTo>
                      <a:pt x="62" y="0"/>
                      <a:pt x="72" y="27"/>
                      <a:pt x="71" y="35"/>
                    </a:cubicBezTo>
                    <a:cubicBezTo>
                      <a:pt x="69" y="44"/>
                      <a:pt x="10" y="55"/>
                      <a:pt x="5" y="52"/>
                    </a:cubicBezTo>
                    <a:cubicBezTo>
                      <a:pt x="0" y="48"/>
                      <a:pt x="51" y="28"/>
                      <a:pt x="51" y="18"/>
                    </a:cubicBezTo>
                    <a:cubicBezTo>
                      <a:pt x="51" y="8"/>
                      <a:pt x="62" y="0"/>
                      <a:pt x="62" y="0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24">
                <a:extLst>
                  <a:ext uri="{FF2B5EF4-FFF2-40B4-BE49-F238E27FC236}">
                    <a16:creationId xmlns:a16="http://schemas.microsoft.com/office/drawing/2014/main" id="{913D88AA-9BAE-4A42-9B15-66F145A58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9563" y="2687638"/>
                <a:ext cx="384175" cy="103188"/>
              </a:xfrm>
              <a:custGeom>
                <a:avLst/>
                <a:gdLst>
                  <a:gd name="T0" fmla="*/ 98 w 113"/>
                  <a:gd name="T1" fmla="*/ 30 h 30"/>
                  <a:gd name="T2" fmla="*/ 14 w 113"/>
                  <a:gd name="T3" fmla="*/ 30 h 30"/>
                  <a:gd name="T4" fmla="*/ 0 w 113"/>
                  <a:gd name="T5" fmla="*/ 15 h 30"/>
                  <a:gd name="T6" fmla="*/ 0 w 113"/>
                  <a:gd name="T7" fmla="*/ 15 h 30"/>
                  <a:gd name="T8" fmla="*/ 14 w 113"/>
                  <a:gd name="T9" fmla="*/ 0 h 30"/>
                  <a:gd name="T10" fmla="*/ 98 w 113"/>
                  <a:gd name="T11" fmla="*/ 0 h 30"/>
                  <a:gd name="T12" fmla="*/ 113 w 113"/>
                  <a:gd name="T13" fmla="*/ 15 h 30"/>
                  <a:gd name="T14" fmla="*/ 113 w 113"/>
                  <a:gd name="T15" fmla="*/ 15 h 30"/>
                  <a:gd name="T16" fmla="*/ 98 w 113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3" h="30">
                    <a:moveTo>
                      <a:pt x="98" y="30"/>
                    </a:moveTo>
                    <a:cubicBezTo>
                      <a:pt x="14" y="30"/>
                      <a:pt x="14" y="30"/>
                      <a:pt x="14" y="30"/>
                    </a:cubicBezTo>
                    <a:cubicBezTo>
                      <a:pt x="6" y="30"/>
                      <a:pt x="0" y="23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6" y="0"/>
                      <a:pt x="14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106" y="0"/>
                      <a:pt x="113" y="7"/>
                      <a:pt x="113" y="15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23"/>
                      <a:pt x="106" y="30"/>
                      <a:pt x="98" y="30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25">
                <a:extLst>
                  <a:ext uri="{FF2B5EF4-FFF2-40B4-BE49-F238E27FC236}">
                    <a16:creationId xmlns:a16="http://schemas.microsoft.com/office/drawing/2014/main" id="{B8E5D453-2EB9-497E-86A3-C48B32F47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5750" y="2576513"/>
                <a:ext cx="366713" cy="1400175"/>
              </a:xfrm>
              <a:custGeom>
                <a:avLst/>
                <a:gdLst>
                  <a:gd name="T0" fmla="*/ 108 w 108"/>
                  <a:gd name="T1" fmla="*/ 0 h 412"/>
                  <a:gd name="T2" fmla="*/ 72 w 108"/>
                  <a:gd name="T3" fmla="*/ 201 h 412"/>
                  <a:gd name="T4" fmla="*/ 67 w 108"/>
                  <a:gd name="T5" fmla="*/ 412 h 412"/>
                  <a:gd name="T6" fmla="*/ 41 w 108"/>
                  <a:gd name="T7" fmla="*/ 412 h 412"/>
                  <a:gd name="T8" fmla="*/ 2 w 108"/>
                  <a:gd name="T9" fmla="*/ 206 h 412"/>
                  <a:gd name="T10" fmla="*/ 2 w 108"/>
                  <a:gd name="T11" fmla="*/ 0 h 412"/>
                  <a:gd name="T12" fmla="*/ 108 w 108"/>
                  <a:gd name="T13" fmla="*/ 0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412">
                    <a:moveTo>
                      <a:pt x="108" y="0"/>
                    </a:moveTo>
                    <a:cubicBezTo>
                      <a:pt x="72" y="201"/>
                      <a:pt x="72" y="201"/>
                      <a:pt x="72" y="201"/>
                    </a:cubicBezTo>
                    <a:cubicBezTo>
                      <a:pt x="67" y="412"/>
                      <a:pt x="67" y="412"/>
                      <a:pt x="67" y="412"/>
                    </a:cubicBezTo>
                    <a:cubicBezTo>
                      <a:pt x="41" y="412"/>
                      <a:pt x="41" y="412"/>
                      <a:pt x="41" y="412"/>
                    </a:cubicBezTo>
                    <a:cubicBezTo>
                      <a:pt x="41" y="412"/>
                      <a:pt x="4" y="237"/>
                      <a:pt x="2" y="206"/>
                    </a:cubicBezTo>
                    <a:cubicBezTo>
                      <a:pt x="0" y="175"/>
                      <a:pt x="2" y="0"/>
                      <a:pt x="2" y="0"/>
                    </a:cubicBezTo>
                    <a:cubicBezTo>
                      <a:pt x="108" y="0"/>
                      <a:pt x="108" y="0"/>
                      <a:pt x="108" y="0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26">
                <a:extLst>
                  <a:ext uri="{FF2B5EF4-FFF2-40B4-BE49-F238E27FC236}">
                    <a16:creationId xmlns:a16="http://schemas.microsoft.com/office/drawing/2014/main" id="{0A9A67F0-3227-4585-97EA-D521AB5D3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0625" y="1362075"/>
                <a:ext cx="412750" cy="381000"/>
              </a:xfrm>
              <a:custGeom>
                <a:avLst/>
                <a:gdLst>
                  <a:gd name="T0" fmla="*/ 8 w 121"/>
                  <a:gd name="T1" fmla="*/ 50 h 112"/>
                  <a:gd name="T2" fmla="*/ 4 w 121"/>
                  <a:gd name="T3" fmla="*/ 26 h 112"/>
                  <a:gd name="T4" fmla="*/ 39 w 121"/>
                  <a:gd name="T5" fmla="*/ 2 h 112"/>
                  <a:gd name="T6" fmla="*/ 86 w 121"/>
                  <a:gd name="T7" fmla="*/ 20 h 112"/>
                  <a:gd name="T8" fmla="*/ 113 w 121"/>
                  <a:gd name="T9" fmla="*/ 80 h 112"/>
                  <a:gd name="T10" fmla="*/ 54 w 121"/>
                  <a:gd name="T11" fmla="*/ 105 h 112"/>
                  <a:gd name="T12" fmla="*/ 8 w 121"/>
                  <a:gd name="T13" fmla="*/ 5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12">
                    <a:moveTo>
                      <a:pt x="8" y="50"/>
                    </a:moveTo>
                    <a:cubicBezTo>
                      <a:pt x="8" y="50"/>
                      <a:pt x="0" y="37"/>
                      <a:pt x="4" y="26"/>
                    </a:cubicBezTo>
                    <a:cubicBezTo>
                      <a:pt x="9" y="15"/>
                      <a:pt x="31" y="1"/>
                      <a:pt x="39" y="2"/>
                    </a:cubicBezTo>
                    <a:cubicBezTo>
                      <a:pt x="46" y="3"/>
                      <a:pt x="71" y="0"/>
                      <a:pt x="86" y="20"/>
                    </a:cubicBezTo>
                    <a:cubicBezTo>
                      <a:pt x="101" y="40"/>
                      <a:pt x="121" y="63"/>
                      <a:pt x="113" y="80"/>
                    </a:cubicBezTo>
                    <a:cubicBezTo>
                      <a:pt x="104" y="97"/>
                      <a:pt x="58" y="98"/>
                      <a:pt x="54" y="105"/>
                    </a:cubicBezTo>
                    <a:cubicBezTo>
                      <a:pt x="51" y="112"/>
                      <a:pt x="8" y="50"/>
                      <a:pt x="8" y="50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27">
                <a:extLst>
                  <a:ext uri="{FF2B5EF4-FFF2-40B4-BE49-F238E27FC236}">
                    <a16:creationId xmlns:a16="http://schemas.microsoft.com/office/drawing/2014/main" id="{4B116872-C5EC-45DA-897A-2AAB55C93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6175" y="1439863"/>
                <a:ext cx="282575" cy="360363"/>
              </a:xfrm>
              <a:custGeom>
                <a:avLst/>
                <a:gdLst>
                  <a:gd name="T0" fmla="*/ 37 w 83"/>
                  <a:gd name="T1" fmla="*/ 0 h 106"/>
                  <a:gd name="T2" fmla="*/ 13 w 83"/>
                  <a:gd name="T3" fmla="*/ 25 h 106"/>
                  <a:gd name="T4" fmla="*/ 0 w 83"/>
                  <a:gd name="T5" fmla="*/ 32 h 106"/>
                  <a:gd name="T6" fmla="*/ 11 w 83"/>
                  <a:gd name="T7" fmla="*/ 39 h 106"/>
                  <a:gd name="T8" fmla="*/ 10 w 83"/>
                  <a:gd name="T9" fmla="*/ 73 h 106"/>
                  <a:gd name="T10" fmla="*/ 34 w 83"/>
                  <a:gd name="T11" fmla="*/ 82 h 106"/>
                  <a:gd name="T12" fmla="*/ 50 w 83"/>
                  <a:gd name="T13" fmla="*/ 106 h 106"/>
                  <a:gd name="T14" fmla="*/ 83 w 83"/>
                  <a:gd name="T15" fmla="*/ 89 h 106"/>
                  <a:gd name="T16" fmla="*/ 68 w 83"/>
                  <a:gd name="T17" fmla="*/ 66 h 106"/>
                  <a:gd name="T18" fmla="*/ 76 w 83"/>
                  <a:gd name="T19" fmla="*/ 45 h 106"/>
                  <a:gd name="T20" fmla="*/ 59 w 83"/>
                  <a:gd name="T21" fmla="*/ 34 h 106"/>
                  <a:gd name="T22" fmla="*/ 37 w 83"/>
                  <a:gd name="T23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106">
                    <a:moveTo>
                      <a:pt x="37" y="0"/>
                    </a:moveTo>
                    <a:cubicBezTo>
                      <a:pt x="13" y="25"/>
                      <a:pt x="13" y="25"/>
                      <a:pt x="13" y="25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39"/>
                      <a:pt x="6" y="65"/>
                      <a:pt x="10" y="73"/>
                    </a:cubicBezTo>
                    <a:cubicBezTo>
                      <a:pt x="13" y="81"/>
                      <a:pt x="28" y="75"/>
                      <a:pt x="34" y="82"/>
                    </a:cubicBezTo>
                    <a:cubicBezTo>
                      <a:pt x="40" y="90"/>
                      <a:pt x="50" y="106"/>
                      <a:pt x="50" y="106"/>
                    </a:cubicBezTo>
                    <a:cubicBezTo>
                      <a:pt x="83" y="89"/>
                      <a:pt x="83" y="89"/>
                      <a:pt x="83" y="89"/>
                    </a:cubicBezTo>
                    <a:cubicBezTo>
                      <a:pt x="68" y="66"/>
                      <a:pt x="68" y="66"/>
                      <a:pt x="68" y="66"/>
                    </a:cubicBezTo>
                    <a:cubicBezTo>
                      <a:pt x="68" y="66"/>
                      <a:pt x="75" y="58"/>
                      <a:pt x="76" y="45"/>
                    </a:cubicBezTo>
                    <a:cubicBezTo>
                      <a:pt x="76" y="33"/>
                      <a:pt x="59" y="34"/>
                      <a:pt x="59" y="34"/>
                    </a:cubicBezTo>
                    <a:cubicBezTo>
                      <a:pt x="59" y="34"/>
                      <a:pt x="33" y="16"/>
                      <a:pt x="37" y="0"/>
                    </a:cubicBezTo>
                    <a:close/>
                  </a:path>
                </a:pathLst>
              </a:custGeom>
              <a:solidFill>
                <a:srgbClr val="E78C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28">
                <a:extLst>
                  <a:ext uri="{FF2B5EF4-FFF2-40B4-BE49-F238E27FC236}">
                    <a16:creationId xmlns:a16="http://schemas.microsoft.com/office/drawing/2014/main" id="{E8C388A3-0986-4F77-BDB2-0A41A03A74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4375" y="1719263"/>
                <a:ext cx="625475" cy="373063"/>
              </a:xfrm>
              <a:custGeom>
                <a:avLst/>
                <a:gdLst>
                  <a:gd name="T0" fmla="*/ 177 w 184"/>
                  <a:gd name="T1" fmla="*/ 39 h 110"/>
                  <a:gd name="T2" fmla="*/ 73 w 184"/>
                  <a:gd name="T3" fmla="*/ 72 h 110"/>
                  <a:gd name="T4" fmla="*/ 9 w 184"/>
                  <a:gd name="T5" fmla="*/ 0 h 110"/>
                  <a:gd name="T6" fmla="*/ 0 w 184"/>
                  <a:gd name="T7" fmla="*/ 13 h 110"/>
                  <a:gd name="T8" fmla="*/ 64 w 184"/>
                  <a:gd name="T9" fmla="*/ 107 h 110"/>
                  <a:gd name="T10" fmla="*/ 184 w 184"/>
                  <a:gd name="T11" fmla="*/ 90 h 110"/>
                  <a:gd name="T12" fmla="*/ 177 w 184"/>
                  <a:gd name="T13" fmla="*/ 39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" h="110">
                    <a:moveTo>
                      <a:pt x="177" y="39"/>
                    </a:moveTo>
                    <a:cubicBezTo>
                      <a:pt x="73" y="72"/>
                      <a:pt x="73" y="72"/>
                      <a:pt x="73" y="7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31" y="105"/>
                      <a:pt x="64" y="107"/>
                    </a:cubicBezTo>
                    <a:cubicBezTo>
                      <a:pt x="97" y="110"/>
                      <a:pt x="184" y="90"/>
                      <a:pt x="184" y="90"/>
                    </a:cubicBezTo>
                    <a:cubicBezTo>
                      <a:pt x="177" y="39"/>
                      <a:pt x="177" y="39"/>
                      <a:pt x="177" y="39"/>
                    </a:cubicBezTo>
                    <a:close/>
                  </a:path>
                </a:pathLst>
              </a:custGeom>
              <a:solidFill>
                <a:srgbClr val="2BBFE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29">
                <a:extLst>
                  <a:ext uri="{FF2B5EF4-FFF2-40B4-BE49-F238E27FC236}">
                    <a16:creationId xmlns:a16="http://schemas.microsoft.com/office/drawing/2014/main" id="{5B51BCFB-6ADD-453D-B8BD-4B666FEF06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6350" y="1684338"/>
                <a:ext cx="755650" cy="949325"/>
              </a:xfrm>
              <a:custGeom>
                <a:avLst/>
                <a:gdLst>
                  <a:gd name="T0" fmla="*/ 4 w 222"/>
                  <a:gd name="T1" fmla="*/ 145 h 279"/>
                  <a:gd name="T2" fmla="*/ 4 w 222"/>
                  <a:gd name="T3" fmla="*/ 70 h 279"/>
                  <a:gd name="T4" fmla="*/ 45 w 222"/>
                  <a:gd name="T5" fmla="*/ 10 h 279"/>
                  <a:gd name="T6" fmla="*/ 162 w 222"/>
                  <a:gd name="T7" fmla="*/ 49 h 279"/>
                  <a:gd name="T8" fmla="*/ 126 w 222"/>
                  <a:gd name="T9" fmla="*/ 90 h 279"/>
                  <a:gd name="T10" fmla="*/ 209 w 222"/>
                  <a:gd name="T11" fmla="*/ 268 h 279"/>
                  <a:gd name="T12" fmla="*/ 59 w 222"/>
                  <a:gd name="T13" fmla="*/ 262 h 279"/>
                  <a:gd name="T14" fmla="*/ 4 w 222"/>
                  <a:gd name="T15" fmla="*/ 14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279">
                    <a:moveTo>
                      <a:pt x="4" y="145"/>
                    </a:moveTo>
                    <a:cubicBezTo>
                      <a:pt x="4" y="145"/>
                      <a:pt x="0" y="100"/>
                      <a:pt x="4" y="70"/>
                    </a:cubicBezTo>
                    <a:cubicBezTo>
                      <a:pt x="7" y="40"/>
                      <a:pt x="7" y="20"/>
                      <a:pt x="45" y="10"/>
                    </a:cubicBezTo>
                    <a:cubicBezTo>
                      <a:pt x="82" y="0"/>
                      <a:pt x="169" y="22"/>
                      <a:pt x="162" y="49"/>
                    </a:cubicBezTo>
                    <a:cubicBezTo>
                      <a:pt x="155" y="77"/>
                      <a:pt x="122" y="78"/>
                      <a:pt x="126" y="90"/>
                    </a:cubicBezTo>
                    <a:cubicBezTo>
                      <a:pt x="129" y="102"/>
                      <a:pt x="222" y="256"/>
                      <a:pt x="209" y="268"/>
                    </a:cubicBezTo>
                    <a:cubicBezTo>
                      <a:pt x="196" y="279"/>
                      <a:pt x="70" y="271"/>
                      <a:pt x="59" y="262"/>
                    </a:cubicBezTo>
                    <a:cubicBezTo>
                      <a:pt x="47" y="252"/>
                      <a:pt x="16" y="163"/>
                      <a:pt x="4" y="145"/>
                    </a:cubicBezTo>
                    <a:close/>
                  </a:path>
                </a:pathLst>
              </a:custGeom>
              <a:solidFill>
                <a:srgbClr val="4EC9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30">
                <a:extLst>
                  <a:ext uri="{FF2B5EF4-FFF2-40B4-BE49-F238E27FC236}">
                    <a16:creationId xmlns:a16="http://schemas.microsoft.com/office/drawing/2014/main" id="{DDA37F72-0140-40B1-B99D-78AB36FB6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6750" y="1508125"/>
                <a:ext cx="92075" cy="274638"/>
              </a:xfrm>
              <a:custGeom>
                <a:avLst/>
                <a:gdLst>
                  <a:gd name="T0" fmla="*/ 27 w 27"/>
                  <a:gd name="T1" fmla="*/ 66 h 81"/>
                  <a:gd name="T2" fmla="*/ 8 w 27"/>
                  <a:gd name="T3" fmla="*/ 6 h 81"/>
                  <a:gd name="T4" fmla="*/ 3 w 27"/>
                  <a:gd name="T5" fmla="*/ 36 h 81"/>
                  <a:gd name="T6" fmla="*/ 14 w 27"/>
                  <a:gd name="T7" fmla="*/ 75 h 81"/>
                  <a:gd name="T8" fmla="*/ 27 w 27"/>
                  <a:gd name="T9" fmla="*/ 6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81">
                    <a:moveTo>
                      <a:pt x="27" y="66"/>
                    </a:moveTo>
                    <a:cubicBezTo>
                      <a:pt x="27" y="66"/>
                      <a:pt x="15" y="13"/>
                      <a:pt x="8" y="6"/>
                    </a:cubicBezTo>
                    <a:cubicBezTo>
                      <a:pt x="0" y="0"/>
                      <a:pt x="3" y="24"/>
                      <a:pt x="3" y="36"/>
                    </a:cubicBezTo>
                    <a:cubicBezTo>
                      <a:pt x="3" y="48"/>
                      <a:pt x="5" y="69"/>
                      <a:pt x="14" y="75"/>
                    </a:cubicBezTo>
                    <a:cubicBezTo>
                      <a:pt x="24" y="81"/>
                      <a:pt x="27" y="66"/>
                      <a:pt x="27" y="66"/>
                    </a:cubicBezTo>
                    <a:close/>
                  </a:path>
                </a:pathLst>
              </a:custGeom>
              <a:solidFill>
                <a:srgbClr val="E78C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31">
                <a:extLst>
                  <a:ext uri="{FF2B5EF4-FFF2-40B4-BE49-F238E27FC236}">
                    <a16:creationId xmlns:a16="http://schemas.microsoft.com/office/drawing/2014/main" id="{0C70F2A4-0ADE-450B-9B1F-2CA05AD7A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8650" y="2500313"/>
                <a:ext cx="255588" cy="219075"/>
              </a:xfrm>
              <a:custGeom>
                <a:avLst/>
                <a:gdLst>
                  <a:gd name="T0" fmla="*/ 64 w 75"/>
                  <a:gd name="T1" fmla="*/ 0 h 64"/>
                  <a:gd name="T2" fmla="*/ 43 w 75"/>
                  <a:gd name="T3" fmla="*/ 14 h 64"/>
                  <a:gd name="T4" fmla="*/ 7 w 75"/>
                  <a:gd name="T5" fmla="*/ 51 h 64"/>
                  <a:gd name="T6" fmla="*/ 32 w 75"/>
                  <a:gd name="T7" fmla="*/ 45 h 64"/>
                  <a:gd name="T8" fmla="*/ 46 w 75"/>
                  <a:gd name="T9" fmla="*/ 33 h 64"/>
                  <a:gd name="T10" fmla="*/ 75 w 75"/>
                  <a:gd name="T11" fmla="*/ 13 h 64"/>
                  <a:gd name="T12" fmla="*/ 64 w 75"/>
                  <a:gd name="T13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64">
                    <a:moveTo>
                      <a:pt x="64" y="0"/>
                    </a:moveTo>
                    <a:cubicBezTo>
                      <a:pt x="64" y="0"/>
                      <a:pt x="53" y="12"/>
                      <a:pt x="43" y="14"/>
                    </a:cubicBezTo>
                    <a:cubicBezTo>
                      <a:pt x="33" y="16"/>
                      <a:pt x="0" y="39"/>
                      <a:pt x="7" y="51"/>
                    </a:cubicBezTo>
                    <a:cubicBezTo>
                      <a:pt x="14" y="64"/>
                      <a:pt x="32" y="45"/>
                      <a:pt x="32" y="45"/>
                    </a:cubicBezTo>
                    <a:cubicBezTo>
                      <a:pt x="32" y="45"/>
                      <a:pt x="41" y="41"/>
                      <a:pt x="46" y="33"/>
                    </a:cubicBezTo>
                    <a:cubicBezTo>
                      <a:pt x="51" y="25"/>
                      <a:pt x="75" y="13"/>
                      <a:pt x="75" y="13"/>
                    </a:cubicBezTo>
                    <a:cubicBezTo>
                      <a:pt x="64" y="0"/>
                      <a:pt x="64" y="0"/>
                      <a:pt x="64" y="0"/>
                    </a:cubicBezTo>
                    <a:close/>
                  </a:path>
                </a:pathLst>
              </a:custGeom>
              <a:solidFill>
                <a:srgbClr val="E78C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32">
                <a:extLst>
                  <a:ext uri="{FF2B5EF4-FFF2-40B4-BE49-F238E27FC236}">
                    <a16:creationId xmlns:a16="http://schemas.microsoft.com/office/drawing/2014/main" id="{01731CE3-DBF4-40B7-B1F3-5F6C9D3B9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2325" y="1728788"/>
                <a:ext cx="763588" cy="847725"/>
              </a:xfrm>
              <a:custGeom>
                <a:avLst/>
                <a:gdLst>
                  <a:gd name="T0" fmla="*/ 187 w 224"/>
                  <a:gd name="T1" fmla="*/ 12 h 249"/>
                  <a:gd name="T2" fmla="*/ 119 w 224"/>
                  <a:gd name="T3" fmla="*/ 159 h 249"/>
                  <a:gd name="T4" fmla="*/ 0 w 224"/>
                  <a:gd name="T5" fmla="*/ 228 h 249"/>
                  <a:gd name="T6" fmla="*/ 10 w 224"/>
                  <a:gd name="T7" fmla="*/ 249 h 249"/>
                  <a:gd name="T8" fmla="*/ 124 w 224"/>
                  <a:gd name="T9" fmla="*/ 210 h 249"/>
                  <a:gd name="T10" fmla="*/ 172 w 224"/>
                  <a:gd name="T11" fmla="*/ 155 h 249"/>
                  <a:gd name="T12" fmla="*/ 212 w 224"/>
                  <a:gd name="T13" fmla="*/ 70 h 249"/>
                  <a:gd name="T14" fmla="*/ 187 w 224"/>
                  <a:gd name="T15" fmla="*/ 12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4" h="249">
                    <a:moveTo>
                      <a:pt x="187" y="12"/>
                    </a:moveTo>
                    <a:cubicBezTo>
                      <a:pt x="153" y="23"/>
                      <a:pt x="119" y="159"/>
                      <a:pt x="119" y="159"/>
                    </a:cubicBezTo>
                    <a:cubicBezTo>
                      <a:pt x="0" y="228"/>
                      <a:pt x="0" y="228"/>
                      <a:pt x="0" y="228"/>
                    </a:cubicBezTo>
                    <a:cubicBezTo>
                      <a:pt x="10" y="249"/>
                      <a:pt x="10" y="249"/>
                      <a:pt x="10" y="249"/>
                    </a:cubicBezTo>
                    <a:cubicBezTo>
                      <a:pt x="10" y="249"/>
                      <a:pt x="98" y="219"/>
                      <a:pt x="124" y="210"/>
                    </a:cubicBezTo>
                    <a:cubicBezTo>
                      <a:pt x="150" y="200"/>
                      <a:pt x="159" y="189"/>
                      <a:pt x="172" y="155"/>
                    </a:cubicBezTo>
                    <a:cubicBezTo>
                      <a:pt x="185" y="121"/>
                      <a:pt x="204" y="98"/>
                      <a:pt x="212" y="70"/>
                    </a:cubicBezTo>
                    <a:cubicBezTo>
                      <a:pt x="219" y="43"/>
                      <a:pt x="224" y="0"/>
                      <a:pt x="187" y="12"/>
                    </a:cubicBezTo>
                    <a:close/>
                  </a:path>
                </a:pathLst>
              </a:custGeom>
              <a:solidFill>
                <a:srgbClr val="2BBFE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C76B81E-7970-4599-AAE2-28CCC27CE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2281" t="-2255" r="2193" b="6446"/>
            <a:stretch/>
          </p:blipFill>
          <p:spPr>
            <a:xfrm>
              <a:off x="1093973" y="3879604"/>
              <a:ext cx="878775" cy="884925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4A903CAA-84C9-46E1-98D5-D437105AE405}"/>
                </a:ext>
              </a:extLst>
            </p:cNvPr>
            <p:cNvSpPr txBox="1"/>
            <p:nvPr/>
          </p:nvSpPr>
          <p:spPr>
            <a:xfrm>
              <a:off x="563624" y="3221423"/>
              <a:ext cx="19394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Anthony Thoma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394C729-D752-4588-956B-E8B80857EAA4}"/>
              </a:ext>
            </a:extLst>
          </p:cNvPr>
          <p:cNvGrpSpPr/>
          <p:nvPr/>
        </p:nvGrpSpPr>
        <p:grpSpPr>
          <a:xfrm>
            <a:off x="2709084" y="3223023"/>
            <a:ext cx="2076678" cy="3311147"/>
            <a:chOff x="2709084" y="3223023"/>
            <a:chExt cx="2076678" cy="3311147"/>
          </a:xfrm>
        </p:grpSpPr>
        <p:grpSp>
          <p:nvGrpSpPr>
            <p:cNvPr id="704" name="Group 703">
              <a:extLst>
                <a:ext uri="{FF2B5EF4-FFF2-40B4-BE49-F238E27FC236}">
                  <a16:creationId xmlns:a16="http://schemas.microsoft.com/office/drawing/2014/main" id="{2DB50107-4E37-4B92-A711-75024A86D5DB}"/>
                </a:ext>
              </a:extLst>
            </p:cNvPr>
            <p:cNvGrpSpPr/>
            <p:nvPr/>
          </p:nvGrpSpPr>
          <p:grpSpPr>
            <a:xfrm>
              <a:off x="2718726" y="4321490"/>
              <a:ext cx="2067036" cy="2212680"/>
              <a:chOff x="2677607" y="3788077"/>
              <a:chExt cx="2067036" cy="2212680"/>
            </a:xfrm>
          </p:grpSpPr>
          <p:sp>
            <p:nvSpPr>
              <p:cNvPr id="705" name="Freeform 5">
                <a:extLst>
                  <a:ext uri="{FF2B5EF4-FFF2-40B4-BE49-F238E27FC236}">
                    <a16:creationId xmlns:a16="http://schemas.microsoft.com/office/drawing/2014/main" id="{05C517F9-81DE-41E7-AEEE-8E6F2422A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627" y="5395770"/>
                <a:ext cx="44814" cy="13071"/>
              </a:xfrm>
              <a:custGeom>
                <a:avLst/>
                <a:gdLst>
                  <a:gd name="T0" fmla="*/ 0 w 10"/>
                  <a:gd name="T1" fmla="*/ 3 h 3"/>
                  <a:gd name="T2" fmla="*/ 6 w 10"/>
                  <a:gd name="T3" fmla="*/ 0 h 3"/>
                  <a:gd name="T4" fmla="*/ 10 w 10"/>
                  <a:gd name="T5" fmla="*/ 0 h 3"/>
                  <a:gd name="T6" fmla="*/ 0 w 10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3">
                    <a:moveTo>
                      <a:pt x="0" y="3"/>
                    </a:moveTo>
                    <a:cubicBezTo>
                      <a:pt x="1" y="1"/>
                      <a:pt x="3" y="0"/>
                      <a:pt x="6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7" y="1"/>
                      <a:pt x="4" y="2"/>
                      <a:pt x="0" y="3"/>
                    </a:cubicBezTo>
                  </a:path>
                </a:pathLst>
              </a:custGeom>
              <a:solidFill>
                <a:srgbClr val="CFE4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Freeform 93">
                <a:extLst>
                  <a:ext uri="{FF2B5EF4-FFF2-40B4-BE49-F238E27FC236}">
                    <a16:creationId xmlns:a16="http://schemas.microsoft.com/office/drawing/2014/main" id="{9B3219AA-D7C2-4721-8D54-D83AAA9D9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579" y="4262356"/>
                <a:ext cx="57885" cy="44814"/>
              </a:xfrm>
              <a:custGeom>
                <a:avLst/>
                <a:gdLst>
                  <a:gd name="T0" fmla="*/ 9 w 13"/>
                  <a:gd name="T1" fmla="*/ 1 h 10"/>
                  <a:gd name="T2" fmla="*/ 2 w 13"/>
                  <a:gd name="T3" fmla="*/ 4 h 10"/>
                  <a:gd name="T4" fmla="*/ 1 w 13"/>
                  <a:gd name="T5" fmla="*/ 10 h 10"/>
                  <a:gd name="T6" fmla="*/ 5 w 13"/>
                  <a:gd name="T7" fmla="*/ 6 h 10"/>
                  <a:gd name="T8" fmla="*/ 12 w 13"/>
                  <a:gd name="T9" fmla="*/ 5 h 10"/>
                  <a:gd name="T10" fmla="*/ 9 w 13"/>
                  <a:gd name="T11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0">
                    <a:moveTo>
                      <a:pt x="9" y="1"/>
                    </a:moveTo>
                    <a:cubicBezTo>
                      <a:pt x="9" y="1"/>
                      <a:pt x="3" y="0"/>
                      <a:pt x="2" y="4"/>
                    </a:cubicBezTo>
                    <a:cubicBezTo>
                      <a:pt x="0" y="7"/>
                      <a:pt x="1" y="10"/>
                      <a:pt x="1" y="10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12" y="6"/>
                      <a:pt x="12" y="5"/>
                    </a:cubicBezTo>
                    <a:cubicBezTo>
                      <a:pt x="13" y="3"/>
                      <a:pt x="9" y="1"/>
                      <a:pt x="9" y="1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Freeform 94">
                <a:extLst>
                  <a:ext uri="{FF2B5EF4-FFF2-40B4-BE49-F238E27FC236}">
                    <a16:creationId xmlns:a16="http://schemas.microsoft.com/office/drawing/2014/main" id="{06356CB0-C4F5-45BF-86FA-42252D8928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5997" y="4267957"/>
                <a:ext cx="412661" cy="336103"/>
              </a:xfrm>
              <a:custGeom>
                <a:avLst/>
                <a:gdLst>
                  <a:gd name="T0" fmla="*/ 16 w 93"/>
                  <a:gd name="T1" fmla="*/ 0 h 76"/>
                  <a:gd name="T2" fmla="*/ 39 w 93"/>
                  <a:gd name="T3" fmla="*/ 48 h 76"/>
                  <a:gd name="T4" fmla="*/ 85 w 93"/>
                  <a:gd name="T5" fmla="*/ 13 h 76"/>
                  <a:gd name="T6" fmla="*/ 93 w 93"/>
                  <a:gd name="T7" fmla="*/ 23 h 76"/>
                  <a:gd name="T8" fmla="*/ 36 w 93"/>
                  <a:gd name="T9" fmla="*/ 69 h 76"/>
                  <a:gd name="T10" fmla="*/ 0 w 93"/>
                  <a:gd name="T11" fmla="*/ 39 h 76"/>
                  <a:gd name="T12" fmla="*/ 16 w 93"/>
                  <a:gd name="T1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" h="76">
                    <a:moveTo>
                      <a:pt x="16" y="0"/>
                    </a:moveTo>
                    <a:cubicBezTo>
                      <a:pt x="16" y="0"/>
                      <a:pt x="28" y="44"/>
                      <a:pt x="39" y="48"/>
                    </a:cubicBezTo>
                    <a:cubicBezTo>
                      <a:pt x="50" y="51"/>
                      <a:pt x="85" y="13"/>
                      <a:pt x="85" y="13"/>
                    </a:cubicBezTo>
                    <a:cubicBezTo>
                      <a:pt x="93" y="23"/>
                      <a:pt x="93" y="23"/>
                      <a:pt x="93" y="23"/>
                    </a:cubicBezTo>
                    <a:cubicBezTo>
                      <a:pt x="93" y="23"/>
                      <a:pt x="63" y="61"/>
                      <a:pt x="36" y="69"/>
                    </a:cubicBezTo>
                    <a:cubicBezTo>
                      <a:pt x="9" y="76"/>
                      <a:pt x="0" y="39"/>
                      <a:pt x="0" y="39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F589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Freeform 95">
                <a:extLst>
                  <a:ext uri="{FF2B5EF4-FFF2-40B4-BE49-F238E27FC236}">
                    <a16:creationId xmlns:a16="http://schemas.microsoft.com/office/drawing/2014/main" id="{E5B9F1D2-2570-4F21-BE88-AA2C46D961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15997" y="4320239"/>
                <a:ext cx="48548" cy="119503"/>
              </a:xfrm>
              <a:custGeom>
                <a:avLst/>
                <a:gdLst>
                  <a:gd name="T0" fmla="*/ 0 w 11"/>
                  <a:gd name="T1" fmla="*/ 27 h 27"/>
                  <a:gd name="T2" fmla="*/ 0 w 11"/>
                  <a:gd name="T3" fmla="*/ 27 h 27"/>
                  <a:gd name="T4" fmla="*/ 0 w 11"/>
                  <a:gd name="T5" fmla="*/ 27 h 27"/>
                  <a:gd name="T6" fmla="*/ 0 w 11"/>
                  <a:gd name="T7" fmla="*/ 27 h 27"/>
                  <a:gd name="T8" fmla="*/ 0 w 11"/>
                  <a:gd name="T9" fmla="*/ 27 h 27"/>
                  <a:gd name="T10" fmla="*/ 0 w 11"/>
                  <a:gd name="T11" fmla="*/ 27 h 27"/>
                  <a:gd name="T12" fmla="*/ 0 w 11"/>
                  <a:gd name="T13" fmla="*/ 27 h 27"/>
                  <a:gd name="T14" fmla="*/ 0 w 11"/>
                  <a:gd name="T15" fmla="*/ 27 h 27"/>
                  <a:gd name="T16" fmla="*/ 0 w 11"/>
                  <a:gd name="T17" fmla="*/ 27 h 27"/>
                  <a:gd name="T18" fmla="*/ 0 w 11"/>
                  <a:gd name="T19" fmla="*/ 27 h 27"/>
                  <a:gd name="T20" fmla="*/ 0 w 11"/>
                  <a:gd name="T21" fmla="*/ 27 h 27"/>
                  <a:gd name="T22" fmla="*/ 0 w 11"/>
                  <a:gd name="T23" fmla="*/ 27 h 27"/>
                  <a:gd name="T24" fmla="*/ 0 w 11"/>
                  <a:gd name="T25" fmla="*/ 27 h 27"/>
                  <a:gd name="T26" fmla="*/ 0 w 11"/>
                  <a:gd name="T27" fmla="*/ 27 h 27"/>
                  <a:gd name="T28" fmla="*/ 0 w 11"/>
                  <a:gd name="T29" fmla="*/ 27 h 27"/>
                  <a:gd name="T30" fmla="*/ 0 w 11"/>
                  <a:gd name="T31" fmla="*/ 27 h 27"/>
                  <a:gd name="T32" fmla="*/ 0 w 11"/>
                  <a:gd name="T33" fmla="*/ 27 h 27"/>
                  <a:gd name="T34" fmla="*/ 11 w 11"/>
                  <a:gd name="T35" fmla="*/ 0 h 27"/>
                  <a:gd name="T36" fmla="*/ 11 w 11"/>
                  <a:gd name="T37" fmla="*/ 0 h 27"/>
                  <a:gd name="T38" fmla="*/ 0 w 11"/>
                  <a:gd name="T3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" h="27"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0" y="27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27"/>
                      <a:pt x="0" y="27"/>
                      <a:pt x="0" y="27"/>
                    </a:cubicBezTo>
                  </a:path>
                </a:pathLst>
              </a:custGeom>
              <a:solidFill>
                <a:srgbClr val="F0B2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Freeform 96">
                <a:extLst>
                  <a:ext uri="{FF2B5EF4-FFF2-40B4-BE49-F238E27FC236}">
                    <a16:creationId xmlns:a16="http://schemas.microsoft.com/office/drawing/2014/main" id="{9737BB65-C440-4506-952A-9FAF6C3FE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5997" y="4310904"/>
                <a:ext cx="128840" cy="250210"/>
              </a:xfrm>
              <a:custGeom>
                <a:avLst/>
                <a:gdLst>
                  <a:gd name="T0" fmla="*/ 17 w 29"/>
                  <a:gd name="T1" fmla="*/ 56 h 56"/>
                  <a:gd name="T2" fmla="*/ 0 w 29"/>
                  <a:gd name="T3" fmla="*/ 29 h 56"/>
                  <a:gd name="T4" fmla="*/ 0 w 29"/>
                  <a:gd name="T5" fmla="*/ 29 h 56"/>
                  <a:gd name="T6" fmla="*/ 0 w 29"/>
                  <a:gd name="T7" fmla="*/ 29 h 56"/>
                  <a:gd name="T8" fmla="*/ 0 w 29"/>
                  <a:gd name="T9" fmla="*/ 29 h 56"/>
                  <a:gd name="T10" fmla="*/ 0 w 29"/>
                  <a:gd name="T11" fmla="*/ 29 h 56"/>
                  <a:gd name="T12" fmla="*/ 0 w 29"/>
                  <a:gd name="T13" fmla="*/ 29 h 56"/>
                  <a:gd name="T14" fmla="*/ 0 w 29"/>
                  <a:gd name="T15" fmla="*/ 29 h 56"/>
                  <a:gd name="T16" fmla="*/ 0 w 29"/>
                  <a:gd name="T17" fmla="*/ 29 h 56"/>
                  <a:gd name="T18" fmla="*/ 0 w 29"/>
                  <a:gd name="T19" fmla="*/ 29 h 56"/>
                  <a:gd name="T20" fmla="*/ 0 w 29"/>
                  <a:gd name="T21" fmla="*/ 29 h 56"/>
                  <a:gd name="T22" fmla="*/ 0 w 29"/>
                  <a:gd name="T23" fmla="*/ 29 h 56"/>
                  <a:gd name="T24" fmla="*/ 11 w 29"/>
                  <a:gd name="T25" fmla="*/ 2 h 56"/>
                  <a:gd name="T26" fmla="*/ 21 w 29"/>
                  <a:gd name="T27" fmla="*/ 22 h 56"/>
                  <a:gd name="T28" fmla="*/ 21 w 29"/>
                  <a:gd name="T29" fmla="*/ 19 h 56"/>
                  <a:gd name="T30" fmla="*/ 19 w 29"/>
                  <a:gd name="T31" fmla="*/ 0 h 56"/>
                  <a:gd name="T32" fmla="*/ 23 w 29"/>
                  <a:gd name="T33" fmla="*/ 49 h 56"/>
                  <a:gd name="T34" fmla="*/ 17 w 29"/>
                  <a:gd name="T35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56">
                    <a:moveTo>
                      <a:pt x="17" y="56"/>
                    </a:moveTo>
                    <a:cubicBezTo>
                      <a:pt x="5" y="48"/>
                      <a:pt x="0" y="31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5" y="12"/>
                      <a:pt x="19" y="22"/>
                      <a:pt x="21" y="22"/>
                    </a:cubicBezTo>
                    <a:cubicBezTo>
                      <a:pt x="21" y="22"/>
                      <a:pt x="21" y="21"/>
                      <a:pt x="21" y="19"/>
                    </a:cubicBezTo>
                    <a:cubicBezTo>
                      <a:pt x="21" y="13"/>
                      <a:pt x="20" y="6"/>
                      <a:pt x="19" y="0"/>
                    </a:cubicBezTo>
                    <a:cubicBezTo>
                      <a:pt x="23" y="13"/>
                      <a:pt x="29" y="36"/>
                      <a:pt x="23" y="49"/>
                    </a:cubicBezTo>
                    <a:cubicBezTo>
                      <a:pt x="22" y="52"/>
                      <a:pt x="20" y="55"/>
                      <a:pt x="17" y="56"/>
                    </a:cubicBezTo>
                  </a:path>
                </a:pathLst>
              </a:custGeom>
              <a:solidFill>
                <a:srgbClr val="F267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Freeform 97">
                <a:extLst>
                  <a:ext uri="{FF2B5EF4-FFF2-40B4-BE49-F238E27FC236}">
                    <a16:creationId xmlns:a16="http://schemas.microsoft.com/office/drawing/2014/main" id="{442723B5-BFB0-4B09-BEB0-7F46DEC12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1437" y="4217542"/>
                <a:ext cx="190459" cy="147513"/>
              </a:xfrm>
              <a:custGeom>
                <a:avLst/>
                <a:gdLst>
                  <a:gd name="T0" fmla="*/ 38 w 43"/>
                  <a:gd name="T1" fmla="*/ 4 h 33"/>
                  <a:gd name="T2" fmla="*/ 23 w 43"/>
                  <a:gd name="T3" fmla="*/ 3 h 33"/>
                  <a:gd name="T4" fmla="*/ 1 w 43"/>
                  <a:gd name="T5" fmla="*/ 28 h 33"/>
                  <a:gd name="T6" fmla="*/ 15 w 43"/>
                  <a:gd name="T7" fmla="*/ 32 h 33"/>
                  <a:gd name="T8" fmla="*/ 38 w 43"/>
                  <a:gd name="T9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3">
                    <a:moveTo>
                      <a:pt x="38" y="4"/>
                    </a:moveTo>
                    <a:cubicBezTo>
                      <a:pt x="38" y="4"/>
                      <a:pt x="26" y="0"/>
                      <a:pt x="23" y="3"/>
                    </a:cubicBezTo>
                    <a:cubicBezTo>
                      <a:pt x="21" y="6"/>
                      <a:pt x="0" y="26"/>
                      <a:pt x="1" y="28"/>
                    </a:cubicBezTo>
                    <a:cubicBezTo>
                      <a:pt x="1" y="29"/>
                      <a:pt x="10" y="33"/>
                      <a:pt x="15" y="32"/>
                    </a:cubicBezTo>
                    <a:cubicBezTo>
                      <a:pt x="20" y="31"/>
                      <a:pt x="43" y="6"/>
                      <a:pt x="38" y="4"/>
                    </a:cubicBezTo>
                    <a:close/>
                  </a:path>
                </a:pathLst>
              </a:custGeom>
              <a:solidFill>
                <a:srgbClr val="242C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Freeform 98">
                <a:extLst>
                  <a:ext uri="{FF2B5EF4-FFF2-40B4-BE49-F238E27FC236}">
                    <a16:creationId xmlns:a16="http://schemas.microsoft.com/office/drawing/2014/main" id="{BEA4A27D-B864-4C4A-A878-E5192C621F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6251" y="4223143"/>
                <a:ext cx="145645" cy="138176"/>
              </a:xfrm>
              <a:custGeom>
                <a:avLst/>
                <a:gdLst>
                  <a:gd name="T0" fmla="*/ 22 w 33"/>
                  <a:gd name="T1" fmla="*/ 3 h 31"/>
                  <a:gd name="T2" fmla="*/ 14 w 33"/>
                  <a:gd name="T3" fmla="*/ 1 h 31"/>
                  <a:gd name="T4" fmla="*/ 28 w 33"/>
                  <a:gd name="T5" fmla="*/ 3 h 31"/>
                  <a:gd name="T6" fmla="*/ 5 w 33"/>
                  <a:gd name="T7" fmla="*/ 31 h 31"/>
                  <a:gd name="T8" fmla="*/ 0 w 33"/>
                  <a:gd name="T9" fmla="*/ 31 h 31"/>
                  <a:gd name="T10" fmla="*/ 22 w 33"/>
                  <a:gd name="T11" fmla="*/ 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" h="31">
                    <a:moveTo>
                      <a:pt x="22" y="3"/>
                    </a:moveTo>
                    <a:cubicBezTo>
                      <a:pt x="22" y="3"/>
                      <a:pt x="18" y="2"/>
                      <a:pt x="14" y="1"/>
                    </a:cubicBezTo>
                    <a:cubicBezTo>
                      <a:pt x="18" y="0"/>
                      <a:pt x="28" y="3"/>
                      <a:pt x="28" y="3"/>
                    </a:cubicBezTo>
                    <a:cubicBezTo>
                      <a:pt x="33" y="5"/>
                      <a:pt x="10" y="30"/>
                      <a:pt x="5" y="31"/>
                    </a:cubicBezTo>
                    <a:cubicBezTo>
                      <a:pt x="3" y="31"/>
                      <a:pt x="2" y="31"/>
                      <a:pt x="0" y="31"/>
                    </a:cubicBezTo>
                    <a:cubicBezTo>
                      <a:pt x="6" y="28"/>
                      <a:pt x="27" y="5"/>
                      <a:pt x="22" y="3"/>
                    </a:cubicBezTo>
                    <a:close/>
                  </a:path>
                </a:pathLst>
              </a:custGeom>
              <a:solidFill>
                <a:srgbClr val="191E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Freeform 99">
                <a:extLst>
                  <a:ext uri="{FF2B5EF4-FFF2-40B4-BE49-F238E27FC236}">
                    <a16:creationId xmlns:a16="http://schemas.microsoft.com/office/drawing/2014/main" id="{2959E8BE-FB6E-4A02-B12A-A33743F96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4508" y="4294098"/>
                <a:ext cx="119503" cy="80292"/>
              </a:xfrm>
              <a:custGeom>
                <a:avLst/>
                <a:gdLst>
                  <a:gd name="T0" fmla="*/ 27 w 27"/>
                  <a:gd name="T1" fmla="*/ 2 h 18"/>
                  <a:gd name="T2" fmla="*/ 25 w 27"/>
                  <a:gd name="T3" fmla="*/ 8 h 18"/>
                  <a:gd name="T4" fmla="*/ 12 w 27"/>
                  <a:gd name="T5" fmla="*/ 18 h 18"/>
                  <a:gd name="T6" fmla="*/ 1 w 27"/>
                  <a:gd name="T7" fmla="*/ 9 h 18"/>
                  <a:gd name="T8" fmla="*/ 9 w 27"/>
                  <a:gd name="T9" fmla="*/ 3 h 18"/>
                  <a:gd name="T10" fmla="*/ 27 w 27"/>
                  <a:gd name="T11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18">
                    <a:moveTo>
                      <a:pt x="27" y="2"/>
                    </a:moveTo>
                    <a:cubicBezTo>
                      <a:pt x="27" y="2"/>
                      <a:pt x="26" y="3"/>
                      <a:pt x="25" y="8"/>
                    </a:cubicBezTo>
                    <a:cubicBezTo>
                      <a:pt x="23" y="13"/>
                      <a:pt x="14" y="18"/>
                      <a:pt x="12" y="18"/>
                    </a:cubicBezTo>
                    <a:cubicBezTo>
                      <a:pt x="10" y="18"/>
                      <a:pt x="0" y="11"/>
                      <a:pt x="1" y="9"/>
                    </a:cubicBezTo>
                    <a:cubicBezTo>
                      <a:pt x="3" y="8"/>
                      <a:pt x="9" y="4"/>
                      <a:pt x="9" y="3"/>
                    </a:cubicBezTo>
                    <a:cubicBezTo>
                      <a:pt x="9" y="2"/>
                      <a:pt x="20" y="0"/>
                      <a:pt x="27" y="2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Freeform 100">
                <a:extLst>
                  <a:ext uri="{FF2B5EF4-FFF2-40B4-BE49-F238E27FC236}">
                    <a16:creationId xmlns:a16="http://schemas.microsoft.com/office/drawing/2014/main" id="{4C6E97C3-BD1B-462D-804D-154760C5B6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6127" y="5195976"/>
                <a:ext cx="808516" cy="804781"/>
              </a:xfrm>
              <a:custGeom>
                <a:avLst/>
                <a:gdLst>
                  <a:gd name="T0" fmla="*/ 91 w 182"/>
                  <a:gd name="T1" fmla="*/ 11 h 181"/>
                  <a:gd name="T2" fmla="*/ 12 w 182"/>
                  <a:gd name="T3" fmla="*/ 90 h 181"/>
                  <a:gd name="T4" fmla="*/ 91 w 182"/>
                  <a:gd name="T5" fmla="*/ 170 h 181"/>
                  <a:gd name="T6" fmla="*/ 170 w 182"/>
                  <a:gd name="T7" fmla="*/ 90 h 181"/>
                  <a:gd name="T8" fmla="*/ 91 w 182"/>
                  <a:gd name="T9" fmla="*/ 11 h 181"/>
                  <a:gd name="T10" fmla="*/ 91 w 182"/>
                  <a:gd name="T11" fmla="*/ 181 h 181"/>
                  <a:gd name="T12" fmla="*/ 0 w 182"/>
                  <a:gd name="T13" fmla="*/ 90 h 181"/>
                  <a:gd name="T14" fmla="*/ 91 w 182"/>
                  <a:gd name="T15" fmla="*/ 0 h 181"/>
                  <a:gd name="T16" fmla="*/ 182 w 182"/>
                  <a:gd name="T17" fmla="*/ 90 h 181"/>
                  <a:gd name="T18" fmla="*/ 91 w 182"/>
                  <a:gd name="T19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2" h="181">
                    <a:moveTo>
                      <a:pt x="91" y="11"/>
                    </a:moveTo>
                    <a:cubicBezTo>
                      <a:pt x="47" y="11"/>
                      <a:pt x="12" y="47"/>
                      <a:pt x="12" y="90"/>
                    </a:cubicBezTo>
                    <a:cubicBezTo>
                      <a:pt x="12" y="134"/>
                      <a:pt x="47" y="170"/>
                      <a:pt x="91" y="170"/>
                    </a:cubicBezTo>
                    <a:cubicBezTo>
                      <a:pt x="135" y="170"/>
                      <a:pt x="170" y="134"/>
                      <a:pt x="170" y="90"/>
                    </a:cubicBezTo>
                    <a:cubicBezTo>
                      <a:pt x="170" y="47"/>
                      <a:pt x="135" y="11"/>
                      <a:pt x="91" y="11"/>
                    </a:cubicBezTo>
                    <a:close/>
                    <a:moveTo>
                      <a:pt x="91" y="181"/>
                    </a:moveTo>
                    <a:cubicBezTo>
                      <a:pt x="41" y="181"/>
                      <a:pt x="0" y="140"/>
                      <a:pt x="0" y="90"/>
                    </a:cubicBezTo>
                    <a:cubicBezTo>
                      <a:pt x="0" y="40"/>
                      <a:pt x="41" y="0"/>
                      <a:pt x="91" y="0"/>
                    </a:cubicBezTo>
                    <a:cubicBezTo>
                      <a:pt x="141" y="0"/>
                      <a:pt x="182" y="40"/>
                      <a:pt x="182" y="90"/>
                    </a:cubicBezTo>
                    <a:cubicBezTo>
                      <a:pt x="182" y="140"/>
                      <a:pt x="141" y="181"/>
                      <a:pt x="91" y="181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01">
                <a:extLst>
                  <a:ext uri="{FF2B5EF4-FFF2-40B4-BE49-F238E27FC236}">
                    <a16:creationId xmlns:a16="http://schemas.microsoft.com/office/drawing/2014/main" id="{0B3DAFBE-E319-4A69-9E03-DB536449FD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29489" y="5283735"/>
                <a:ext cx="621792" cy="627393"/>
              </a:xfrm>
              <a:custGeom>
                <a:avLst/>
                <a:gdLst>
                  <a:gd name="T0" fmla="*/ 70 w 140"/>
                  <a:gd name="T1" fmla="*/ 3 h 141"/>
                  <a:gd name="T2" fmla="*/ 2 w 140"/>
                  <a:gd name="T3" fmla="*/ 70 h 141"/>
                  <a:gd name="T4" fmla="*/ 70 w 140"/>
                  <a:gd name="T5" fmla="*/ 138 h 141"/>
                  <a:gd name="T6" fmla="*/ 138 w 140"/>
                  <a:gd name="T7" fmla="*/ 70 h 141"/>
                  <a:gd name="T8" fmla="*/ 70 w 140"/>
                  <a:gd name="T9" fmla="*/ 3 h 141"/>
                  <a:gd name="T10" fmla="*/ 70 w 140"/>
                  <a:gd name="T11" fmla="*/ 141 h 141"/>
                  <a:gd name="T12" fmla="*/ 0 w 140"/>
                  <a:gd name="T13" fmla="*/ 70 h 141"/>
                  <a:gd name="T14" fmla="*/ 70 w 140"/>
                  <a:gd name="T15" fmla="*/ 0 h 141"/>
                  <a:gd name="T16" fmla="*/ 140 w 140"/>
                  <a:gd name="T17" fmla="*/ 70 h 141"/>
                  <a:gd name="T18" fmla="*/ 70 w 140"/>
                  <a:gd name="T19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0" h="141">
                    <a:moveTo>
                      <a:pt x="70" y="3"/>
                    </a:moveTo>
                    <a:cubicBezTo>
                      <a:pt x="33" y="3"/>
                      <a:pt x="2" y="33"/>
                      <a:pt x="2" y="70"/>
                    </a:cubicBezTo>
                    <a:cubicBezTo>
                      <a:pt x="2" y="108"/>
                      <a:pt x="33" y="138"/>
                      <a:pt x="70" y="138"/>
                    </a:cubicBezTo>
                    <a:cubicBezTo>
                      <a:pt x="107" y="138"/>
                      <a:pt x="138" y="108"/>
                      <a:pt x="138" y="70"/>
                    </a:cubicBezTo>
                    <a:cubicBezTo>
                      <a:pt x="138" y="33"/>
                      <a:pt x="107" y="3"/>
                      <a:pt x="70" y="3"/>
                    </a:cubicBezTo>
                    <a:close/>
                    <a:moveTo>
                      <a:pt x="70" y="141"/>
                    </a:moveTo>
                    <a:cubicBezTo>
                      <a:pt x="31" y="141"/>
                      <a:pt x="0" y="109"/>
                      <a:pt x="0" y="70"/>
                    </a:cubicBezTo>
                    <a:cubicBezTo>
                      <a:pt x="0" y="32"/>
                      <a:pt x="31" y="0"/>
                      <a:pt x="70" y="0"/>
                    </a:cubicBezTo>
                    <a:cubicBezTo>
                      <a:pt x="109" y="0"/>
                      <a:pt x="140" y="32"/>
                      <a:pt x="140" y="70"/>
                    </a:cubicBezTo>
                    <a:cubicBezTo>
                      <a:pt x="140" y="109"/>
                      <a:pt x="109" y="141"/>
                      <a:pt x="70" y="141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Freeform 102">
                <a:extLst>
                  <a:ext uri="{FF2B5EF4-FFF2-40B4-BE49-F238E27FC236}">
                    <a16:creationId xmlns:a16="http://schemas.microsoft.com/office/drawing/2014/main" id="{6FF718CA-32D2-4585-ABD2-4D154297C6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966" y="5466725"/>
                <a:ext cx="395855" cy="405192"/>
              </a:xfrm>
              <a:custGeom>
                <a:avLst/>
                <a:gdLst>
                  <a:gd name="T0" fmla="*/ 62 w 89"/>
                  <a:gd name="T1" fmla="*/ 91 h 91"/>
                  <a:gd name="T2" fmla="*/ 0 w 89"/>
                  <a:gd name="T3" fmla="*/ 29 h 91"/>
                  <a:gd name="T4" fmla="*/ 7 w 89"/>
                  <a:gd name="T5" fmla="*/ 1 h 91"/>
                  <a:gd name="T6" fmla="*/ 9 w 89"/>
                  <a:gd name="T7" fmla="*/ 1 h 91"/>
                  <a:gd name="T8" fmla="*/ 10 w 89"/>
                  <a:gd name="T9" fmla="*/ 3 h 91"/>
                  <a:gd name="T10" fmla="*/ 3 w 89"/>
                  <a:gd name="T11" fmla="*/ 29 h 91"/>
                  <a:gd name="T12" fmla="*/ 62 w 89"/>
                  <a:gd name="T13" fmla="*/ 88 h 91"/>
                  <a:gd name="T14" fmla="*/ 86 w 89"/>
                  <a:gd name="T15" fmla="*/ 83 h 91"/>
                  <a:gd name="T16" fmla="*/ 88 w 89"/>
                  <a:gd name="T17" fmla="*/ 84 h 91"/>
                  <a:gd name="T18" fmla="*/ 88 w 89"/>
                  <a:gd name="T19" fmla="*/ 85 h 91"/>
                  <a:gd name="T20" fmla="*/ 62 w 89"/>
                  <a:gd name="T21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9" h="91">
                    <a:moveTo>
                      <a:pt x="62" y="91"/>
                    </a:moveTo>
                    <a:cubicBezTo>
                      <a:pt x="28" y="91"/>
                      <a:pt x="0" y="63"/>
                      <a:pt x="0" y="29"/>
                    </a:cubicBezTo>
                    <a:cubicBezTo>
                      <a:pt x="0" y="20"/>
                      <a:pt x="3" y="10"/>
                      <a:pt x="7" y="1"/>
                    </a:cubicBezTo>
                    <a:cubicBezTo>
                      <a:pt x="8" y="1"/>
                      <a:pt x="8" y="0"/>
                      <a:pt x="9" y="1"/>
                    </a:cubicBezTo>
                    <a:cubicBezTo>
                      <a:pt x="10" y="1"/>
                      <a:pt x="10" y="2"/>
                      <a:pt x="10" y="3"/>
                    </a:cubicBezTo>
                    <a:cubicBezTo>
                      <a:pt x="5" y="11"/>
                      <a:pt x="3" y="20"/>
                      <a:pt x="3" y="29"/>
                    </a:cubicBezTo>
                    <a:cubicBezTo>
                      <a:pt x="3" y="62"/>
                      <a:pt x="30" y="88"/>
                      <a:pt x="62" y="88"/>
                    </a:cubicBezTo>
                    <a:cubicBezTo>
                      <a:pt x="71" y="88"/>
                      <a:pt x="79" y="86"/>
                      <a:pt x="86" y="83"/>
                    </a:cubicBezTo>
                    <a:cubicBezTo>
                      <a:pt x="87" y="83"/>
                      <a:pt x="88" y="83"/>
                      <a:pt x="88" y="84"/>
                    </a:cubicBezTo>
                    <a:cubicBezTo>
                      <a:pt x="89" y="84"/>
                      <a:pt x="88" y="85"/>
                      <a:pt x="88" y="85"/>
                    </a:cubicBezTo>
                    <a:cubicBezTo>
                      <a:pt x="80" y="89"/>
                      <a:pt x="71" y="91"/>
                      <a:pt x="62" y="91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03">
                <a:extLst>
                  <a:ext uri="{FF2B5EF4-FFF2-40B4-BE49-F238E27FC236}">
                    <a16:creationId xmlns:a16="http://schemas.microsoft.com/office/drawing/2014/main" id="{587895A1-ACBF-4E7B-A584-0BE146BEA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5717" y="5324815"/>
                <a:ext cx="203530" cy="97096"/>
              </a:xfrm>
              <a:custGeom>
                <a:avLst/>
                <a:gdLst>
                  <a:gd name="T0" fmla="*/ 45 w 46"/>
                  <a:gd name="T1" fmla="*/ 22 h 22"/>
                  <a:gd name="T2" fmla="*/ 44 w 46"/>
                  <a:gd name="T3" fmla="*/ 21 h 22"/>
                  <a:gd name="T4" fmla="*/ 1 w 46"/>
                  <a:gd name="T5" fmla="*/ 3 h 22"/>
                  <a:gd name="T6" fmla="*/ 0 w 46"/>
                  <a:gd name="T7" fmla="*/ 1 h 22"/>
                  <a:gd name="T8" fmla="*/ 1 w 46"/>
                  <a:gd name="T9" fmla="*/ 0 h 22"/>
                  <a:gd name="T10" fmla="*/ 46 w 46"/>
                  <a:gd name="T11" fmla="*/ 19 h 22"/>
                  <a:gd name="T12" fmla="*/ 46 w 46"/>
                  <a:gd name="T13" fmla="*/ 21 h 22"/>
                  <a:gd name="T14" fmla="*/ 45 w 46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22">
                    <a:moveTo>
                      <a:pt x="45" y="22"/>
                    </a:moveTo>
                    <a:cubicBezTo>
                      <a:pt x="45" y="22"/>
                      <a:pt x="44" y="22"/>
                      <a:pt x="44" y="21"/>
                    </a:cubicBezTo>
                    <a:cubicBezTo>
                      <a:pt x="33" y="10"/>
                      <a:pt x="17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8" y="0"/>
                      <a:pt x="34" y="7"/>
                      <a:pt x="46" y="19"/>
                    </a:cubicBezTo>
                    <a:cubicBezTo>
                      <a:pt x="46" y="20"/>
                      <a:pt x="46" y="21"/>
                      <a:pt x="46" y="21"/>
                    </a:cubicBezTo>
                    <a:cubicBezTo>
                      <a:pt x="46" y="22"/>
                      <a:pt x="45" y="22"/>
                      <a:pt x="45" y="22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Freeform 104">
                <a:extLst>
                  <a:ext uri="{FF2B5EF4-FFF2-40B4-BE49-F238E27FC236}">
                    <a16:creationId xmlns:a16="http://schemas.microsoft.com/office/drawing/2014/main" id="{6EB8226A-075B-4C05-8F0A-941BE958E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579" y="5141825"/>
                <a:ext cx="754365" cy="476147"/>
              </a:xfrm>
              <a:custGeom>
                <a:avLst/>
                <a:gdLst>
                  <a:gd name="T0" fmla="*/ 4 w 170"/>
                  <a:gd name="T1" fmla="*/ 107 h 107"/>
                  <a:gd name="T2" fmla="*/ 0 w 170"/>
                  <a:gd name="T3" fmla="*/ 102 h 107"/>
                  <a:gd name="T4" fmla="*/ 102 w 170"/>
                  <a:gd name="T5" fmla="*/ 0 h 107"/>
                  <a:gd name="T6" fmla="*/ 168 w 170"/>
                  <a:gd name="T7" fmla="*/ 24 h 107"/>
                  <a:gd name="T8" fmla="*/ 169 w 170"/>
                  <a:gd name="T9" fmla="*/ 30 h 107"/>
                  <a:gd name="T10" fmla="*/ 163 w 170"/>
                  <a:gd name="T11" fmla="*/ 31 h 107"/>
                  <a:gd name="T12" fmla="*/ 102 w 170"/>
                  <a:gd name="T13" fmla="*/ 8 h 107"/>
                  <a:gd name="T14" fmla="*/ 8 w 170"/>
                  <a:gd name="T15" fmla="*/ 102 h 107"/>
                  <a:gd name="T16" fmla="*/ 4 w 170"/>
                  <a:gd name="T1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" h="107">
                    <a:moveTo>
                      <a:pt x="4" y="107"/>
                    </a:moveTo>
                    <a:cubicBezTo>
                      <a:pt x="1" y="107"/>
                      <a:pt x="0" y="105"/>
                      <a:pt x="0" y="102"/>
                    </a:cubicBezTo>
                    <a:cubicBezTo>
                      <a:pt x="0" y="46"/>
                      <a:pt x="45" y="0"/>
                      <a:pt x="102" y="0"/>
                    </a:cubicBezTo>
                    <a:cubicBezTo>
                      <a:pt x="126" y="0"/>
                      <a:pt x="150" y="9"/>
                      <a:pt x="168" y="24"/>
                    </a:cubicBezTo>
                    <a:cubicBezTo>
                      <a:pt x="170" y="26"/>
                      <a:pt x="170" y="28"/>
                      <a:pt x="169" y="30"/>
                    </a:cubicBezTo>
                    <a:cubicBezTo>
                      <a:pt x="167" y="32"/>
                      <a:pt x="164" y="32"/>
                      <a:pt x="163" y="31"/>
                    </a:cubicBezTo>
                    <a:cubicBezTo>
                      <a:pt x="146" y="16"/>
                      <a:pt x="124" y="8"/>
                      <a:pt x="102" y="8"/>
                    </a:cubicBezTo>
                    <a:cubicBezTo>
                      <a:pt x="50" y="8"/>
                      <a:pt x="8" y="51"/>
                      <a:pt x="8" y="102"/>
                    </a:cubicBezTo>
                    <a:cubicBezTo>
                      <a:pt x="8" y="105"/>
                      <a:pt x="6" y="107"/>
                      <a:pt x="4" y="107"/>
                    </a:cubicBezTo>
                    <a:close/>
                  </a:path>
                </a:pathLst>
              </a:custGeom>
              <a:solidFill>
                <a:srgbClr val="FBB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Freeform 105">
                <a:extLst>
                  <a:ext uri="{FF2B5EF4-FFF2-40B4-BE49-F238E27FC236}">
                    <a16:creationId xmlns:a16="http://schemas.microsoft.com/office/drawing/2014/main" id="{ADFBBDE7-085B-4DFE-A7B7-19DDFF34A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7822" y="5341620"/>
                <a:ext cx="119503" cy="128840"/>
              </a:xfrm>
              <a:custGeom>
                <a:avLst/>
                <a:gdLst>
                  <a:gd name="T0" fmla="*/ 27 w 27"/>
                  <a:gd name="T1" fmla="*/ 13 h 29"/>
                  <a:gd name="T2" fmla="*/ 10 w 27"/>
                  <a:gd name="T3" fmla="*/ 28 h 29"/>
                  <a:gd name="T4" fmla="*/ 2 w 27"/>
                  <a:gd name="T5" fmla="*/ 26 h 29"/>
                  <a:gd name="T6" fmla="*/ 0 w 27"/>
                  <a:gd name="T7" fmla="*/ 19 h 29"/>
                  <a:gd name="T8" fmla="*/ 16 w 27"/>
                  <a:gd name="T9" fmla="*/ 0 h 29"/>
                  <a:gd name="T10" fmla="*/ 27 w 27"/>
                  <a:gd name="T11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9">
                    <a:moveTo>
                      <a:pt x="27" y="13"/>
                    </a:move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8"/>
                      <a:pt x="4" y="29"/>
                      <a:pt x="2" y="26"/>
                    </a:cubicBezTo>
                    <a:cubicBezTo>
                      <a:pt x="0" y="23"/>
                      <a:pt x="0" y="19"/>
                      <a:pt x="0" y="19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7" y="13"/>
                      <a:pt x="27" y="13"/>
                      <a:pt x="27" y="13"/>
                    </a:cubicBezTo>
                    <a:close/>
                  </a:path>
                </a:pathLst>
              </a:custGeom>
              <a:solidFill>
                <a:srgbClr val="F589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Freeform 106">
                <a:extLst>
                  <a:ext uri="{FF2B5EF4-FFF2-40B4-BE49-F238E27FC236}">
                    <a16:creationId xmlns:a16="http://schemas.microsoft.com/office/drawing/2014/main" id="{1A647AFA-25A4-4DA2-9693-3422C550C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610" y="5405107"/>
                <a:ext cx="154982" cy="181123"/>
              </a:xfrm>
              <a:custGeom>
                <a:avLst/>
                <a:gdLst>
                  <a:gd name="T0" fmla="*/ 22 w 35"/>
                  <a:gd name="T1" fmla="*/ 11 h 41"/>
                  <a:gd name="T2" fmla="*/ 27 w 35"/>
                  <a:gd name="T3" fmla="*/ 24 h 41"/>
                  <a:gd name="T4" fmla="*/ 34 w 35"/>
                  <a:gd name="T5" fmla="*/ 39 h 41"/>
                  <a:gd name="T6" fmla="*/ 30 w 35"/>
                  <a:gd name="T7" fmla="*/ 41 h 41"/>
                  <a:gd name="T8" fmla="*/ 0 w 35"/>
                  <a:gd name="T9" fmla="*/ 12 h 41"/>
                  <a:gd name="T10" fmla="*/ 10 w 35"/>
                  <a:gd name="T11" fmla="*/ 5 h 41"/>
                  <a:gd name="T12" fmla="*/ 22 w 35"/>
                  <a:gd name="T13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41">
                    <a:moveTo>
                      <a:pt x="22" y="11"/>
                    </a:moveTo>
                    <a:cubicBezTo>
                      <a:pt x="26" y="10"/>
                      <a:pt x="22" y="11"/>
                      <a:pt x="27" y="24"/>
                    </a:cubicBezTo>
                    <a:cubicBezTo>
                      <a:pt x="31" y="33"/>
                      <a:pt x="35" y="37"/>
                      <a:pt x="34" y="39"/>
                    </a:cubicBezTo>
                    <a:cubicBezTo>
                      <a:pt x="32" y="40"/>
                      <a:pt x="30" y="41"/>
                      <a:pt x="30" y="4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7" y="0"/>
                      <a:pt x="10" y="5"/>
                    </a:cubicBezTo>
                    <a:cubicBezTo>
                      <a:pt x="23" y="16"/>
                      <a:pt x="22" y="11"/>
                      <a:pt x="22" y="11"/>
                    </a:cubicBezTo>
                    <a:close/>
                  </a:path>
                </a:pathLst>
              </a:custGeom>
              <a:solidFill>
                <a:srgbClr val="BE2A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Freeform 107">
                <a:extLst>
                  <a:ext uri="{FF2B5EF4-FFF2-40B4-BE49-F238E27FC236}">
                    <a16:creationId xmlns:a16="http://schemas.microsoft.com/office/drawing/2014/main" id="{977FDE30-07FF-4C98-B34E-9D7BB8FB6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886" y="4768377"/>
                <a:ext cx="683410" cy="653534"/>
              </a:xfrm>
              <a:custGeom>
                <a:avLst/>
                <a:gdLst>
                  <a:gd name="T0" fmla="*/ 53 w 154"/>
                  <a:gd name="T1" fmla="*/ 2 h 147"/>
                  <a:gd name="T2" fmla="*/ 80 w 154"/>
                  <a:gd name="T3" fmla="*/ 8 h 147"/>
                  <a:gd name="T4" fmla="*/ 152 w 154"/>
                  <a:gd name="T5" fmla="*/ 70 h 147"/>
                  <a:gd name="T6" fmla="*/ 79 w 154"/>
                  <a:gd name="T7" fmla="*/ 147 h 147"/>
                  <a:gd name="T8" fmla="*/ 63 w 154"/>
                  <a:gd name="T9" fmla="*/ 130 h 147"/>
                  <a:gd name="T10" fmla="*/ 101 w 154"/>
                  <a:gd name="T11" fmla="*/ 78 h 147"/>
                  <a:gd name="T12" fmla="*/ 3 w 154"/>
                  <a:gd name="T13" fmla="*/ 25 h 147"/>
                  <a:gd name="T14" fmla="*/ 16 w 154"/>
                  <a:gd name="T15" fmla="*/ 0 h 147"/>
                  <a:gd name="T16" fmla="*/ 53 w 154"/>
                  <a:gd name="T17" fmla="*/ 2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4" h="147">
                    <a:moveTo>
                      <a:pt x="53" y="2"/>
                    </a:moveTo>
                    <a:cubicBezTo>
                      <a:pt x="80" y="8"/>
                      <a:pt x="80" y="8"/>
                      <a:pt x="80" y="8"/>
                    </a:cubicBezTo>
                    <a:cubicBezTo>
                      <a:pt x="80" y="8"/>
                      <a:pt x="154" y="46"/>
                      <a:pt x="152" y="70"/>
                    </a:cubicBezTo>
                    <a:cubicBezTo>
                      <a:pt x="149" y="94"/>
                      <a:pt x="79" y="147"/>
                      <a:pt x="79" y="147"/>
                    </a:cubicBezTo>
                    <a:cubicBezTo>
                      <a:pt x="63" y="130"/>
                      <a:pt x="63" y="130"/>
                      <a:pt x="63" y="130"/>
                    </a:cubicBezTo>
                    <a:cubicBezTo>
                      <a:pt x="63" y="130"/>
                      <a:pt x="103" y="84"/>
                      <a:pt x="101" y="78"/>
                    </a:cubicBezTo>
                    <a:cubicBezTo>
                      <a:pt x="100" y="73"/>
                      <a:pt x="6" y="35"/>
                      <a:pt x="3" y="25"/>
                    </a:cubicBezTo>
                    <a:cubicBezTo>
                      <a:pt x="0" y="16"/>
                      <a:pt x="16" y="0"/>
                      <a:pt x="16" y="0"/>
                    </a:cubicBezTo>
                    <a:cubicBezTo>
                      <a:pt x="53" y="2"/>
                      <a:pt x="53" y="2"/>
                      <a:pt x="53" y="2"/>
                    </a:cubicBezTo>
                  </a:path>
                </a:pathLst>
              </a:custGeom>
              <a:solidFill>
                <a:srgbClr val="BA49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Freeform 108">
                <a:extLst>
                  <a:ext uri="{FF2B5EF4-FFF2-40B4-BE49-F238E27FC236}">
                    <a16:creationId xmlns:a16="http://schemas.microsoft.com/office/drawing/2014/main" id="{8E7CA4E9-A78F-4C51-9C53-416C0A325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886" y="4768377"/>
                <a:ext cx="603119" cy="614323"/>
              </a:xfrm>
              <a:custGeom>
                <a:avLst/>
                <a:gdLst>
                  <a:gd name="T0" fmla="*/ 135 w 136"/>
                  <a:gd name="T1" fmla="*/ 73 h 138"/>
                  <a:gd name="T2" fmla="*/ 80 w 136"/>
                  <a:gd name="T3" fmla="*/ 8 h 138"/>
                  <a:gd name="T4" fmla="*/ 53 w 136"/>
                  <a:gd name="T5" fmla="*/ 2 h 138"/>
                  <a:gd name="T6" fmla="*/ 16 w 136"/>
                  <a:gd name="T7" fmla="*/ 0 h 138"/>
                  <a:gd name="T8" fmla="*/ 3 w 136"/>
                  <a:gd name="T9" fmla="*/ 25 h 138"/>
                  <a:gd name="T10" fmla="*/ 101 w 136"/>
                  <a:gd name="T11" fmla="*/ 78 h 138"/>
                  <a:gd name="T12" fmla="*/ 63 w 136"/>
                  <a:gd name="T13" fmla="*/ 130 h 138"/>
                  <a:gd name="T14" fmla="*/ 70 w 136"/>
                  <a:gd name="T15" fmla="*/ 138 h 138"/>
                  <a:gd name="T16" fmla="*/ 135 w 136"/>
                  <a:gd name="T17" fmla="*/ 7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6" h="138">
                    <a:moveTo>
                      <a:pt x="135" y="73"/>
                    </a:moveTo>
                    <a:cubicBezTo>
                      <a:pt x="134" y="57"/>
                      <a:pt x="100" y="25"/>
                      <a:pt x="80" y="8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0" y="16"/>
                      <a:pt x="3" y="25"/>
                    </a:cubicBezTo>
                    <a:cubicBezTo>
                      <a:pt x="6" y="35"/>
                      <a:pt x="100" y="73"/>
                      <a:pt x="101" y="78"/>
                    </a:cubicBezTo>
                    <a:cubicBezTo>
                      <a:pt x="103" y="84"/>
                      <a:pt x="63" y="130"/>
                      <a:pt x="63" y="130"/>
                    </a:cubicBezTo>
                    <a:cubicBezTo>
                      <a:pt x="70" y="138"/>
                      <a:pt x="70" y="138"/>
                      <a:pt x="70" y="138"/>
                    </a:cubicBezTo>
                    <a:cubicBezTo>
                      <a:pt x="92" y="123"/>
                      <a:pt x="136" y="89"/>
                      <a:pt x="135" y="73"/>
                    </a:cubicBezTo>
                  </a:path>
                </a:pathLst>
              </a:custGeom>
              <a:solidFill>
                <a:srgbClr val="8D2E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Freeform 109">
                <a:extLst>
                  <a:ext uri="{FF2B5EF4-FFF2-40B4-BE49-F238E27FC236}">
                    <a16:creationId xmlns:a16="http://schemas.microsoft.com/office/drawing/2014/main" id="{52E69ADA-DAC4-4844-8EEF-11F1CBA7B4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77607" y="5195976"/>
                <a:ext cx="802913" cy="804781"/>
              </a:xfrm>
              <a:custGeom>
                <a:avLst/>
                <a:gdLst>
                  <a:gd name="T0" fmla="*/ 91 w 181"/>
                  <a:gd name="T1" fmla="*/ 11 h 181"/>
                  <a:gd name="T2" fmla="*/ 11 w 181"/>
                  <a:gd name="T3" fmla="*/ 90 h 181"/>
                  <a:gd name="T4" fmla="*/ 91 w 181"/>
                  <a:gd name="T5" fmla="*/ 170 h 181"/>
                  <a:gd name="T6" fmla="*/ 170 w 181"/>
                  <a:gd name="T7" fmla="*/ 90 h 181"/>
                  <a:gd name="T8" fmla="*/ 91 w 181"/>
                  <a:gd name="T9" fmla="*/ 11 h 181"/>
                  <a:gd name="T10" fmla="*/ 91 w 181"/>
                  <a:gd name="T11" fmla="*/ 181 h 181"/>
                  <a:gd name="T12" fmla="*/ 0 w 181"/>
                  <a:gd name="T13" fmla="*/ 90 h 181"/>
                  <a:gd name="T14" fmla="*/ 91 w 181"/>
                  <a:gd name="T15" fmla="*/ 0 h 181"/>
                  <a:gd name="T16" fmla="*/ 181 w 181"/>
                  <a:gd name="T17" fmla="*/ 90 h 181"/>
                  <a:gd name="T18" fmla="*/ 91 w 181"/>
                  <a:gd name="T19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1" h="181">
                    <a:moveTo>
                      <a:pt x="91" y="11"/>
                    </a:moveTo>
                    <a:cubicBezTo>
                      <a:pt x="47" y="11"/>
                      <a:pt x="11" y="47"/>
                      <a:pt x="11" y="90"/>
                    </a:cubicBezTo>
                    <a:cubicBezTo>
                      <a:pt x="11" y="134"/>
                      <a:pt x="47" y="170"/>
                      <a:pt x="91" y="170"/>
                    </a:cubicBezTo>
                    <a:cubicBezTo>
                      <a:pt x="134" y="170"/>
                      <a:pt x="170" y="134"/>
                      <a:pt x="170" y="90"/>
                    </a:cubicBezTo>
                    <a:cubicBezTo>
                      <a:pt x="170" y="47"/>
                      <a:pt x="134" y="11"/>
                      <a:pt x="91" y="11"/>
                    </a:cubicBezTo>
                    <a:close/>
                    <a:moveTo>
                      <a:pt x="91" y="181"/>
                    </a:moveTo>
                    <a:cubicBezTo>
                      <a:pt x="41" y="181"/>
                      <a:pt x="0" y="140"/>
                      <a:pt x="0" y="90"/>
                    </a:cubicBezTo>
                    <a:cubicBezTo>
                      <a:pt x="0" y="40"/>
                      <a:pt x="41" y="0"/>
                      <a:pt x="91" y="0"/>
                    </a:cubicBezTo>
                    <a:cubicBezTo>
                      <a:pt x="141" y="0"/>
                      <a:pt x="181" y="40"/>
                      <a:pt x="181" y="90"/>
                    </a:cubicBezTo>
                    <a:cubicBezTo>
                      <a:pt x="181" y="140"/>
                      <a:pt x="141" y="181"/>
                      <a:pt x="91" y="181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3" name="Freeform 110">
                <a:extLst>
                  <a:ext uri="{FF2B5EF4-FFF2-40B4-BE49-F238E27FC236}">
                    <a16:creationId xmlns:a16="http://schemas.microsoft.com/office/drawing/2014/main" id="{54A62536-A736-47F6-BFC9-7A23FC1561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65367" y="5283735"/>
                <a:ext cx="625526" cy="627393"/>
              </a:xfrm>
              <a:custGeom>
                <a:avLst/>
                <a:gdLst>
                  <a:gd name="T0" fmla="*/ 71 w 141"/>
                  <a:gd name="T1" fmla="*/ 3 h 141"/>
                  <a:gd name="T2" fmla="*/ 3 w 141"/>
                  <a:gd name="T3" fmla="*/ 70 h 141"/>
                  <a:gd name="T4" fmla="*/ 71 w 141"/>
                  <a:gd name="T5" fmla="*/ 138 h 141"/>
                  <a:gd name="T6" fmla="*/ 138 w 141"/>
                  <a:gd name="T7" fmla="*/ 70 h 141"/>
                  <a:gd name="T8" fmla="*/ 71 w 141"/>
                  <a:gd name="T9" fmla="*/ 3 h 141"/>
                  <a:gd name="T10" fmla="*/ 71 w 141"/>
                  <a:gd name="T11" fmla="*/ 141 h 141"/>
                  <a:gd name="T12" fmla="*/ 0 w 141"/>
                  <a:gd name="T13" fmla="*/ 70 h 141"/>
                  <a:gd name="T14" fmla="*/ 71 w 141"/>
                  <a:gd name="T15" fmla="*/ 0 h 141"/>
                  <a:gd name="T16" fmla="*/ 141 w 141"/>
                  <a:gd name="T17" fmla="*/ 70 h 141"/>
                  <a:gd name="T18" fmla="*/ 71 w 141"/>
                  <a:gd name="T19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1" h="141">
                    <a:moveTo>
                      <a:pt x="71" y="3"/>
                    </a:moveTo>
                    <a:cubicBezTo>
                      <a:pt x="33" y="3"/>
                      <a:pt x="3" y="33"/>
                      <a:pt x="3" y="70"/>
                    </a:cubicBezTo>
                    <a:cubicBezTo>
                      <a:pt x="3" y="108"/>
                      <a:pt x="33" y="138"/>
                      <a:pt x="71" y="138"/>
                    </a:cubicBezTo>
                    <a:cubicBezTo>
                      <a:pt x="108" y="138"/>
                      <a:pt x="138" y="108"/>
                      <a:pt x="138" y="70"/>
                    </a:cubicBezTo>
                    <a:cubicBezTo>
                      <a:pt x="138" y="33"/>
                      <a:pt x="108" y="3"/>
                      <a:pt x="71" y="3"/>
                    </a:cubicBezTo>
                    <a:close/>
                    <a:moveTo>
                      <a:pt x="71" y="141"/>
                    </a:moveTo>
                    <a:cubicBezTo>
                      <a:pt x="32" y="141"/>
                      <a:pt x="0" y="109"/>
                      <a:pt x="0" y="70"/>
                    </a:cubicBezTo>
                    <a:cubicBezTo>
                      <a:pt x="0" y="32"/>
                      <a:pt x="32" y="0"/>
                      <a:pt x="71" y="0"/>
                    </a:cubicBezTo>
                    <a:cubicBezTo>
                      <a:pt x="109" y="0"/>
                      <a:pt x="141" y="32"/>
                      <a:pt x="141" y="70"/>
                    </a:cubicBezTo>
                    <a:cubicBezTo>
                      <a:pt x="141" y="109"/>
                      <a:pt x="109" y="141"/>
                      <a:pt x="71" y="141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11">
                <a:extLst>
                  <a:ext uri="{FF2B5EF4-FFF2-40B4-BE49-F238E27FC236}">
                    <a16:creationId xmlns:a16="http://schemas.microsoft.com/office/drawing/2014/main" id="{F0B023D2-8FB2-42C0-B977-74600EFEE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446" y="5466725"/>
                <a:ext cx="390254" cy="405192"/>
              </a:xfrm>
              <a:custGeom>
                <a:avLst/>
                <a:gdLst>
                  <a:gd name="T0" fmla="*/ 62 w 88"/>
                  <a:gd name="T1" fmla="*/ 91 h 91"/>
                  <a:gd name="T2" fmla="*/ 0 w 88"/>
                  <a:gd name="T3" fmla="*/ 29 h 91"/>
                  <a:gd name="T4" fmla="*/ 7 w 88"/>
                  <a:gd name="T5" fmla="*/ 1 h 91"/>
                  <a:gd name="T6" fmla="*/ 9 w 88"/>
                  <a:gd name="T7" fmla="*/ 1 h 91"/>
                  <a:gd name="T8" fmla="*/ 9 w 88"/>
                  <a:gd name="T9" fmla="*/ 3 h 91"/>
                  <a:gd name="T10" fmla="*/ 3 w 88"/>
                  <a:gd name="T11" fmla="*/ 29 h 91"/>
                  <a:gd name="T12" fmla="*/ 62 w 88"/>
                  <a:gd name="T13" fmla="*/ 88 h 91"/>
                  <a:gd name="T14" fmla="*/ 86 w 88"/>
                  <a:gd name="T15" fmla="*/ 83 h 91"/>
                  <a:gd name="T16" fmla="*/ 88 w 88"/>
                  <a:gd name="T17" fmla="*/ 84 h 91"/>
                  <a:gd name="T18" fmla="*/ 87 w 88"/>
                  <a:gd name="T19" fmla="*/ 85 h 91"/>
                  <a:gd name="T20" fmla="*/ 62 w 88"/>
                  <a:gd name="T21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8" h="91">
                    <a:moveTo>
                      <a:pt x="62" y="91"/>
                    </a:moveTo>
                    <a:cubicBezTo>
                      <a:pt x="28" y="91"/>
                      <a:pt x="0" y="63"/>
                      <a:pt x="0" y="29"/>
                    </a:cubicBezTo>
                    <a:cubicBezTo>
                      <a:pt x="0" y="20"/>
                      <a:pt x="2" y="10"/>
                      <a:pt x="7" y="1"/>
                    </a:cubicBezTo>
                    <a:cubicBezTo>
                      <a:pt x="7" y="1"/>
                      <a:pt x="8" y="0"/>
                      <a:pt x="9" y="1"/>
                    </a:cubicBezTo>
                    <a:cubicBezTo>
                      <a:pt x="9" y="1"/>
                      <a:pt x="10" y="2"/>
                      <a:pt x="9" y="3"/>
                    </a:cubicBezTo>
                    <a:cubicBezTo>
                      <a:pt x="5" y="11"/>
                      <a:pt x="3" y="20"/>
                      <a:pt x="3" y="29"/>
                    </a:cubicBezTo>
                    <a:cubicBezTo>
                      <a:pt x="3" y="62"/>
                      <a:pt x="29" y="88"/>
                      <a:pt x="62" y="88"/>
                    </a:cubicBezTo>
                    <a:cubicBezTo>
                      <a:pt x="70" y="88"/>
                      <a:pt x="78" y="86"/>
                      <a:pt x="86" y="83"/>
                    </a:cubicBezTo>
                    <a:cubicBezTo>
                      <a:pt x="87" y="83"/>
                      <a:pt x="88" y="83"/>
                      <a:pt x="88" y="84"/>
                    </a:cubicBezTo>
                    <a:cubicBezTo>
                      <a:pt x="88" y="84"/>
                      <a:pt x="88" y="85"/>
                      <a:pt x="87" y="85"/>
                    </a:cubicBezTo>
                    <a:cubicBezTo>
                      <a:pt x="79" y="89"/>
                      <a:pt x="71" y="91"/>
                      <a:pt x="62" y="91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Freeform 112">
                <a:extLst>
                  <a:ext uri="{FF2B5EF4-FFF2-40B4-BE49-F238E27FC236}">
                    <a16:creationId xmlns:a16="http://schemas.microsoft.com/office/drawing/2014/main" id="{FD6CFE2F-1D30-4F73-83E9-761952103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594" y="5324815"/>
                <a:ext cx="209131" cy="97096"/>
              </a:xfrm>
              <a:custGeom>
                <a:avLst/>
                <a:gdLst>
                  <a:gd name="T0" fmla="*/ 45 w 47"/>
                  <a:gd name="T1" fmla="*/ 22 h 22"/>
                  <a:gd name="T2" fmla="*/ 44 w 47"/>
                  <a:gd name="T3" fmla="*/ 21 h 22"/>
                  <a:gd name="T4" fmla="*/ 2 w 47"/>
                  <a:gd name="T5" fmla="*/ 3 h 22"/>
                  <a:gd name="T6" fmla="*/ 0 w 47"/>
                  <a:gd name="T7" fmla="*/ 1 h 22"/>
                  <a:gd name="T8" fmla="*/ 2 w 47"/>
                  <a:gd name="T9" fmla="*/ 0 h 22"/>
                  <a:gd name="T10" fmla="*/ 47 w 47"/>
                  <a:gd name="T11" fmla="*/ 19 h 22"/>
                  <a:gd name="T12" fmla="*/ 46 w 47"/>
                  <a:gd name="T13" fmla="*/ 21 h 22"/>
                  <a:gd name="T14" fmla="*/ 45 w 4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2">
                    <a:moveTo>
                      <a:pt x="45" y="22"/>
                    </a:moveTo>
                    <a:cubicBezTo>
                      <a:pt x="45" y="22"/>
                      <a:pt x="45" y="22"/>
                      <a:pt x="44" y="21"/>
                    </a:cubicBezTo>
                    <a:cubicBezTo>
                      <a:pt x="33" y="10"/>
                      <a:pt x="18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9" y="0"/>
                      <a:pt x="35" y="7"/>
                      <a:pt x="47" y="19"/>
                    </a:cubicBezTo>
                    <a:cubicBezTo>
                      <a:pt x="47" y="20"/>
                      <a:pt x="47" y="21"/>
                      <a:pt x="46" y="21"/>
                    </a:cubicBezTo>
                    <a:cubicBezTo>
                      <a:pt x="46" y="22"/>
                      <a:pt x="46" y="22"/>
                      <a:pt x="45" y="22"/>
                    </a:cubicBezTo>
                    <a:close/>
                  </a:path>
                </a:pathLst>
              </a:custGeom>
              <a:solidFill>
                <a:srgbClr val="D0ED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13">
                <a:extLst>
                  <a:ext uri="{FF2B5EF4-FFF2-40B4-BE49-F238E27FC236}">
                    <a16:creationId xmlns:a16="http://schemas.microsoft.com/office/drawing/2014/main" id="{D039E72B-4611-4A37-83B5-5B25A8C0F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5783" y="5141825"/>
                <a:ext cx="567641" cy="141910"/>
              </a:xfrm>
              <a:custGeom>
                <a:avLst/>
                <a:gdLst>
                  <a:gd name="T0" fmla="*/ 123 w 128"/>
                  <a:gd name="T1" fmla="*/ 32 h 32"/>
                  <a:gd name="T2" fmla="*/ 120 w 128"/>
                  <a:gd name="T3" fmla="*/ 31 h 32"/>
                  <a:gd name="T4" fmla="*/ 60 w 128"/>
                  <a:gd name="T5" fmla="*/ 8 h 32"/>
                  <a:gd name="T6" fmla="*/ 7 w 128"/>
                  <a:gd name="T7" fmla="*/ 24 h 32"/>
                  <a:gd name="T8" fmla="*/ 1 w 128"/>
                  <a:gd name="T9" fmla="*/ 23 h 32"/>
                  <a:gd name="T10" fmla="*/ 3 w 128"/>
                  <a:gd name="T11" fmla="*/ 17 h 32"/>
                  <a:gd name="T12" fmla="*/ 60 w 128"/>
                  <a:gd name="T13" fmla="*/ 0 h 32"/>
                  <a:gd name="T14" fmla="*/ 126 w 128"/>
                  <a:gd name="T15" fmla="*/ 24 h 32"/>
                  <a:gd name="T16" fmla="*/ 126 w 128"/>
                  <a:gd name="T17" fmla="*/ 30 h 32"/>
                  <a:gd name="T18" fmla="*/ 123 w 128"/>
                  <a:gd name="T19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8" h="32">
                    <a:moveTo>
                      <a:pt x="123" y="32"/>
                    </a:moveTo>
                    <a:cubicBezTo>
                      <a:pt x="122" y="32"/>
                      <a:pt x="121" y="31"/>
                      <a:pt x="120" y="31"/>
                    </a:cubicBezTo>
                    <a:cubicBezTo>
                      <a:pt x="103" y="16"/>
                      <a:pt x="82" y="8"/>
                      <a:pt x="60" y="8"/>
                    </a:cubicBezTo>
                    <a:cubicBezTo>
                      <a:pt x="41" y="8"/>
                      <a:pt x="23" y="14"/>
                      <a:pt x="7" y="24"/>
                    </a:cubicBezTo>
                    <a:cubicBezTo>
                      <a:pt x="5" y="26"/>
                      <a:pt x="3" y="25"/>
                      <a:pt x="1" y="23"/>
                    </a:cubicBezTo>
                    <a:cubicBezTo>
                      <a:pt x="0" y="21"/>
                      <a:pt x="1" y="19"/>
                      <a:pt x="3" y="17"/>
                    </a:cubicBezTo>
                    <a:cubicBezTo>
                      <a:pt x="19" y="6"/>
                      <a:pt x="39" y="0"/>
                      <a:pt x="60" y="0"/>
                    </a:cubicBezTo>
                    <a:cubicBezTo>
                      <a:pt x="84" y="0"/>
                      <a:pt x="107" y="9"/>
                      <a:pt x="126" y="24"/>
                    </a:cubicBezTo>
                    <a:cubicBezTo>
                      <a:pt x="128" y="26"/>
                      <a:pt x="128" y="28"/>
                      <a:pt x="126" y="30"/>
                    </a:cubicBezTo>
                    <a:cubicBezTo>
                      <a:pt x="125" y="31"/>
                      <a:pt x="124" y="32"/>
                      <a:pt x="123" y="3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Freeform 114">
                <a:extLst>
                  <a:ext uri="{FF2B5EF4-FFF2-40B4-BE49-F238E27FC236}">
                    <a16:creationId xmlns:a16="http://schemas.microsoft.com/office/drawing/2014/main" id="{CA6651B9-C478-4065-BE76-508661829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594" y="5520875"/>
                <a:ext cx="567641" cy="35478"/>
              </a:xfrm>
              <a:custGeom>
                <a:avLst/>
                <a:gdLst>
                  <a:gd name="T0" fmla="*/ 2 w 128"/>
                  <a:gd name="T1" fmla="*/ 8 h 8"/>
                  <a:gd name="T2" fmla="*/ 0 w 128"/>
                  <a:gd name="T3" fmla="*/ 7 h 8"/>
                  <a:gd name="T4" fmla="*/ 2 w 128"/>
                  <a:gd name="T5" fmla="*/ 6 h 8"/>
                  <a:gd name="T6" fmla="*/ 126 w 128"/>
                  <a:gd name="T7" fmla="*/ 0 h 8"/>
                  <a:gd name="T8" fmla="*/ 128 w 128"/>
                  <a:gd name="T9" fmla="*/ 1 h 8"/>
                  <a:gd name="T10" fmla="*/ 127 w 128"/>
                  <a:gd name="T11" fmla="*/ 2 h 8"/>
                  <a:gd name="T12" fmla="*/ 2 w 128"/>
                  <a:gd name="T13" fmla="*/ 8 h 8"/>
                  <a:gd name="T14" fmla="*/ 2 w 128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" h="8">
                    <a:moveTo>
                      <a:pt x="2" y="8"/>
                    </a:moveTo>
                    <a:cubicBezTo>
                      <a:pt x="1" y="8"/>
                      <a:pt x="0" y="8"/>
                      <a:pt x="0" y="7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7" y="0"/>
                      <a:pt x="128" y="0"/>
                      <a:pt x="128" y="1"/>
                    </a:cubicBezTo>
                    <a:cubicBezTo>
                      <a:pt x="128" y="2"/>
                      <a:pt x="127" y="2"/>
                      <a:pt x="127" y="2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8"/>
                      <a:pt x="2" y="8"/>
                      <a:pt x="2" y="8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Freeform 115">
                <a:extLst>
                  <a:ext uri="{FF2B5EF4-FFF2-40B4-BE49-F238E27FC236}">
                    <a16:creationId xmlns:a16="http://schemas.microsoft.com/office/drawing/2014/main" id="{34211D32-123D-475F-A7FB-F9A8344D1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594" y="5640379"/>
                <a:ext cx="573243" cy="35478"/>
              </a:xfrm>
              <a:custGeom>
                <a:avLst/>
                <a:gdLst>
                  <a:gd name="T0" fmla="*/ 128 w 129"/>
                  <a:gd name="T1" fmla="*/ 8 h 8"/>
                  <a:gd name="T2" fmla="*/ 128 w 129"/>
                  <a:gd name="T3" fmla="*/ 8 h 8"/>
                  <a:gd name="T4" fmla="*/ 2 w 129"/>
                  <a:gd name="T5" fmla="*/ 2 h 8"/>
                  <a:gd name="T6" fmla="*/ 0 w 129"/>
                  <a:gd name="T7" fmla="*/ 1 h 8"/>
                  <a:gd name="T8" fmla="*/ 2 w 129"/>
                  <a:gd name="T9" fmla="*/ 0 h 8"/>
                  <a:gd name="T10" fmla="*/ 128 w 129"/>
                  <a:gd name="T11" fmla="*/ 6 h 8"/>
                  <a:gd name="T12" fmla="*/ 129 w 129"/>
                  <a:gd name="T13" fmla="*/ 7 h 8"/>
                  <a:gd name="T14" fmla="*/ 128 w 129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9" h="8">
                    <a:moveTo>
                      <a:pt x="128" y="8"/>
                    </a:moveTo>
                    <a:cubicBezTo>
                      <a:pt x="128" y="8"/>
                      <a:pt x="128" y="8"/>
                      <a:pt x="128" y="8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128" y="6"/>
                      <a:pt x="128" y="6"/>
                      <a:pt x="128" y="6"/>
                    </a:cubicBezTo>
                    <a:cubicBezTo>
                      <a:pt x="129" y="6"/>
                      <a:pt x="129" y="6"/>
                      <a:pt x="129" y="7"/>
                    </a:cubicBezTo>
                    <a:cubicBezTo>
                      <a:pt x="129" y="7"/>
                      <a:pt x="129" y="8"/>
                      <a:pt x="128" y="8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Oval 116">
                <a:extLst>
                  <a:ext uri="{FF2B5EF4-FFF2-40B4-BE49-F238E27FC236}">
                    <a16:creationId xmlns:a16="http://schemas.microsoft.com/office/drawing/2014/main" id="{A7AD3AA4-0179-46DF-9774-971E3C4628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3046" y="5541414"/>
                <a:ext cx="112034" cy="112034"/>
              </a:xfrm>
              <a:prstGeom prst="ellipse">
                <a:avLst/>
              </a:prstGeom>
              <a:solidFill>
                <a:srgbClr val="2825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17">
                <a:extLst>
                  <a:ext uri="{FF2B5EF4-FFF2-40B4-BE49-F238E27FC236}">
                    <a16:creationId xmlns:a16="http://schemas.microsoft.com/office/drawing/2014/main" id="{D4A5FB71-CF3E-49C1-ACBF-7782EBAD8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1476" y="4977508"/>
                <a:ext cx="474279" cy="528430"/>
              </a:xfrm>
              <a:custGeom>
                <a:avLst/>
                <a:gdLst>
                  <a:gd name="T0" fmla="*/ 4 w 107"/>
                  <a:gd name="T1" fmla="*/ 119 h 119"/>
                  <a:gd name="T2" fmla="*/ 0 w 107"/>
                  <a:gd name="T3" fmla="*/ 117 h 119"/>
                  <a:gd name="T4" fmla="*/ 2 w 107"/>
                  <a:gd name="T5" fmla="*/ 112 h 119"/>
                  <a:gd name="T6" fmla="*/ 39 w 107"/>
                  <a:gd name="T7" fmla="*/ 79 h 119"/>
                  <a:gd name="T8" fmla="*/ 59 w 107"/>
                  <a:gd name="T9" fmla="*/ 40 h 119"/>
                  <a:gd name="T10" fmla="*/ 89 w 107"/>
                  <a:gd name="T11" fmla="*/ 9 h 119"/>
                  <a:gd name="T12" fmla="*/ 101 w 107"/>
                  <a:gd name="T13" fmla="*/ 1 h 119"/>
                  <a:gd name="T14" fmla="*/ 106 w 107"/>
                  <a:gd name="T15" fmla="*/ 2 h 119"/>
                  <a:gd name="T16" fmla="*/ 105 w 107"/>
                  <a:gd name="T17" fmla="*/ 7 h 119"/>
                  <a:gd name="T18" fmla="*/ 92 w 107"/>
                  <a:gd name="T19" fmla="*/ 15 h 119"/>
                  <a:gd name="T20" fmla="*/ 65 w 107"/>
                  <a:gd name="T21" fmla="*/ 44 h 119"/>
                  <a:gd name="T22" fmla="*/ 45 w 107"/>
                  <a:gd name="T23" fmla="*/ 82 h 119"/>
                  <a:gd name="T24" fmla="*/ 5 w 107"/>
                  <a:gd name="T25" fmla="*/ 119 h 119"/>
                  <a:gd name="T26" fmla="*/ 4 w 107"/>
                  <a:gd name="T27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7" h="119">
                    <a:moveTo>
                      <a:pt x="4" y="119"/>
                    </a:moveTo>
                    <a:cubicBezTo>
                      <a:pt x="2" y="119"/>
                      <a:pt x="1" y="118"/>
                      <a:pt x="0" y="117"/>
                    </a:cubicBezTo>
                    <a:cubicBezTo>
                      <a:pt x="0" y="115"/>
                      <a:pt x="1" y="113"/>
                      <a:pt x="2" y="112"/>
                    </a:cubicBezTo>
                    <a:cubicBezTo>
                      <a:pt x="18" y="106"/>
                      <a:pt x="31" y="94"/>
                      <a:pt x="39" y="79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65" y="27"/>
                      <a:pt x="76" y="16"/>
                      <a:pt x="89" y="9"/>
                    </a:cubicBezTo>
                    <a:cubicBezTo>
                      <a:pt x="101" y="1"/>
                      <a:pt x="101" y="1"/>
                      <a:pt x="101" y="1"/>
                    </a:cubicBezTo>
                    <a:cubicBezTo>
                      <a:pt x="103" y="0"/>
                      <a:pt x="105" y="1"/>
                      <a:pt x="106" y="2"/>
                    </a:cubicBezTo>
                    <a:cubicBezTo>
                      <a:pt x="107" y="4"/>
                      <a:pt x="107" y="6"/>
                      <a:pt x="105" y="7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81" y="22"/>
                      <a:pt x="71" y="32"/>
                      <a:pt x="65" y="44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36" y="99"/>
                      <a:pt x="22" y="111"/>
                      <a:pt x="5" y="119"/>
                    </a:cubicBezTo>
                    <a:cubicBezTo>
                      <a:pt x="5" y="119"/>
                      <a:pt x="4" y="119"/>
                      <a:pt x="4" y="119"/>
                    </a:cubicBezTo>
                    <a:close/>
                  </a:path>
                </a:pathLst>
              </a:custGeom>
              <a:solidFill>
                <a:srgbClr val="FBB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Freeform 118">
                <a:extLst>
                  <a:ext uri="{FF2B5EF4-FFF2-40B4-BE49-F238E27FC236}">
                    <a16:creationId xmlns:a16="http://schemas.microsoft.com/office/drawing/2014/main" id="{64A85FD9-AEA1-4555-9C82-D1F8440DA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983" y="4932694"/>
                <a:ext cx="382785" cy="659136"/>
              </a:xfrm>
              <a:custGeom>
                <a:avLst/>
                <a:gdLst>
                  <a:gd name="T0" fmla="*/ 82 w 86"/>
                  <a:gd name="T1" fmla="*/ 148 h 148"/>
                  <a:gd name="T2" fmla="*/ 79 w 86"/>
                  <a:gd name="T3" fmla="*/ 146 h 148"/>
                  <a:gd name="T4" fmla="*/ 0 w 86"/>
                  <a:gd name="T5" fmla="*/ 6 h 148"/>
                  <a:gd name="T6" fmla="*/ 2 w 86"/>
                  <a:gd name="T7" fmla="*/ 1 h 148"/>
                  <a:gd name="T8" fmla="*/ 7 w 86"/>
                  <a:gd name="T9" fmla="*/ 2 h 148"/>
                  <a:gd name="T10" fmla="*/ 85 w 86"/>
                  <a:gd name="T11" fmla="*/ 142 h 148"/>
                  <a:gd name="T12" fmla="*/ 83 w 86"/>
                  <a:gd name="T13" fmla="*/ 147 h 148"/>
                  <a:gd name="T14" fmla="*/ 82 w 86"/>
                  <a:gd name="T15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148">
                    <a:moveTo>
                      <a:pt x="82" y="148"/>
                    </a:moveTo>
                    <a:cubicBezTo>
                      <a:pt x="81" y="148"/>
                      <a:pt x="79" y="147"/>
                      <a:pt x="79" y="14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85" y="142"/>
                      <a:pt x="85" y="142"/>
                      <a:pt x="85" y="142"/>
                    </a:cubicBezTo>
                    <a:cubicBezTo>
                      <a:pt x="86" y="144"/>
                      <a:pt x="85" y="146"/>
                      <a:pt x="83" y="147"/>
                    </a:cubicBezTo>
                    <a:cubicBezTo>
                      <a:pt x="83" y="147"/>
                      <a:pt x="82" y="148"/>
                      <a:pt x="82" y="148"/>
                    </a:cubicBezTo>
                    <a:close/>
                  </a:path>
                </a:pathLst>
              </a:custGeom>
              <a:solidFill>
                <a:srgbClr val="FBC3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Freeform 119">
                <a:extLst>
                  <a:ext uri="{FF2B5EF4-FFF2-40B4-BE49-F238E27FC236}">
                    <a16:creationId xmlns:a16="http://schemas.microsoft.com/office/drawing/2014/main" id="{32B29F9D-2093-4030-BD09-93EB3522C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4125" y="5061534"/>
                <a:ext cx="1010178" cy="552703"/>
              </a:xfrm>
              <a:custGeom>
                <a:avLst/>
                <a:gdLst>
                  <a:gd name="T0" fmla="*/ 96 w 228"/>
                  <a:gd name="T1" fmla="*/ 124 h 124"/>
                  <a:gd name="T2" fmla="*/ 4 w 228"/>
                  <a:gd name="T3" fmla="*/ 124 h 124"/>
                  <a:gd name="T4" fmla="*/ 0 w 228"/>
                  <a:gd name="T5" fmla="*/ 120 h 124"/>
                  <a:gd name="T6" fmla="*/ 4 w 228"/>
                  <a:gd name="T7" fmla="*/ 117 h 124"/>
                  <a:gd name="T8" fmla="*/ 96 w 228"/>
                  <a:gd name="T9" fmla="*/ 117 h 124"/>
                  <a:gd name="T10" fmla="*/ 159 w 228"/>
                  <a:gd name="T11" fmla="*/ 78 h 124"/>
                  <a:gd name="T12" fmla="*/ 179 w 228"/>
                  <a:gd name="T13" fmla="*/ 40 h 124"/>
                  <a:gd name="T14" fmla="*/ 209 w 228"/>
                  <a:gd name="T15" fmla="*/ 8 h 124"/>
                  <a:gd name="T16" fmla="*/ 222 w 228"/>
                  <a:gd name="T17" fmla="*/ 1 h 124"/>
                  <a:gd name="T18" fmla="*/ 227 w 228"/>
                  <a:gd name="T19" fmla="*/ 2 h 124"/>
                  <a:gd name="T20" fmla="*/ 226 w 228"/>
                  <a:gd name="T21" fmla="*/ 7 h 124"/>
                  <a:gd name="T22" fmla="*/ 213 w 228"/>
                  <a:gd name="T23" fmla="*/ 14 h 124"/>
                  <a:gd name="T24" fmla="*/ 185 w 228"/>
                  <a:gd name="T25" fmla="*/ 43 h 124"/>
                  <a:gd name="T26" fmla="*/ 165 w 228"/>
                  <a:gd name="T27" fmla="*/ 82 h 124"/>
                  <a:gd name="T28" fmla="*/ 96 w 228"/>
                  <a:gd name="T2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8" h="124">
                    <a:moveTo>
                      <a:pt x="96" y="124"/>
                    </a:moveTo>
                    <a:cubicBezTo>
                      <a:pt x="4" y="124"/>
                      <a:pt x="4" y="124"/>
                      <a:pt x="4" y="124"/>
                    </a:cubicBezTo>
                    <a:cubicBezTo>
                      <a:pt x="2" y="124"/>
                      <a:pt x="0" y="122"/>
                      <a:pt x="0" y="120"/>
                    </a:cubicBezTo>
                    <a:cubicBezTo>
                      <a:pt x="0" y="119"/>
                      <a:pt x="2" y="117"/>
                      <a:pt x="4" y="117"/>
                    </a:cubicBezTo>
                    <a:cubicBezTo>
                      <a:pt x="96" y="117"/>
                      <a:pt x="96" y="117"/>
                      <a:pt x="96" y="117"/>
                    </a:cubicBezTo>
                    <a:cubicBezTo>
                      <a:pt x="122" y="117"/>
                      <a:pt x="147" y="102"/>
                      <a:pt x="159" y="78"/>
                    </a:cubicBezTo>
                    <a:cubicBezTo>
                      <a:pt x="179" y="40"/>
                      <a:pt x="179" y="40"/>
                      <a:pt x="179" y="40"/>
                    </a:cubicBezTo>
                    <a:cubicBezTo>
                      <a:pt x="186" y="27"/>
                      <a:pt x="196" y="16"/>
                      <a:pt x="209" y="8"/>
                    </a:cubicBezTo>
                    <a:cubicBezTo>
                      <a:pt x="222" y="1"/>
                      <a:pt x="222" y="1"/>
                      <a:pt x="222" y="1"/>
                    </a:cubicBezTo>
                    <a:cubicBezTo>
                      <a:pt x="224" y="0"/>
                      <a:pt x="226" y="0"/>
                      <a:pt x="227" y="2"/>
                    </a:cubicBezTo>
                    <a:cubicBezTo>
                      <a:pt x="228" y="4"/>
                      <a:pt x="227" y="6"/>
                      <a:pt x="226" y="7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01" y="21"/>
                      <a:pt x="192" y="31"/>
                      <a:pt x="185" y="43"/>
                    </a:cubicBezTo>
                    <a:cubicBezTo>
                      <a:pt x="165" y="82"/>
                      <a:pt x="165" y="82"/>
                      <a:pt x="165" y="82"/>
                    </a:cubicBezTo>
                    <a:cubicBezTo>
                      <a:pt x="152" y="108"/>
                      <a:pt x="125" y="124"/>
                      <a:pt x="96" y="124"/>
                    </a:cubicBezTo>
                    <a:close/>
                  </a:path>
                </a:pathLst>
              </a:custGeom>
              <a:solidFill>
                <a:srgbClr val="FBB5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Freeform 120">
                <a:extLst>
                  <a:ext uri="{FF2B5EF4-FFF2-40B4-BE49-F238E27FC236}">
                    <a16:creationId xmlns:a16="http://schemas.microsoft.com/office/drawing/2014/main" id="{079C89BA-210C-4B42-992A-C68EFF184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4125" y="5102614"/>
                <a:ext cx="309962" cy="506023"/>
              </a:xfrm>
              <a:custGeom>
                <a:avLst/>
                <a:gdLst>
                  <a:gd name="T0" fmla="*/ 4 w 70"/>
                  <a:gd name="T1" fmla="*/ 114 h 114"/>
                  <a:gd name="T2" fmla="*/ 2 w 70"/>
                  <a:gd name="T3" fmla="*/ 114 h 114"/>
                  <a:gd name="T4" fmla="*/ 1 w 70"/>
                  <a:gd name="T5" fmla="*/ 110 h 114"/>
                  <a:gd name="T6" fmla="*/ 64 w 70"/>
                  <a:gd name="T7" fmla="*/ 2 h 114"/>
                  <a:gd name="T8" fmla="*/ 68 w 70"/>
                  <a:gd name="T9" fmla="*/ 1 h 114"/>
                  <a:gd name="T10" fmla="*/ 69 w 70"/>
                  <a:gd name="T11" fmla="*/ 5 h 114"/>
                  <a:gd name="T12" fmla="*/ 6 w 70"/>
                  <a:gd name="T13" fmla="*/ 113 h 114"/>
                  <a:gd name="T14" fmla="*/ 4 w 70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114">
                    <a:moveTo>
                      <a:pt x="4" y="114"/>
                    </a:moveTo>
                    <a:cubicBezTo>
                      <a:pt x="3" y="114"/>
                      <a:pt x="3" y="114"/>
                      <a:pt x="2" y="114"/>
                    </a:cubicBezTo>
                    <a:cubicBezTo>
                      <a:pt x="1" y="113"/>
                      <a:pt x="0" y="111"/>
                      <a:pt x="1" y="110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65" y="1"/>
                      <a:pt x="66" y="0"/>
                      <a:pt x="68" y="1"/>
                    </a:cubicBezTo>
                    <a:cubicBezTo>
                      <a:pt x="69" y="2"/>
                      <a:pt x="70" y="3"/>
                      <a:pt x="69" y="5"/>
                    </a:cubicBezTo>
                    <a:cubicBezTo>
                      <a:pt x="6" y="113"/>
                      <a:pt x="6" y="113"/>
                      <a:pt x="6" y="113"/>
                    </a:cubicBezTo>
                    <a:cubicBezTo>
                      <a:pt x="6" y="114"/>
                      <a:pt x="5" y="114"/>
                      <a:pt x="4" y="114"/>
                    </a:cubicBezTo>
                    <a:close/>
                  </a:path>
                </a:pathLst>
              </a:custGeom>
              <a:solidFill>
                <a:srgbClr val="FBC3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Oval 121">
                <a:extLst>
                  <a:ext uri="{FF2B5EF4-FFF2-40B4-BE49-F238E27FC236}">
                    <a16:creationId xmlns:a16="http://schemas.microsoft.com/office/drawing/2014/main" id="{D5F5BC55-0F4A-4119-8C71-FAF4E12F0C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1476" y="5515273"/>
                <a:ext cx="164317" cy="164317"/>
              </a:xfrm>
              <a:prstGeom prst="ellipse">
                <a:avLst/>
              </a:prstGeom>
              <a:solidFill>
                <a:srgbClr val="2825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Oval 122">
                <a:extLst>
                  <a:ext uri="{FF2B5EF4-FFF2-40B4-BE49-F238E27FC236}">
                    <a16:creationId xmlns:a16="http://schemas.microsoft.com/office/drawing/2014/main" id="{41E4E92E-081C-457F-A235-B73818BADD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32383" y="5550751"/>
                <a:ext cx="93362" cy="93362"/>
              </a:xfrm>
              <a:prstGeom prst="ellipse">
                <a:avLst/>
              </a:prstGeom>
              <a:solidFill>
                <a:srgbClr val="C2D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Oval 123">
                <a:extLst>
                  <a:ext uri="{FF2B5EF4-FFF2-40B4-BE49-F238E27FC236}">
                    <a16:creationId xmlns:a16="http://schemas.microsoft.com/office/drawing/2014/main" id="{58C3317C-DB27-4200-B3A8-D46439D2AA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60811" y="5524610"/>
                <a:ext cx="145645" cy="145645"/>
              </a:xfrm>
              <a:prstGeom prst="ellipse">
                <a:avLst/>
              </a:prstGeom>
              <a:solidFill>
                <a:srgbClr val="C2D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Freeform 124">
                <a:extLst>
                  <a:ext uri="{FF2B5EF4-FFF2-40B4-BE49-F238E27FC236}">
                    <a16:creationId xmlns:a16="http://schemas.microsoft.com/office/drawing/2014/main" id="{33345DBD-B81D-464F-9719-C53D8A59D6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0315" y="5786024"/>
                <a:ext cx="164317" cy="50416"/>
              </a:xfrm>
              <a:custGeom>
                <a:avLst/>
                <a:gdLst>
                  <a:gd name="T0" fmla="*/ 3 w 37"/>
                  <a:gd name="T1" fmla="*/ 11 h 11"/>
                  <a:gd name="T2" fmla="*/ 0 w 37"/>
                  <a:gd name="T3" fmla="*/ 9 h 11"/>
                  <a:gd name="T4" fmla="*/ 3 w 37"/>
                  <a:gd name="T5" fmla="*/ 5 h 11"/>
                  <a:gd name="T6" fmla="*/ 34 w 37"/>
                  <a:gd name="T7" fmla="*/ 1 h 11"/>
                  <a:gd name="T8" fmla="*/ 37 w 37"/>
                  <a:gd name="T9" fmla="*/ 3 h 11"/>
                  <a:gd name="T10" fmla="*/ 35 w 37"/>
                  <a:gd name="T11" fmla="*/ 6 h 11"/>
                  <a:gd name="T12" fmla="*/ 3 w 37"/>
                  <a:gd name="T13" fmla="*/ 11 h 11"/>
                  <a:gd name="T14" fmla="*/ 3 w 37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11">
                    <a:moveTo>
                      <a:pt x="3" y="11"/>
                    </a:moveTo>
                    <a:cubicBezTo>
                      <a:pt x="2" y="11"/>
                      <a:pt x="0" y="10"/>
                      <a:pt x="0" y="9"/>
                    </a:cubicBezTo>
                    <a:cubicBezTo>
                      <a:pt x="0" y="7"/>
                      <a:pt x="1" y="6"/>
                      <a:pt x="3" y="5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5" y="0"/>
                      <a:pt x="37" y="2"/>
                      <a:pt x="37" y="3"/>
                    </a:cubicBezTo>
                    <a:cubicBezTo>
                      <a:pt x="37" y="5"/>
                      <a:pt x="36" y="6"/>
                      <a:pt x="35" y="6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8" name="Freeform 125">
                <a:extLst>
                  <a:ext uri="{FF2B5EF4-FFF2-40B4-BE49-F238E27FC236}">
                    <a16:creationId xmlns:a16="http://schemas.microsoft.com/office/drawing/2014/main" id="{C07B4845-80CE-47A2-A711-026824BA7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165" y="5595565"/>
                <a:ext cx="141910" cy="222202"/>
              </a:xfrm>
              <a:custGeom>
                <a:avLst/>
                <a:gdLst>
                  <a:gd name="T0" fmla="*/ 31 w 32"/>
                  <a:gd name="T1" fmla="*/ 50 h 50"/>
                  <a:gd name="T2" fmla="*/ 29 w 32"/>
                  <a:gd name="T3" fmla="*/ 50 h 50"/>
                  <a:gd name="T4" fmla="*/ 0 w 32"/>
                  <a:gd name="T5" fmla="*/ 3 h 50"/>
                  <a:gd name="T6" fmla="*/ 1 w 32"/>
                  <a:gd name="T7" fmla="*/ 1 h 50"/>
                  <a:gd name="T8" fmla="*/ 3 w 32"/>
                  <a:gd name="T9" fmla="*/ 1 h 50"/>
                  <a:gd name="T10" fmla="*/ 32 w 32"/>
                  <a:gd name="T11" fmla="*/ 48 h 50"/>
                  <a:gd name="T12" fmla="*/ 31 w 32"/>
                  <a:gd name="T13" fmla="*/ 50 h 50"/>
                  <a:gd name="T14" fmla="*/ 31 w 32"/>
                  <a:gd name="T15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50">
                    <a:moveTo>
                      <a:pt x="31" y="50"/>
                    </a:moveTo>
                    <a:cubicBezTo>
                      <a:pt x="30" y="50"/>
                      <a:pt x="30" y="50"/>
                      <a:pt x="29" y="5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2" y="49"/>
                      <a:pt x="32" y="50"/>
                      <a:pt x="31" y="50"/>
                    </a:cubicBezTo>
                    <a:cubicBezTo>
                      <a:pt x="31" y="50"/>
                      <a:pt x="31" y="50"/>
                      <a:pt x="31" y="50"/>
                    </a:cubicBezTo>
                    <a:close/>
                  </a:path>
                </a:pathLst>
              </a:custGeom>
              <a:solidFill>
                <a:srgbClr val="322F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9" name="Freeform 126">
                <a:extLst>
                  <a:ext uri="{FF2B5EF4-FFF2-40B4-BE49-F238E27FC236}">
                    <a16:creationId xmlns:a16="http://schemas.microsoft.com/office/drawing/2014/main" id="{7D42870E-2EDF-4FF3-B9A5-FF0C2737E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5745" y="4919624"/>
                <a:ext cx="190459" cy="54151"/>
              </a:xfrm>
              <a:custGeom>
                <a:avLst/>
                <a:gdLst>
                  <a:gd name="T0" fmla="*/ 12 w 43"/>
                  <a:gd name="T1" fmla="*/ 0 h 12"/>
                  <a:gd name="T2" fmla="*/ 40 w 43"/>
                  <a:gd name="T3" fmla="*/ 0 h 12"/>
                  <a:gd name="T4" fmla="*/ 43 w 43"/>
                  <a:gd name="T5" fmla="*/ 4 h 12"/>
                  <a:gd name="T6" fmla="*/ 43 w 43"/>
                  <a:gd name="T7" fmla="*/ 9 h 12"/>
                  <a:gd name="T8" fmla="*/ 40 w 43"/>
                  <a:gd name="T9" fmla="*/ 12 h 12"/>
                  <a:gd name="T10" fmla="*/ 5 w 43"/>
                  <a:gd name="T11" fmla="*/ 12 h 12"/>
                  <a:gd name="T12" fmla="*/ 1 w 43"/>
                  <a:gd name="T13" fmla="*/ 7 h 12"/>
                  <a:gd name="T14" fmla="*/ 12 w 43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12">
                    <a:moveTo>
                      <a:pt x="12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42" y="0"/>
                      <a:pt x="43" y="2"/>
                      <a:pt x="43" y="4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3" y="11"/>
                      <a:pt x="42" y="12"/>
                      <a:pt x="40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2" y="12"/>
                      <a:pt x="0" y="9"/>
                      <a:pt x="1" y="7"/>
                    </a:cubicBezTo>
                    <a:cubicBezTo>
                      <a:pt x="3" y="3"/>
                      <a:pt x="7" y="0"/>
                      <a:pt x="12" y="0"/>
                    </a:cubicBezTo>
                    <a:close/>
                  </a:path>
                </a:pathLst>
              </a:custGeom>
              <a:solidFill>
                <a:srgbClr val="7F29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Freeform 127">
                <a:extLst>
                  <a:ext uri="{FF2B5EF4-FFF2-40B4-BE49-F238E27FC236}">
                    <a16:creationId xmlns:a16="http://schemas.microsoft.com/office/drawing/2014/main" id="{8F0836B8-9900-4604-A4D0-54A445C8F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6828" y="5586228"/>
                <a:ext cx="80292" cy="199795"/>
              </a:xfrm>
              <a:custGeom>
                <a:avLst/>
                <a:gdLst>
                  <a:gd name="T0" fmla="*/ 18 w 18"/>
                  <a:gd name="T1" fmla="*/ 7 h 45"/>
                  <a:gd name="T2" fmla="*/ 18 w 18"/>
                  <a:gd name="T3" fmla="*/ 40 h 45"/>
                  <a:gd name="T4" fmla="*/ 11 w 18"/>
                  <a:gd name="T5" fmla="*/ 45 h 45"/>
                  <a:gd name="T6" fmla="*/ 4 w 18"/>
                  <a:gd name="T7" fmla="*/ 44 h 45"/>
                  <a:gd name="T8" fmla="*/ 0 w 18"/>
                  <a:gd name="T9" fmla="*/ 0 h 45"/>
                  <a:gd name="T10" fmla="*/ 18 w 18"/>
                  <a:gd name="T11" fmla="*/ 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45">
                    <a:moveTo>
                      <a:pt x="18" y="7"/>
                    </a:moveTo>
                    <a:cubicBezTo>
                      <a:pt x="18" y="40"/>
                      <a:pt x="18" y="40"/>
                      <a:pt x="18" y="40"/>
                    </a:cubicBezTo>
                    <a:cubicBezTo>
                      <a:pt x="18" y="40"/>
                      <a:pt x="15" y="45"/>
                      <a:pt x="11" y="45"/>
                    </a:cubicBezTo>
                    <a:cubicBezTo>
                      <a:pt x="8" y="45"/>
                      <a:pt x="4" y="44"/>
                      <a:pt x="4" y="4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8" y="7"/>
                      <a:pt x="18" y="7"/>
                      <a:pt x="18" y="7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Freeform 128">
                <a:extLst>
                  <a:ext uri="{FF2B5EF4-FFF2-40B4-BE49-F238E27FC236}">
                    <a16:creationId xmlns:a16="http://schemas.microsoft.com/office/drawing/2014/main" id="{55C4C105-3774-43F1-8BEA-EB227EA1A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6828" y="5724404"/>
                <a:ext cx="209131" cy="102699"/>
              </a:xfrm>
              <a:custGeom>
                <a:avLst/>
                <a:gdLst>
                  <a:gd name="T0" fmla="*/ 18 w 47"/>
                  <a:gd name="T1" fmla="*/ 4 h 23"/>
                  <a:gd name="T2" fmla="*/ 31 w 47"/>
                  <a:gd name="T3" fmla="*/ 8 h 23"/>
                  <a:gd name="T4" fmla="*/ 46 w 47"/>
                  <a:gd name="T5" fmla="*/ 10 h 23"/>
                  <a:gd name="T6" fmla="*/ 46 w 47"/>
                  <a:gd name="T7" fmla="*/ 15 h 23"/>
                  <a:gd name="T8" fmla="*/ 5 w 47"/>
                  <a:gd name="T9" fmla="*/ 23 h 23"/>
                  <a:gd name="T10" fmla="*/ 5 w 47"/>
                  <a:gd name="T11" fmla="*/ 10 h 23"/>
                  <a:gd name="T12" fmla="*/ 18 w 47"/>
                  <a:gd name="T13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23">
                    <a:moveTo>
                      <a:pt x="18" y="4"/>
                    </a:moveTo>
                    <a:cubicBezTo>
                      <a:pt x="19" y="0"/>
                      <a:pt x="18" y="4"/>
                      <a:pt x="31" y="8"/>
                    </a:cubicBezTo>
                    <a:cubicBezTo>
                      <a:pt x="40" y="10"/>
                      <a:pt x="46" y="8"/>
                      <a:pt x="46" y="10"/>
                    </a:cubicBezTo>
                    <a:cubicBezTo>
                      <a:pt x="47" y="13"/>
                      <a:pt x="46" y="15"/>
                      <a:pt x="46" y="15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5" y="23"/>
                      <a:pt x="0" y="10"/>
                      <a:pt x="5" y="10"/>
                    </a:cubicBezTo>
                    <a:cubicBezTo>
                      <a:pt x="21" y="6"/>
                      <a:pt x="18" y="4"/>
                      <a:pt x="18" y="4"/>
                    </a:cubicBezTo>
                    <a:close/>
                  </a:path>
                </a:pathLst>
              </a:custGeom>
              <a:solidFill>
                <a:srgbClr val="BE2A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Freeform 129">
                <a:extLst>
                  <a:ext uri="{FF2B5EF4-FFF2-40B4-BE49-F238E27FC236}">
                    <a16:creationId xmlns:a16="http://schemas.microsoft.com/office/drawing/2014/main" id="{E8701C25-6759-4B41-9C0A-45B9F7D8B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9479" y="4738501"/>
                <a:ext cx="638596" cy="950426"/>
              </a:xfrm>
              <a:custGeom>
                <a:avLst/>
                <a:gdLst>
                  <a:gd name="T0" fmla="*/ 74 w 144"/>
                  <a:gd name="T1" fmla="*/ 4 h 214"/>
                  <a:gd name="T2" fmla="*/ 136 w 144"/>
                  <a:gd name="T3" fmla="*/ 92 h 214"/>
                  <a:gd name="T4" fmla="*/ 130 w 144"/>
                  <a:gd name="T5" fmla="*/ 211 h 214"/>
                  <a:gd name="T6" fmla="*/ 106 w 144"/>
                  <a:gd name="T7" fmla="*/ 213 h 214"/>
                  <a:gd name="T8" fmla="*/ 101 w 144"/>
                  <a:gd name="T9" fmla="*/ 99 h 214"/>
                  <a:gd name="T10" fmla="*/ 4 w 144"/>
                  <a:gd name="T11" fmla="*/ 30 h 214"/>
                  <a:gd name="T12" fmla="*/ 11 w 144"/>
                  <a:gd name="T13" fmla="*/ 0 h 214"/>
                  <a:gd name="T14" fmla="*/ 74 w 144"/>
                  <a:gd name="T15" fmla="*/ 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4" h="214">
                    <a:moveTo>
                      <a:pt x="74" y="4"/>
                    </a:moveTo>
                    <a:cubicBezTo>
                      <a:pt x="74" y="4"/>
                      <a:pt x="128" y="54"/>
                      <a:pt x="136" y="92"/>
                    </a:cubicBezTo>
                    <a:cubicBezTo>
                      <a:pt x="144" y="130"/>
                      <a:pt x="130" y="211"/>
                      <a:pt x="130" y="211"/>
                    </a:cubicBezTo>
                    <a:cubicBezTo>
                      <a:pt x="130" y="211"/>
                      <a:pt x="122" y="214"/>
                      <a:pt x="106" y="213"/>
                    </a:cubicBezTo>
                    <a:cubicBezTo>
                      <a:pt x="106" y="213"/>
                      <a:pt x="107" y="107"/>
                      <a:pt x="101" y="99"/>
                    </a:cubicBezTo>
                    <a:cubicBezTo>
                      <a:pt x="95" y="92"/>
                      <a:pt x="8" y="44"/>
                      <a:pt x="4" y="30"/>
                    </a:cubicBezTo>
                    <a:cubicBezTo>
                      <a:pt x="0" y="16"/>
                      <a:pt x="11" y="0"/>
                      <a:pt x="11" y="0"/>
                    </a:cubicBezTo>
                    <a:cubicBezTo>
                      <a:pt x="74" y="4"/>
                      <a:pt x="74" y="4"/>
                      <a:pt x="74" y="4"/>
                    </a:cubicBezTo>
                  </a:path>
                </a:pathLst>
              </a:custGeom>
              <a:solidFill>
                <a:srgbClr val="F47B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3" name="Freeform 130">
                <a:extLst>
                  <a:ext uri="{FF2B5EF4-FFF2-40B4-BE49-F238E27FC236}">
                    <a16:creationId xmlns:a16="http://schemas.microsoft.com/office/drawing/2014/main" id="{08CF3759-A12E-4A4C-9183-7C1A470214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8318" y="4732900"/>
                <a:ext cx="425731" cy="920550"/>
              </a:xfrm>
              <a:custGeom>
                <a:avLst/>
                <a:gdLst>
                  <a:gd name="T0" fmla="*/ 0 w 96"/>
                  <a:gd name="T1" fmla="*/ 9 h 207"/>
                  <a:gd name="T2" fmla="*/ 3 w 96"/>
                  <a:gd name="T3" fmla="*/ 1 h 207"/>
                  <a:gd name="T4" fmla="*/ 4 w 96"/>
                  <a:gd name="T5" fmla="*/ 26 h 207"/>
                  <a:gd name="T6" fmla="*/ 1 w 96"/>
                  <a:gd name="T7" fmla="*/ 16 h 207"/>
                  <a:gd name="T8" fmla="*/ 4 w 96"/>
                  <a:gd name="T9" fmla="*/ 26 h 207"/>
                  <a:gd name="T10" fmla="*/ 16 w 96"/>
                  <a:gd name="T11" fmla="*/ 36 h 207"/>
                  <a:gd name="T12" fmla="*/ 11 w 96"/>
                  <a:gd name="T13" fmla="*/ 29 h 207"/>
                  <a:gd name="T14" fmla="*/ 17 w 96"/>
                  <a:gd name="T15" fmla="*/ 36 h 207"/>
                  <a:gd name="T16" fmla="*/ 23 w 96"/>
                  <a:gd name="T17" fmla="*/ 40 h 207"/>
                  <a:gd name="T18" fmla="*/ 31 w 96"/>
                  <a:gd name="T19" fmla="*/ 43 h 207"/>
                  <a:gd name="T20" fmla="*/ 44 w 96"/>
                  <a:gd name="T21" fmla="*/ 54 h 207"/>
                  <a:gd name="T22" fmla="*/ 36 w 96"/>
                  <a:gd name="T23" fmla="*/ 48 h 207"/>
                  <a:gd name="T24" fmla="*/ 45 w 96"/>
                  <a:gd name="T25" fmla="*/ 53 h 207"/>
                  <a:gd name="T26" fmla="*/ 56 w 96"/>
                  <a:gd name="T27" fmla="*/ 63 h 207"/>
                  <a:gd name="T28" fmla="*/ 51 w 96"/>
                  <a:gd name="T29" fmla="*/ 56 h 207"/>
                  <a:gd name="T30" fmla="*/ 57 w 96"/>
                  <a:gd name="T31" fmla="*/ 63 h 207"/>
                  <a:gd name="T32" fmla="*/ 63 w 96"/>
                  <a:gd name="T33" fmla="*/ 67 h 207"/>
                  <a:gd name="T34" fmla="*/ 71 w 96"/>
                  <a:gd name="T35" fmla="*/ 70 h 207"/>
                  <a:gd name="T36" fmla="*/ 83 w 96"/>
                  <a:gd name="T37" fmla="*/ 83 h 207"/>
                  <a:gd name="T38" fmla="*/ 76 w 96"/>
                  <a:gd name="T39" fmla="*/ 75 h 207"/>
                  <a:gd name="T40" fmla="*/ 84 w 96"/>
                  <a:gd name="T41" fmla="*/ 82 h 207"/>
                  <a:gd name="T42" fmla="*/ 93 w 96"/>
                  <a:gd name="T43" fmla="*/ 94 h 207"/>
                  <a:gd name="T44" fmla="*/ 90 w 96"/>
                  <a:gd name="T45" fmla="*/ 86 h 207"/>
                  <a:gd name="T46" fmla="*/ 94 w 96"/>
                  <a:gd name="T47" fmla="*/ 94 h 207"/>
                  <a:gd name="T48" fmla="*/ 94 w 96"/>
                  <a:gd name="T49" fmla="*/ 109 h 207"/>
                  <a:gd name="T50" fmla="*/ 96 w 96"/>
                  <a:gd name="T51" fmla="*/ 101 h 207"/>
                  <a:gd name="T52" fmla="*/ 94 w 96"/>
                  <a:gd name="T53" fmla="*/ 126 h 207"/>
                  <a:gd name="T54" fmla="*/ 93 w 96"/>
                  <a:gd name="T55" fmla="*/ 117 h 207"/>
                  <a:gd name="T56" fmla="*/ 95 w 96"/>
                  <a:gd name="T57" fmla="*/ 125 h 207"/>
                  <a:gd name="T58" fmla="*/ 93 w 96"/>
                  <a:gd name="T59" fmla="*/ 143 h 207"/>
                  <a:gd name="T60" fmla="*/ 93 w 96"/>
                  <a:gd name="T61" fmla="*/ 132 h 207"/>
                  <a:gd name="T62" fmla="*/ 93 w 96"/>
                  <a:gd name="T63" fmla="*/ 143 h 207"/>
                  <a:gd name="T64" fmla="*/ 91 w 96"/>
                  <a:gd name="T65" fmla="*/ 157 h 207"/>
                  <a:gd name="T66" fmla="*/ 93 w 96"/>
                  <a:gd name="T67" fmla="*/ 150 h 207"/>
                  <a:gd name="T68" fmla="*/ 91 w 96"/>
                  <a:gd name="T69" fmla="*/ 175 h 207"/>
                  <a:gd name="T70" fmla="*/ 90 w 96"/>
                  <a:gd name="T71" fmla="*/ 166 h 207"/>
                  <a:gd name="T72" fmla="*/ 92 w 96"/>
                  <a:gd name="T73" fmla="*/ 174 h 207"/>
                  <a:gd name="T74" fmla="*/ 89 w 96"/>
                  <a:gd name="T75" fmla="*/ 191 h 207"/>
                  <a:gd name="T76" fmla="*/ 90 w 96"/>
                  <a:gd name="T77" fmla="*/ 181 h 207"/>
                  <a:gd name="T78" fmla="*/ 89 w 96"/>
                  <a:gd name="T79" fmla="*/ 191 h 207"/>
                  <a:gd name="T80" fmla="*/ 87 w 96"/>
                  <a:gd name="T81" fmla="*/ 206 h 207"/>
                  <a:gd name="T82" fmla="*/ 90 w 96"/>
                  <a:gd name="T83" fmla="*/ 198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6" h="207">
                    <a:moveTo>
                      <a:pt x="1" y="10"/>
                    </a:move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0" y="10"/>
                      <a:pt x="0" y="9"/>
                    </a:cubicBezTo>
                    <a:cubicBezTo>
                      <a:pt x="0" y="7"/>
                      <a:pt x="1" y="4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3" y="1"/>
                      <a:pt x="3" y="1"/>
                    </a:cubicBezTo>
                    <a:cubicBezTo>
                      <a:pt x="3" y="4"/>
                      <a:pt x="3" y="7"/>
                      <a:pt x="2" y="9"/>
                    </a:cubicBezTo>
                    <a:cubicBezTo>
                      <a:pt x="2" y="10"/>
                      <a:pt x="2" y="10"/>
                      <a:pt x="1" y="10"/>
                    </a:cubicBezTo>
                    <a:moveTo>
                      <a:pt x="4" y="26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1" y="24"/>
                      <a:pt x="1" y="21"/>
                      <a:pt x="0" y="17"/>
                    </a:cubicBezTo>
                    <a:cubicBezTo>
                      <a:pt x="0" y="17"/>
                      <a:pt x="1" y="16"/>
                      <a:pt x="1" y="16"/>
                    </a:cubicBezTo>
                    <a:cubicBezTo>
                      <a:pt x="2" y="16"/>
                      <a:pt x="2" y="17"/>
                      <a:pt x="3" y="17"/>
                    </a:cubicBezTo>
                    <a:cubicBezTo>
                      <a:pt x="3" y="20"/>
                      <a:pt x="4" y="23"/>
                      <a:pt x="5" y="24"/>
                    </a:cubicBezTo>
                    <a:cubicBezTo>
                      <a:pt x="5" y="25"/>
                      <a:pt x="5" y="26"/>
                      <a:pt x="4" y="26"/>
                    </a:cubicBezTo>
                    <a:cubicBezTo>
                      <a:pt x="4" y="26"/>
                      <a:pt x="4" y="26"/>
                      <a:pt x="4" y="26"/>
                    </a:cubicBezTo>
                    <a:moveTo>
                      <a:pt x="17" y="36"/>
                    </a:moveTo>
                    <a:cubicBezTo>
                      <a:pt x="16" y="36"/>
                      <a:pt x="16" y="36"/>
                      <a:pt x="16" y="36"/>
                    </a:cubicBezTo>
                    <a:cubicBezTo>
                      <a:pt x="13" y="34"/>
                      <a:pt x="11" y="32"/>
                      <a:pt x="9" y="31"/>
                    </a:cubicBezTo>
                    <a:cubicBezTo>
                      <a:pt x="9" y="31"/>
                      <a:pt x="9" y="30"/>
                      <a:pt x="9" y="30"/>
                    </a:cubicBezTo>
                    <a:cubicBezTo>
                      <a:pt x="9" y="29"/>
                      <a:pt x="10" y="29"/>
                      <a:pt x="11" y="29"/>
                    </a:cubicBezTo>
                    <a:cubicBezTo>
                      <a:pt x="12" y="31"/>
                      <a:pt x="14" y="32"/>
                      <a:pt x="17" y="34"/>
                    </a:cubicBezTo>
                    <a:cubicBezTo>
                      <a:pt x="18" y="34"/>
                      <a:pt x="18" y="35"/>
                      <a:pt x="18" y="35"/>
                    </a:cubicBezTo>
                    <a:cubicBezTo>
                      <a:pt x="17" y="36"/>
                      <a:pt x="17" y="36"/>
                      <a:pt x="17" y="36"/>
                    </a:cubicBezTo>
                    <a:moveTo>
                      <a:pt x="30" y="45"/>
                    </a:moveTo>
                    <a:cubicBezTo>
                      <a:pt x="30" y="45"/>
                      <a:pt x="30" y="45"/>
                      <a:pt x="29" y="45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2" y="40"/>
                      <a:pt x="22" y="39"/>
                      <a:pt x="22" y="39"/>
                    </a:cubicBezTo>
                    <a:cubicBezTo>
                      <a:pt x="23" y="38"/>
                      <a:pt x="23" y="38"/>
                      <a:pt x="24" y="38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31" y="43"/>
                      <a:pt x="31" y="44"/>
                      <a:pt x="31" y="44"/>
                    </a:cubicBezTo>
                    <a:cubicBezTo>
                      <a:pt x="31" y="45"/>
                      <a:pt x="31" y="45"/>
                      <a:pt x="30" y="45"/>
                    </a:cubicBezTo>
                    <a:moveTo>
                      <a:pt x="44" y="54"/>
                    </a:moveTo>
                    <a:cubicBezTo>
                      <a:pt x="43" y="54"/>
                      <a:pt x="43" y="54"/>
                      <a:pt x="43" y="54"/>
                    </a:cubicBezTo>
                    <a:cubicBezTo>
                      <a:pt x="41" y="52"/>
                      <a:pt x="38" y="51"/>
                      <a:pt x="36" y="49"/>
                    </a:cubicBezTo>
                    <a:cubicBezTo>
                      <a:pt x="36" y="49"/>
                      <a:pt x="36" y="48"/>
                      <a:pt x="36" y="48"/>
                    </a:cubicBezTo>
                    <a:cubicBezTo>
                      <a:pt x="36" y="47"/>
                      <a:pt x="37" y="47"/>
                      <a:pt x="38" y="47"/>
                    </a:cubicBezTo>
                    <a:cubicBezTo>
                      <a:pt x="40" y="49"/>
                      <a:pt x="42" y="50"/>
                      <a:pt x="44" y="52"/>
                    </a:cubicBezTo>
                    <a:cubicBezTo>
                      <a:pt x="45" y="52"/>
                      <a:pt x="45" y="53"/>
                      <a:pt x="45" y="53"/>
                    </a:cubicBezTo>
                    <a:cubicBezTo>
                      <a:pt x="44" y="54"/>
                      <a:pt x="44" y="54"/>
                      <a:pt x="44" y="54"/>
                    </a:cubicBezTo>
                    <a:moveTo>
                      <a:pt x="57" y="63"/>
                    </a:moveTo>
                    <a:cubicBezTo>
                      <a:pt x="57" y="63"/>
                      <a:pt x="57" y="63"/>
                      <a:pt x="56" y="63"/>
                    </a:cubicBezTo>
                    <a:cubicBezTo>
                      <a:pt x="54" y="61"/>
                      <a:pt x="52" y="60"/>
                      <a:pt x="50" y="58"/>
                    </a:cubicBezTo>
                    <a:cubicBezTo>
                      <a:pt x="49" y="58"/>
                      <a:pt x="49" y="57"/>
                      <a:pt x="49" y="56"/>
                    </a:cubicBezTo>
                    <a:cubicBezTo>
                      <a:pt x="50" y="56"/>
                      <a:pt x="50" y="56"/>
                      <a:pt x="51" y="56"/>
                    </a:cubicBezTo>
                    <a:cubicBezTo>
                      <a:pt x="53" y="58"/>
                      <a:pt x="56" y="59"/>
                      <a:pt x="58" y="61"/>
                    </a:cubicBezTo>
                    <a:cubicBezTo>
                      <a:pt x="58" y="61"/>
                      <a:pt x="58" y="62"/>
                      <a:pt x="58" y="62"/>
                    </a:cubicBezTo>
                    <a:cubicBezTo>
                      <a:pt x="58" y="63"/>
                      <a:pt x="57" y="63"/>
                      <a:pt x="57" y="63"/>
                    </a:cubicBezTo>
                    <a:moveTo>
                      <a:pt x="70" y="72"/>
                    </a:moveTo>
                    <a:cubicBezTo>
                      <a:pt x="70" y="72"/>
                      <a:pt x="70" y="72"/>
                      <a:pt x="69" y="72"/>
                    </a:cubicBezTo>
                    <a:cubicBezTo>
                      <a:pt x="67" y="71"/>
                      <a:pt x="65" y="69"/>
                      <a:pt x="63" y="67"/>
                    </a:cubicBezTo>
                    <a:cubicBezTo>
                      <a:pt x="62" y="67"/>
                      <a:pt x="62" y="66"/>
                      <a:pt x="63" y="66"/>
                    </a:cubicBezTo>
                    <a:cubicBezTo>
                      <a:pt x="63" y="65"/>
                      <a:pt x="64" y="65"/>
                      <a:pt x="64" y="65"/>
                    </a:cubicBezTo>
                    <a:cubicBezTo>
                      <a:pt x="67" y="67"/>
                      <a:pt x="69" y="69"/>
                      <a:pt x="71" y="70"/>
                    </a:cubicBezTo>
                    <a:cubicBezTo>
                      <a:pt x="71" y="71"/>
                      <a:pt x="72" y="71"/>
                      <a:pt x="71" y="72"/>
                    </a:cubicBezTo>
                    <a:cubicBezTo>
                      <a:pt x="71" y="72"/>
                      <a:pt x="71" y="72"/>
                      <a:pt x="70" y="72"/>
                    </a:cubicBezTo>
                    <a:moveTo>
                      <a:pt x="83" y="83"/>
                    </a:moveTo>
                    <a:cubicBezTo>
                      <a:pt x="83" y="83"/>
                      <a:pt x="82" y="82"/>
                      <a:pt x="82" y="82"/>
                    </a:cubicBezTo>
                    <a:cubicBezTo>
                      <a:pt x="80" y="81"/>
                      <a:pt x="78" y="79"/>
                      <a:pt x="76" y="77"/>
                    </a:cubicBezTo>
                    <a:cubicBezTo>
                      <a:pt x="75" y="77"/>
                      <a:pt x="75" y="76"/>
                      <a:pt x="76" y="75"/>
                    </a:cubicBezTo>
                    <a:cubicBezTo>
                      <a:pt x="76" y="75"/>
                      <a:pt x="77" y="75"/>
                      <a:pt x="77" y="75"/>
                    </a:cubicBezTo>
                    <a:cubicBezTo>
                      <a:pt x="80" y="77"/>
                      <a:pt x="82" y="79"/>
                      <a:pt x="84" y="80"/>
                    </a:cubicBezTo>
                    <a:cubicBezTo>
                      <a:pt x="84" y="81"/>
                      <a:pt x="84" y="82"/>
                      <a:pt x="84" y="82"/>
                    </a:cubicBezTo>
                    <a:cubicBezTo>
                      <a:pt x="83" y="82"/>
                      <a:pt x="83" y="83"/>
                      <a:pt x="83" y="83"/>
                    </a:cubicBezTo>
                    <a:moveTo>
                      <a:pt x="94" y="94"/>
                    </a:moveTo>
                    <a:cubicBezTo>
                      <a:pt x="93" y="94"/>
                      <a:pt x="93" y="94"/>
                      <a:pt x="93" y="94"/>
                    </a:cubicBezTo>
                    <a:cubicBezTo>
                      <a:pt x="92" y="92"/>
                      <a:pt x="90" y="90"/>
                      <a:pt x="88" y="88"/>
                    </a:cubicBezTo>
                    <a:cubicBezTo>
                      <a:pt x="87" y="87"/>
                      <a:pt x="87" y="87"/>
                      <a:pt x="88" y="86"/>
                    </a:cubicBezTo>
                    <a:cubicBezTo>
                      <a:pt x="88" y="86"/>
                      <a:pt x="89" y="86"/>
                      <a:pt x="90" y="86"/>
                    </a:cubicBezTo>
                    <a:cubicBezTo>
                      <a:pt x="92" y="89"/>
                      <a:pt x="94" y="91"/>
                      <a:pt x="95" y="93"/>
                    </a:cubicBezTo>
                    <a:cubicBezTo>
                      <a:pt x="95" y="93"/>
                      <a:pt x="95" y="94"/>
                      <a:pt x="94" y="94"/>
                    </a:cubicBezTo>
                    <a:cubicBezTo>
                      <a:pt x="94" y="94"/>
                      <a:pt x="94" y="94"/>
                      <a:pt x="94" y="94"/>
                    </a:cubicBezTo>
                    <a:moveTo>
                      <a:pt x="95" y="110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10"/>
                      <a:pt x="94" y="110"/>
                      <a:pt x="94" y="109"/>
                    </a:cubicBezTo>
                    <a:cubicBezTo>
                      <a:pt x="94" y="106"/>
                      <a:pt x="94" y="103"/>
                      <a:pt x="94" y="101"/>
                    </a:cubicBezTo>
                    <a:cubicBezTo>
                      <a:pt x="94" y="100"/>
                      <a:pt x="94" y="100"/>
                      <a:pt x="95" y="100"/>
                    </a:cubicBezTo>
                    <a:cubicBezTo>
                      <a:pt x="96" y="100"/>
                      <a:pt x="96" y="100"/>
                      <a:pt x="96" y="101"/>
                    </a:cubicBezTo>
                    <a:cubicBezTo>
                      <a:pt x="96" y="103"/>
                      <a:pt x="96" y="106"/>
                      <a:pt x="96" y="109"/>
                    </a:cubicBezTo>
                    <a:cubicBezTo>
                      <a:pt x="96" y="110"/>
                      <a:pt x="95" y="110"/>
                      <a:pt x="95" y="110"/>
                    </a:cubicBezTo>
                    <a:moveTo>
                      <a:pt x="94" y="126"/>
                    </a:moveTo>
                    <a:cubicBezTo>
                      <a:pt x="94" y="126"/>
                      <a:pt x="94" y="126"/>
                      <a:pt x="94" y="126"/>
                    </a:cubicBezTo>
                    <a:cubicBezTo>
                      <a:pt x="93" y="126"/>
                      <a:pt x="93" y="126"/>
                      <a:pt x="93" y="125"/>
                    </a:cubicBezTo>
                    <a:cubicBezTo>
                      <a:pt x="93" y="122"/>
                      <a:pt x="93" y="120"/>
                      <a:pt x="93" y="117"/>
                    </a:cubicBezTo>
                    <a:cubicBezTo>
                      <a:pt x="93" y="116"/>
                      <a:pt x="94" y="116"/>
                      <a:pt x="94" y="116"/>
                    </a:cubicBezTo>
                    <a:cubicBezTo>
                      <a:pt x="95" y="116"/>
                      <a:pt x="95" y="117"/>
                      <a:pt x="95" y="117"/>
                    </a:cubicBezTo>
                    <a:cubicBezTo>
                      <a:pt x="95" y="120"/>
                      <a:pt x="95" y="123"/>
                      <a:pt x="95" y="125"/>
                    </a:cubicBezTo>
                    <a:cubicBezTo>
                      <a:pt x="95" y="126"/>
                      <a:pt x="94" y="126"/>
                      <a:pt x="94" y="126"/>
                    </a:cubicBezTo>
                    <a:moveTo>
                      <a:pt x="93" y="143"/>
                    </a:moveTo>
                    <a:cubicBezTo>
                      <a:pt x="93" y="143"/>
                      <a:pt x="93" y="143"/>
                      <a:pt x="93" y="143"/>
                    </a:cubicBezTo>
                    <a:cubicBezTo>
                      <a:pt x="92" y="143"/>
                      <a:pt x="92" y="142"/>
                      <a:pt x="92" y="141"/>
                    </a:cubicBezTo>
                    <a:cubicBezTo>
                      <a:pt x="92" y="139"/>
                      <a:pt x="92" y="136"/>
                      <a:pt x="92" y="133"/>
                    </a:cubicBezTo>
                    <a:cubicBezTo>
                      <a:pt x="92" y="133"/>
                      <a:pt x="93" y="132"/>
                      <a:pt x="93" y="132"/>
                    </a:cubicBezTo>
                    <a:cubicBezTo>
                      <a:pt x="94" y="132"/>
                      <a:pt x="95" y="133"/>
                      <a:pt x="94" y="133"/>
                    </a:cubicBezTo>
                    <a:cubicBezTo>
                      <a:pt x="94" y="136"/>
                      <a:pt x="94" y="139"/>
                      <a:pt x="94" y="142"/>
                    </a:cubicBezTo>
                    <a:cubicBezTo>
                      <a:pt x="94" y="142"/>
                      <a:pt x="93" y="143"/>
                      <a:pt x="93" y="143"/>
                    </a:cubicBezTo>
                    <a:moveTo>
                      <a:pt x="92" y="159"/>
                    </a:moveTo>
                    <a:cubicBezTo>
                      <a:pt x="92" y="159"/>
                      <a:pt x="92" y="159"/>
                      <a:pt x="92" y="159"/>
                    </a:cubicBezTo>
                    <a:cubicBezTo>
                      <a:pt x="91" y="159"/>
                      <a:pt x="90" y="158"/>
                      <a:pt x="91" y="157"/>
                    </a:cubicBezTo>
                    <a:cubicBezTo>
                      <a:pt x="91" y="155"/>
                      <a:pt x="91" y="152"/>
                      <a:pt x="91" y="149"/>
                    </a:cubicBezTo>
                    <a:cubicBezTo>
                      <a:pt x="91" y="149"/>
                      <a:pt x="92" y="148"/>
                      <a:pt x="92" y="148"/>
                    </a:cubicBezTo>
                    <a:cubicBezTo>
                      <a:pt x="93" y="148"/>
                      <a:pt x="93" y="149"/>
                      <a:pt x="93" y="150"/>
                    </a:cubicBezTo>
                    <a:cubicBezTo>
                      <a:pt x="93" y="152"/>
                      <a:pt x="93" y="155"/>
                      <a:pt x="93" y="158"/>
                    </a:cubicBezTo>
                    <a:cubicBezTo>
                      <a:pt x="93" y="158"/>
                      <a:pt x="92" y="159"/>
                      <a:pt x="92" y="159"/>
                    </a:cubicBezTo>
                    <a:moveTo>
                      <a:pt x="91" y="175"/>
                    </a:moveTo>
                    <a:cubicBezTo>
                      <a:pt x="91" y="175"/>
                      <a:pt x="91" y="175"/>
                      <a:pt x="91" y="175"/>
                    </a:cubicBezTo>
                    <a:cubicBezTo>
                      <a:pt x="90" y="175"/>
                      <a:pt x="89" y="174"/>
                      <a:pt x="89" y="174"/>
                    </a:cubicBezTo>
                    <a:cubicBezTo>
                      <a:pt x="90" y="166"/>
                      <a:pt x="90" y="166"/>
                      <a:pt x="90" y="166"/>
                    </a:cubicBezTo>
                    <a:cubicBezTo>
                      <a:pt x="90" y="165"/>
                      <a:pt x="91" y="164"/>
                      <a:pt x="91" y="164"/>
                    </a:cubicBezTo>
                    <a:cubicBezTo>
                      <a:pt x="92" y="165"/>
                      <a:pt x="92" y="165"/>
                      <a:pt x="92" y="166"/>
                    </a:cubicBezTo>
                    <a:cubicBezTo>
                      <a:pt x="92" y="174"/>
                      <a:pt x="92" y="174"/>
                      <a:pt x="92" y="174"/>
                    </a:cubicBezTo>
                    <a:cubicBezTo>
                      <a:pt x="92" y="174"/>
                      <a:pt x="91" y="175"/>
                      <a:pt x="91" y="175"/>
                    </a:cubicBezTo>
                    <a:moveTo>
                      <a:pt x="89" y="191"/>
                    </a:moveTo>
                    <a:cubicBezTo>
                      <a:pt x="89" y="191"/>
                      <a:pt x="89" y="191"/>
                      <a:pt x="89" y="191"/>
                    </a:cubicBezTo>
                    <a:cubicBezTo>
                      <a:pt x="89" y="191"/>
                      <a:pt x="88" y="190"/>
                      <a:pt x="88" y="190"/>
                    </a:cubicBezTo>
                    <a:cubicBezTo>
                      <a:pt x="89" y="182"/>
                      <a:pt x="89" y="182"/>
                      <a:pt x="89" y="182"/>
                    </a:cubicBezTo>
                    <a:cubicBezTo>
                      <a:pt x="89" y="181"/>
                      <a:pt x="89" y="181"/>
                      <a:pt x="90" y="181"/>
                    </a:cubicBezTo>
                    <a:cubicBezTo>
                      <a:pt x="91" y="181"/>
                      <a:pt x="91" y="181"/>
                      <a:pt x="91" y="182"/>
                    </a:cubicBezTo>
                    <a:cubicBezTo>
                      <a:pt x="91" y="190"/>
                      <a:pt x="91" y="190"/>
                      <a:pt x="91" y="190"/>
                    </a:cubicBezTo>
                    <a:cubicBezTo>
                      <a:pt x="91" y="191"/>
                      <a:pt x="90" y="191"/>
                      <a:pt x="89" y="191"/>
                    </a:cubicBezTo>
                    <a:moveTo>
                      <a:pt x="88" y="207"/>
                    </a:moveTo>
                    <a:cubicBezTo>
                      <a:pt x="88" y="207"/>
                      <a:pt x="88" y="207"/>
                      <a:pt x="88" y="207"/>
                    </a:cubicBezTo>
                    <a:cubicBezTo>
                      <a:pt x="88" y="207"/>
                      <a:pt x="87" y="207"/>
                      <a:pt x="87" y="206"/>
                    </a:cubicBezTo>
                    <a:cubicBezTo>
                      <a:pt x="88" y="198"/>
                      <a:pt x="88" y="198"/>
                      <a:pt x="88" y="198"/>
                    </a:cubicBezTo>
                    <a:cubicBezTo>
                      <a:pt x="88" y="197"/>
                      <a:pt x="88" y="197"/>
                      <a:pt x="89" y="197"/>
                    </a:cubicBezTo>
                    <a:cubicBezTo>
                      <a:pt x="90" y="197"/>
                      <a:pt x="90" y="197"/>
                      <a:pt x="90" y="198"/>
                    </a:cubicBezTo>
                    <a:cubicBezTo>
                      <a:pt x="89" y="206"/>
                      <a:pt x="89" y="206"/>
                      <a:pt x="89" y="206"/>
                    </a:cubicBezTo>
                    <a:cubicBezTo>
                      <a:pt x="89" y="207"/>
                      <a:pt x="89" y="207"/>
                      <a:pt x="88" y="207"/>
                    </a:cubicBezTo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Freeform 131">
                <a:extLst>
                  <a:ext uri="{FF2B5EF4-FFF2-40B4-BE49-F238E27FC236}">
                    <a16:creationId xmlns:a16="http://schemas.microsoft.com/office/drawing/2014/main" id="{858000FC-6EFA-4266-819E-9C6F5CD392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51886" y="4768377"/>
                <a:ext cx="9337" cy="22407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5 h 5"/>
                  <a:gd name="T4" fmla="*/ 2 w 2"/>
                  <a:gd name="T5" fmla="*/ 0 h 5"/>
                  <a:gd name="T6" fmla="*/ 0 w 2"/>
                  <a:gd name="T7" fmla="*/ 5 h 5"/>
                  <a:gd name="T8" fmla="*/ 2 w 2"/>
                  <a:gd name="T9" fmla="*/ 0 h 5"/>
                  <a:gd name="T10" fmla="*/ 2 w 2"/>
                  <a:gd name="T11" fmla="*/ 0 h 5"/>
                  <a:gd name="T12" fmla="*/ 2 w 2"/>
                  <a:gd name="T13" fmla="*/ 0 h 5"/>
                  <a:gd name="T14" fmla="*/ 2 w 2"/>
                  <a:gd name="T15" fmla="*/ 0 h 5"/>
                  <a:gd name="T16" fmla="*/ 2 w 2"/>
                  <a:gd name="T17" fmla="*/ 0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2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176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5" name="Freeform 132">
                <a:extLst>
                  <a:ext uri="{FF2B5EF4-FFF2-40B4-BE49-F238E27FC236}">
                    <a16:creationId xmlns:a16="http://schemas.microsoft.com/office/drawing/2014/main" id="{D87C480D-2C3F-4E41-A8CE-CF8DCB605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58114" y="47553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344E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133">
                <a:extLst>
                  <a:ext uri="{FF2B5EF4-FFF2-40B4-BE49-F238E27FC236}">
                    <a16:creationId xmlns:a16="http://schemas.microsoft.com/office/drawing/2014/main" id="{788B4B27-470C-484B-955E-17FD72A2A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886" y="4738501"/>
                <a:ext cx="328634" cy="84026"/>
              </a:xfrm>
              <a:custGeom>
                <a:avLst/>
                <a:gdLst>
                  <a:gd name="T0" fmla="*/ 19 w 74"/>
                  <a:gd name="T1" fmla="*/ 19 h 19"/>
                  <a:gd name="T2" fmla="*/ 0 w 74"/>
                  <a:gd name="T3" fmla="*/ 12 h 19"/>
                  <a:gd name="T4" fmla="*/ 2 w 74"/>
                  <a:gd name="T5" fmla="*/ 7 h 19"/>
                  <a:gd name="T6" fmla="*/ 2 w 74"/>
                  <a:gd name="T7" fmla="*/ 7 h 19"/>
                  <a:gd name="T8" fmla="*/ 2 w 74"/>
                  <a:gd name="T9" fmla="*/ 7 h 19"/>
                  <a:gd name="T10" fmla="*/ 2 w 74"/>
                  <a:gd name="T11" fmla="*/ 7 h 19"/>
                  <a:gd name="T12" fmla="*/ 2 w 74"/>
                  <a:gd name="T13" fmla="*/ 7 h 19"/>
                  <a:gd name="T14" fmla="*/ 6 w 74"/>
                  <a:gd name="T15" fmla="*/ 0 h 19"/>
                  <a:gd name="T16" fmla="*/ 6 w 74"/>
                  <a:gd name="T17" fmla="*/ 0 h 19"/>
                  <a:gd name="T18" fmla="*/ 6 w 74"/>
                  <a:gd name="T19" fmla="*/ 0 h 19"/>
                  <a:gd name="T20" fmla="*/ 6 w 74"/>
                  <a:gd name="T21" fmla="*/ 0 h 19"/>
                  <a:gd name="T22" fmla="*/ 6 w 74"/>
                  <a:gd name="T23" fmla="*/ 0 h 19"/>
                  <a:gd name="T24" fmla="*/ 6 w 74"/>
                  <a:gd name="T25" fmla="*/ 0 h 19"/>
                  <a:gd name="T26" fmla="*/ 6 w 74"/>
                  <a:gd name="T27" fmla="*/ 0 h 19"/>
                  <a:gd name="T28" fmla="*/ 25 w 74"/>
                  <a:gd name="T29" fmla="*/ 2 h 19"/>
                  <a:gd name="T30" fmla="*/ 24 w 74"/>
                  <a:gd name="T31" fmla="*/ 8 h 19"/>
                  <a:gd name="T32" fmla="*/ 25 w 74"/>
                  <a:gd name="T33" fmla="*/ 9 h 19"/>
                  <a:gd name="T34" fmla="*/ 25 w 74"/>
                  <a:gd name="T35" fmla="*/ 9 h 19"/>
                  <a:gd name="T36" fmla="*/ 26 w 74"/>
                  <a:gd name="T37" fmla="*/ 8 h 19"/>
                  <a:gd name="T38" fmla="*/ 27 w 74"/>
                  <a:gd name="T39" fmla="*/ 2 h 19"/>
                  <a:gd name="T40" fmla="*/ 69 w 74"/>
                  <a:gd name="T41" fmla="*/ 4 h 19"/>
                  <a:gd name="T42" fmla="*/ 69 w 74"/>
                  <a:gd name="T43" fmla="*/ 4 h 19"/>
                  <a:gd name="T44" fmla="*/ 69 w 74"/>
                  <a:gd name="T45" fmla="*/ 4 h 19"/>
                  <a:gd name="T46" fmla="*/ 69 w 74"/>
                  <a:gd name="T47" fmla="*/ 4 h 19"/>
                  <a:gd name="T48" fmla="*/ 69 w 74"/>
                  <a:gd name="T49" fmla="*/ 4 h 19"/>
                  <a:gd name="T50" fmla="*/ 74 w 74"/>
                  <a:gd name="T51" fmla="*/ 9 h 19"/>
                  <a:gd name="T52" fmla="*/ 38 w 74"/>
                  <a:gd name="T53" fmla="*/ 16 h 19"/>
                  <a:gd name="T54" fmla="*/ 27 w 74"/>
                  <a:gd name="T55" fmla="*/ 18 h 19"/>
                  <a:gd name="T56" fmla="*/ 27 w 74"/>
                  <a:gd name="T57" fmla="*/ 16 h 19"/>
                  <a:gd name="T58" fmla="*/ 25 w 74"/>
                  <a:gd name="T59" fmla="*/ 15 h 19"/>
                  <a:gd name="T60" fmla="*/ 25 w 74"/>
                  <a:gd name="T61" fmla="*/ 15 h 19"/>
                  <a:gd name="T62" fmla="*/ 24 w 74"/>
                  <a:gd name="T63" fmla="*/ 16 h 19"/>
                  <a:gd name="T64" fmla="*/ 24 w 74"/>
                  <a:gd name="T65" fmla="*/ 18 h 19"/>
                  <a:gd name="T66" fmla="*/ 19 w 74"/>
                  <a:gd name="T6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19">
                    <a:moveTo>
                      <a:pt x="19" y="19"/>
                    </a:moveTo>
                    <a:cubicBezTo>
                      <a:pt x="11" y="19"/>
                      <a:pt x="5" y="17"/>
                      <a:pt x="0" y="12"/>
                    </a:cubicBezTo>
                    <a:cubicBezTo>
                      <a:pt x="0" y="10"/>
                      <a:pt x="1" y="9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3"/>
                      <a:pt x="5" y="1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5" y="2"/>
                      <a:pt x="25" y="2"/>
                      <a:pt x="25" y="2"/>
                    </a:cubicBezTo>
                    <a:cubicBezTo>
                      <a:pt x="24" y="4"/>
                      <a:pt x="24" y="6"/>
                      <a:pt x="24" y="8"/>
                    </a:cubicBezTo>
                    <a:cubicBezTo>
                      <a:pt x="24" y="9"/>
                      <a:pt x="25" y="9"/>
                      <a:pt x="25" y="9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6" y="9"/>
                      <a:pt x="26" y="9"/>
                      <a:pt x="26" y="8"/>
                    </a:cubicBezTo>
                    <a:cubicBezTo>
                      <a:pt x="27" y="6"/>
                      <a:pt x="27" y="4"/>
                      <a:pt x="27" y="2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70" y="5"/>
                      <a:pt x="71" y="6"/>
                      <a:pt x="74" y="9"/>
                    </a:cubicBezTo>
                    <a:cubicBezTo>
                      <a:pt x="70" y="11"/>
                      <a:pt x="52" y="14"/>
                      <a:pt x="38" y="16"/>
                    </a:cubicBezTo>
                    <a:cubicBezTo>
                      <a:pt x="34" y="17"/>
                      <a:pt x="30" y="18"/>
                      <a:pt x="27" y="18"/>
                    </a:cubicBezTo>
                    <a:cubicBezTo>
                      <a:pt x="27" y="18"/>
                      <a:pt x="27" y="17"/>
                      <a:pt x="27" y="16"/>
                    </a:cubicBezTo>
                    <a:cubicBezTo>
                      <a:pt x="26" y="16"/>
                      <a:pt x="26" y="15"/>
                      <a:pt x="25" y="15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25" y="15"/>
                      <a:pt x="24" y="16"/>
                      <a:pt x="24" y="16"/>
                    </a:cubicBezTo>
                    <a:cubicBezTo>
                      <a:pt x="24" y="17"/>
                      <a:pt x="24" y="18"/>
                      <a:pt x="24" y="18"/>
                    </a:cubicBezTo>
                    <a:cubicBezTo>
                      <a:pt x="22" y="19"/>
                      <a:pt x="21" y="19"/>
                      <a:pt x="19" y="19"/>
                    </a:cubicBezTo>
                  </a:path>
                </a:pathLst>
              </a:custGeom>
              <a:solidFill>
                <a:srgbClr val="EF43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134">
                <a:extLst>
                  <a:ext uri="{FF2B5EF4-FFF2-40B4-BE49-F238E27FC236}">
                    <a16:creationId xmlns:a16="http://schemas.microsoft.com/office/drawing/2014/main" id="{2D99380A-0EF3-490C-BC7F-E17A183282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8318" y="4747838"/>
                <a:ext cx="13071" cy="70955"/>
              </a:xfrm>
              <a:custGeom>
                <a:avLst/>
                <a:gdLst>
                  <a:gd name="T0" fmla="*/ 0 w 3"/>
                  <a:gd name="T1" fmla="*/ 16 h 16"/>
                  <a:gd name="T2" fmla="*/ 0 w 3"/>
                  <a:gd name="T3" fmla="*/ 14 h 16"/>
                  <a:gd name="T4" fmla="*/ 1 w 3"/>
                  <a:gd name="T5" fmla="*/ 13 h 16"/>
                  <a:gd name="T6" fmla="*/ 1 w 3"/>
                  <a:gd name="T7" fmla="*/ 13 h 16"/>
                  <a:gd name="T8" fmla="*/ 3 w 3"/>
                  <a:gd name="T9" fmla="*/ 14 h 16"/>
                  <a:gd name="T10" fmla="*/ 3 w 3"/>
                  <a:gd name="T11" fmla="*/ 16 h 16"/>
                  <a:gd name="T12" fmla="*/ 0 w 3"/>
                  <a:gd name="T13" fmla="*/ 16 h 16"/>
                  <a:gd name="T14" fmla="*/ 1 w 3"/>
                  <a:gd name="T15" fmla="*/ 7 h 16"/>
                  <a:gd name="T16" fmla="*/ 1 w 3"/>
                  <a:gd name="T17" fmla="*/ 7 h 16"/>
                  <a:gd name="T18" fmla="*/ 0 w 3"/>
                  <a:gd name="T19" fmla="*/ 6 h 16"/>
                  <a:gd name="T20" fmla="*/ 1 w 3"/>
                  <a:gd name="T21" fmla="*/ 0 h 16"/>
                  <a:gd name="T22" fmla="*/ 3 w 3"/>
                  <a:gd name="T23" fmla="*/ 0 h 16"/>
                  <a:gd name="T24" fmla="*/ 2 w 3"/>
                  <a:gd name="T25" fmla="*/ 6 h 16"/>
                  <a:gd name="T26" fmla="*/ 1 w 3"/>
                  <a:gd name="T27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" h="16">
                    <a:moveTo>
                      <a:pt x="0" y="16"/>
                    </a:moveTo>
                    <a:cubicBezTo>
                      <a:pt x="0" y="16"/>
                      <a:pt x="0" y="15"/>
                      <a:pt x="0" y="14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2" y="13"/>
                      <a:pt x="2" y="14"/>
                      <a:pt x="3" y="14"/>
                    </a:cubicBezTo>
                    <a:cubicBezTo>
                      <a:pt x="3" y="15"/>
                      <a:pt x="3" y="16"/>
                      <a:pt x="3" y="16"/>
                    </a:cubicBezTo>
                    <a:cubicBezTo>
                      <a:pt x="2" y="16"/>
                      <a:pt x="1" y="16"/>
                      <a:pt x="0" y="16"/>
                    </a:cubicBezTo>
                    <a:moveTo>
                      <a:pt x="1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4"/>
                      <a:pt x="0" y="2"/>
                      <a:pt x="1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2"/>
                      <a:pt x="3" y="4"/>
                      <a:pt x="2" y="6"/>
                    </a:cubicBezTo>
                    <a:cubicBezTo>
                      <a:pt x="2" y="7"/>
                      <a:pt x="2" y="7"/>
                      <a:pt x="1" y="7"/>
                    </a:cubicBezTo>
                  </a:path>
                </a:pathLst>
              </a:custGeom>
              <a:solidFill>
                <a:srgbClr val="EE34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135">
                <a:extLst>
                  <a:ext uri="{FF2B5EF4-FFF2-40B4-BE49-F238E27FC236}">
                    <a16:creationId xmlns:a16="http://schemas.microsoft.com/office/drawing/2014/main" id="{66823473-8DB7-4463-A30A-52997B552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1390" y="4680617"/>
                <a:ext cx="13071" cy="29876"/>
              </a:xfrm>
              <a:custGeom>
                <a:avLst/>
                <a:gdLst>
                  <a:gd name="T0" fmla="*/ 1 w 3"/>
                  <a:gd name="T1" fmla="*/ 7 h 7"/>
                  <a:gd name="T2" fmla="*/ 1 w 3"/>
                  <a:gd name="T3" fmla="*/ 6 h 7"/>
                  <a:gd name="T4" fmla="*/ 0 w 3"/>
                  <a:gd name="T5" fmla="*/ 5 h 7"/>
                  <a:gd name="T6" fmla="*/ 1 w 3"/>
                  <a:gd name="T7" fmla="*/ 1 h 7"/>
                  <a:gd name="T8" fmla="*/ 2 w 3"/>
                  <a:gd name="T9" fmla="*/ 0 h 7"/>
                  <a:gd name="T10" fmla="*/ 3 w 3"/>
                  <a:gd name="T11" fmla="*/ 2 h 7"/>
                  <a:gd name="T12" fmla="*/ 2 w 3"/>
                  <a:gd name="T13" fmla="*/ 6 h 7"/>
                  <a:gd name="T14" fmla="*/ 1 w 3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1" y="7"/>
                    </a:moveTo>
                    <a:cubicBezTo>
                      <a:pt x="1" y="7"/>
                      <a:pt x="1" y="7"/>
                      <a:pt x="1" y="6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3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ubicBezTo>
                      <a:pt x="3" y="2"/>
                      <a:pt x="3" y="3"/>
                      <a:pt x="2" y="6"/>
                    </a:cubicBezTo>
                    <a:cubicBezTo>
                      <a:pt x="2" y="6"/>
                      <a:pt x="1" y="7"/>
                      <a:pt x="1" y="7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136">
                <a:extLst>
                  <a:ext uri="{FF2B5EF4-FFF2-40B4-BE49-F238E27FC236}">
                    <a16:creationId xmlns:a16="http://schemas.microsoft.com/office/drawing/2014/main" id="{8185A705-6834-41E4-A39D-11559B0C0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4838" y="5675856"/>
                <a:ext cx="7469" cy="9337"/>
              </a:xfrm>
              <a:custGeom>
                <a:avLst/>
                <a:gdLst>
                  <a:gd name="T0" fmla="*/ 1 w 2"/>
                  <a:gd name="T1" fmla="*/ 1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1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1" y="1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137">
                <a:extLst>
                  <a:ext uri="{FF2B5EF4-FFF2-40B4-BE49-F238E27FC236}">
                    <a16:creationId xmlns:a16="http://schemas.microsoft.com/office/drawing/2014/main" id="{1DAB8AFB-8B4F-431A-B22B-068F66904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8815" y="4217542"/>
                <a:ext cx="478014" cy="565774"/>
              </a:xfrm>
              <a:custGeom>
                <a:avLst/>
                <a:gdLst>
                  <a:gd name="T0" fmla="*/ 87 w 108"/>
                  <a:gd name="T1" fmla="*/ 0 h 127"/>
                  <a:gd name="T2" fmla="*/ 103 w 108"/>
                  <a:gd name="T3" fmla="*/ 19 h 127"/>
                  <a:gd name="T4" fmla="*/ 103 w 108"/>
                  <a:gd name="T5" fmla="*/ 68 h 127"/>
                  <a:gd name="T6" fmla="*/ 80 w 108"/>
                  <a:gd name="T7" fmla="*/ 125 h 127"/>
                  <a:gd name="T8" fmla="*/ 4 w 108"/>
                  <a:gd name="T9" fmla="*/ 125 h 127"/>
                  <a:gd name="T10" fmla="*/ 45 w 108"/>
                  <a:gd name="T11" fmla="*/ 26 h 127"/>
                  <a:gd name="T12" fmla="*/ 87 w 108"/>
                  <a:gd name="T13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27">
                    <a:moveTo>
                      <a:pt x="87" y="0"/>
                    </a:moveTo>
                    <a:cubicBezTo>
                      <a:pt x="87" y="0"/>
                      <a:pt x="99" y="6"/>
                      <a:pt x="103" y="19"/>
                    </a:cubicBezTo>
                    <a:cubicBezTo>
                      <a:pt x="107" y="32"/>
                      <a:pt x="108" y="59"/>
                      <a:pt x="103" y="68"/>
                    </a:cubicBezTo>
                    <a:cubicBezTo>
                      <a:pt x="98" y="77"/>
                      <a:pt x="87" y="122"/>
                      <a:pt x="80" y="125"/>
                    </a:cubicBezTo>
                    <a:cubicBezTo>
                      <a:pt x="72" y="127"/>
                      <a:pt x="9" y="127"/>
                      <a:pt x="4" y="125"/>
                    </a:cubicBezTo>
                    <a:cubicBezTo>
                      <a:pt x="0" y="124"/>
                      <a:pt x="33" y="50"/>
                      <a:pt x="45" y="26"/>
                    </a:cubicBezTo>
                    <a:cubicBezTo>
                      <a:pt x="56" y="3"/>
                      <a:pt x="87" y="0"/>
                      <a:pt x="8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138">
                <a:extLst>
                  <a:ext uri="{FF2B5EF4-FFF2-40B4-BE49-F238E27FC236}">
                    <a16:creationId xmlns:a16="http://schemas.microsoft.com/office/drawing/2014/main" id="{C05B5FEC-F769-4041-ACE3-DFC7C5994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6867" y="4267957"/>
                <a:ext cx="218468" cy="509757"/>
              </a:xfrm>
              <a:custGeom>
                <a:avLst/>
                <a:gdLst>
                  <a:gd name="T0" fmla="*/ 45 w 49"/>
                  <a:gd name="T1" fmla="*/ 99 h 115"/>
                  <a:gd name="T2" fmla="*/ 47 w 49"/>
                  <a:gd name="T3" fmla="*/ 33 h 115"/>
                  <a:gd name="T4" fmla="*/ 39 w 49"/>
                  <a:gd name="T5" fmla="*/ 4 h 115"/>
                  <a:gd name="T6" fmla="*/ 15 w 49"/>
                  <a:gd name="T7" fmla="*/ 10 h 115"/>
                  <a:gd name="T8" fmla="*/ 11 w 49"/>
                  <a:gd name="T9" fmla="*/ 99 h 115"/>
                  <a:gd name="T10" fmla="*/ 11 w 49"/>
                  <a:gd name="T11" fmla="*/ 99 h 115"/>
                  <a:gd name="T12" fmla="*/ 34 w 49"/>
                  <a:gd name="T13" fmla="*/ 115 h 115"/>
                  <a:gd name="T14" fmla="*/ 42 w 49"/>
                  <a:gd name="T15" fmla="*/ 114 h 115"/>
                  <a:gd name="T16" fmla="*/ 49 w 49"/>
                  <a:gd name="T17" fmla="*/ 102 h 115"/>
                  <a:gd name="T18" fmla="*/ 45 w 49"/>
                  <a:gd name="T19" fmla="*/ 9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115">
                    <a:moveTo>
                      <a:pt x="45" y="99"/>
                    </a:moveTo>
                    <a:cubicBezTo>
                      <a:pt x="39" y="91"/>
                      <a:pt x="45" y="54"/>
                      <a:pt x="47" y="33"/>
                    </a:cubicBezTo>
                    <a:cubicBezTo>
                      <a:pt x="49" y="12"/>
                      <a:pt x="39" y="4"/>
                      <a:pt x="39" y="4"/>
                    </a:cubicBezTo>
                    <a:cubicBezTo>
                      <a:pt x="35" y="0"/>
                      <a:pt x="19" y="0"/>
                      <a:pt x="15" y="10"/>
                    </a:cubicBezTo>
                    <a:cubicBezTo>
                      <a:pt x="13" y="15"/>
                      <a:pt x="0" y="67"/>
                      <a:pt x="11" y="99"/>
                    </a:cubicBezTo>
                    <a:cubicBezTo>
                      <a:pt x="11" y="99"/>
                      <a:pt x="11" y="99"/>
                      <a:pt x="11" y="99"/>
                    </a:cubicBezTo>
                    <a:cubicBezTo>
                      <a:pt x="14" y="109"/>
                      <a:pt x="24" y="115"/>
                      <a:pt x="34" y="115"/>
                    </a:cubicBezTo>
                    <a:cubicBezTo>
                      <a:pt x="38" y="114"/>
                      <a:pt x="40" y="114"/>
                      <a:pt x="42" y="114"/>
                    </a:cubicBezTo>
                    <a:cubicBezTo>
                      <a:pt x="44" y="113"/>
                      <a:pt x="46" y="108"/>
                      <a:pt x="49" y="102"/>
                    </a:cubicBezTo>
                    <a:cubicBezTo>
                      <a:pt x="47" y="101"/>
                      <a:pt x="45" y="100"/>
                      <a:pt x="45" y="99"/>
                    </a:cubicBezTo>
                    <a:close/>
                  </a:path>
                </a:pathLst>
              </a:custGeom>
              <a:solidFill>
                <a:srgbClr val="89BE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139">
                <a:extLst>
                  <a:ext uri="{FF2B5EF4-FFF2-40B4-BE49-F238E27FC236}">
                    <a16:creationId xmlns:a16="http://schemas.microsoft.com/office/drawing/2014/main" id="{6A11E4F6-E5B6-4D6D-B2BE-1E9C322D9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334" y="4129781"/>
                <a:ext cx="100831" cy="328634"/>
              </a:xfrm>
              <a:custGeom>
                <a:avLst/>
                <a:gdLst>
                  <a:gd name="T0" fmla="*/ 23 w 23"/>
                  <a:gd name="T1" fmla="*/ 11 h 74"/>
                  <a:gd name="T2" fmla="*/ 20 w 23"/>
                  <a:gd name="T3" fmla="*/ 16 h 74"/>
                  <a:gd name="T4" fmla="*/ 16 w 23"/>
                  <a:gd name="T5" fmla="*/ 38 h 74"/>
                  <a:gd name="T6" fmla="*/ 19 w 23"/>
                  <a:gd name="T7" fmla="*/ 60 h 74"/>
                  <a:gd name="T8" fmla="*/ 0 w 23"/>
                  <a:gd name="T9" fmla="*/ 20 h 74"/>
                  <a:gd name="T10" fmla="*/ 11 w 23"/>
                  <a:gd name="T11" fmla="*/ 0 h 74"/>
                  <a:gd name="T12" fmla="*/ 23 w 23"/>
                  <a:gd name="T13" fmla="*/ 1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74">
                    <a:moveTo>
                      <a:pt x="23" y="11"/>
                    </a:moveTo>
                    <a:cubicBezTo>
                      <a:pt x="23" y="11"/>
                      <a:pt x="22" y="13"/>
                      <a:pt x="20" y="16"/>
                    </a:cubicBezTo>
                    <a:cubicBezTo>
                      <a:pt x="15" y="22"/>
                      <a:pt x="14" y="30"/>
                      <a:pt x="16" y="38"/>
                    </a:cubicBezTo>
                    <a:cubicBezTo>
                      <a:pt x="17" y="44"/>
                      <a:pt x="19" y="52"/>
                      <a:pt x="19" y="60"/>
                    </a:cubicBezTo>
                    <a:cubicBezTo>
                      <a:pt x="19" y="74"/>
                      <a:pt x="0" y="20"/>
                      <a:pt x="0" y="2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23" y="11"/>
                      <a:pt x="23" y="11"/>
                      <a:pt x="23" y="11"/>
                    </a:cubicBezTo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140">
                <a:extLst>
                  <a:ext uri="{FF2B5EF4-FFF2-40B4-BE49-F238E27FC236}">
                    <a16:creationId xmlns:a16="http://schemas.microsoft.com/office/drawing/2014/main" id="{F506832F-3AE7-4716-8E33-B2754651D6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00024" y="4204471"/>
                <a:ext cx="9337" cy="18672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2 w 2"/>
                  <a:gd name="T5" fmla="*/ 0 h 4"/>
                  <a:gd name="T6" fmla="*/ 0 w 2"/>
                  <a:gd name="T7" fmla="*/ 4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  <a:gd name="T14" fmla="*/ 2 w 2"/>
                  <a:gd name="T15" fmla="*/ 0 h 4"/>
                  <a:gd name="T16" fmla="*/ 2 w 2"/>
                  <a:gd name="T17" fmla="*/ 0 h 4"/>
                  <a:gd name="T18" fmla="*/ 2 w 2"/>
                  <a:gd name="T19" fmla="*/ 0 h 4"/>
                  <a:gd name="T20" fmla="*/ 2 w 2"/>
                  <a:gd name="T21" fmla="*/ 0 h 4"/>
                  <a:gd name="T22" fmla="*/ 2 w 2"/>
                  <a:gd name="T23" fmla="*/ 0 h 4"/>
                  <a:gd name="T24" fmla="*/ 2 w 2"/>
                  <a:gd name="T25" fmla="*/ 0 h 4"/>
                  <a:gd name="T26" fmla="*/ 2 w 2"/>
                  <a:gd name="T27" fmla="*/ 0 h 4"/>
                  <a:gd name="T28" fmla="*/ 2 w 2"/>
                  <a:gd name="T29" fmla="*/ 0 h 4"/>
                  <a:gd name="T30" fmla="*/ 2 w 2"/>
                  <a:gd name="T31" fmla="*/ 0 h 4"/>
                  <a:gd name="T32" fmla="*/ 2 w 2"/>
                  <a:gd name="T33" fmla="*/ 0 h 4"/>
                  <a:gd name="T34" fmla="*/ 2 w 2"/>
                  <a:gd name="T35" fmla="*/ 0 h 4"/>
                  <a:gd name="T36" fmla="*/ 2 w 2"/>
                  <a:gd name="T3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1" y="1"/>
                      <a:pt x="0" y="3"/>
                      <a:pt x="0" y="4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07C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141">
                <a:extLst>
                  <a:ext uri="{FF2B5EF4-FFF2-40B4-BE49-F238E27FC236}">
                    <a16:creationId xmlns:a16="http://schemas.microsoft.com/office/drawing/2014/main" id="{8F1EB2A6-B1D7-4D99-857D-3F5C46912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210" y="4129781"/>
                <a:ext cx="70955" cy="93362"/>
              </a:xfrm>
              <a:custGeom>
                <a:avLst/>
                <a:gdLst>
                  <a:gd name="T0" fmla="*/ 10 w 16"/>
                  <a:gd name="T1" fmla="*/ 21 h 21"/>
                  <a:gd name="T2" fmla="*/ 0 w 16"/>
                  <a:gd name="T3" fmla="*/ 7 h 21"/>
                  <a:gd name="T4" fmla="*/ 4 w 16"/>
                  <a:gd name="T5" fmla="*/ 0 h 21"/>
                  <a:gd name="T6" fmla="*/ 16 w 16"/>
                  <a:gd name="T7" fmla="*/ 11 h 21"/>
                  <a:gd name="T8" fmla="*/ 13 w 16"/>
                  <a:gd name="T9" fmla="*/ 16 h 21"/>
                  <a:gd name="T10" fmla="*/ 13 w 16"/>
                  <a:gd name="T11" fmla="*/ 16 h 21"/>
                  <a:gd name="T12" fmla="*/ 12 w 16"/>
                  <a:gd name="T13" fmla="*/ 17 h 21"/>
                  <a:gd name="T14" fmla="*/ 12 w 16"/>
                  <a:gd name="T15" fmla="*/ 17 h 21"/>
                  <a:gd name="T16" fmla="*/ 12 w 16"/>
                  <a:gd name="T17" fmla="*/ 17 h 21"/>
                  <a:gd name="T18" fmla="*/ 12 w 16"/>
                  <a:gd name="T19" fmla="*/ 17 h 21"/>
                  <a:gd name="T20" fmla="*/ 12 w 16"/>
                  <a:gd name="T21" fmla="*/ 17 h 21"/>
                  <a:gd name="T22" fmla="*/ 12 w 16"/>
                  <a:gd name="T23" fmla="*/ 17 h 21"/>
                  <a:gd name="T24" fmla="*/ 12 w 16"/>
                  <a:gd name="T25" fmla="*/ 17 h 21"/>
                  <a:gd name="T26" fmla="*/ 12 w 16"/>
                  <a:gd name="T27" fmla="*/ 17 h 21"/>
                  <a:gd name="T28" fmla="*/ 12 w 16"/>
                  <a:gd name="T29" fmla="*/ 17 h 21"/>
                  <a:gd name="T30" fmla="*/ 12 w 16"/>
                  <a:gd name="T31" fmla="*/ 17 h 21"/>
                  <a:gd name="T32" fmla="*/ 12 w 16"/>
                  <a:gd name="T33" fmla="*/ 17 h 21"/>
                  <a:gd name="T34" fmla="*/ 10 w 16"/>
                  <a:gd name="T3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21">
                    <a:moveTo>
                      <a:pt x="10" y="21"/>
                    </a:moveTo>
                    <a:cubicBezTo>
                      <a:pt x="6" y="17"/>
                      <a:pt x="2" y="12"/>
                      <a:pt x="0" y="7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11"/>
                      <a:pt x="15" y="13"/>
                      <a:pt x="13" y="16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2" y="16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1" y="18"/>
                      <a:pt x="10" y="20"/>
                      <a:pt x="10" y="21"/>
                    </a:cubicBezTo>
                  </a:path>
                </a:pathLst>
              </a:custGeom>
              <a:solidFill>
                <a:srgbClr val="F159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143">
                <a:extLst>
                  <a:ext uri="{FF2B5EF4-FFF2-40B4-BE49-F238E27FC236}">
                    <a16:creationId xmlns:a16="http://schemas.microsoft.com/office/drawing/2014/main" id="{F5957CCF-115D-4FB0-A957-55BB72801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8075" y="4706759"/>
                <a:ext cx="590048" cy="907479"/>
              </a:xfrm>
              <a:custGeom>
                <a:avLst/>
                <a:gdLst>
                  <a:gd name="T0" fmla="*/ 129 w 133"/>
                  <a:gd name="T1" fmla="*/ 204 h 204"/>
                  <a:gd name="T2" fmla="*/ 126 w 133"/>
                  <a:gd name="T3" fmla="*/ 202 h 204"/>
                  <a:gd name="T4" fmla="*/ 30 w 133"/>
                  <a:gd name="T5" fmla="*/ 28 h 204"/>
                  <a:gd name="T6" fmla="*/ 29 w 133"/>
                  <a:gd name="T7" fmla="*/ 23 h 204"/>
                  <a:gd name="T8" fmla="*/ 29 w 133"/>
                  <a:gd name="T9" fmla="*/ 12 h 204"/>
                  <a:gd name="T10" fmla="*/ 27 w 133"/>
                  <a:gd name="T11" fmla="*/ 8 h 204"/>
                  <a:gd name="T12" fmla="*/ 23 w 133"/>
                  <a:gd name="T13" fmla="*/ 8 h 204"/>
                  <a:gd name="T14" fmla="*/ 6 w 133"/>
                  <a:gd name="T15" fmla="*/ 18 h 204"/>
                  <a:gd name="T16" fmla="*/ 1 w 133"/>
                  <a:gd name="T17" fmla="*/ 17 h 204"/>
                  <a:gd name="T18" fmla="*/ 2 w 133"/>
                  <a:gd name="T19" fmla="*/ 12 h 204"/>
                  <a:gd name="T20" fmla="*/ 19 w 133"/>
                  <a:gd name="T21" fmla="*/ 2 h 204"/>
                  <a:gd name="T22" fmla="*/ 30 w 133"/>
                  <a:gd name="T23" fmla="*/ 2 h 204"/>
                  <a:gd name="T24" fmla="*/ 36 w 133"/>
                  <a:gd name="T25" fmla="*/ 12 h 204"/>
                  <a:gd name="T26" fmla="*/ 36 w 133"/>
                  <a:gd name="T27" fmla="*/ 23 h 204"/>
                  <a:gd name="T28" fmla="*/ 37 w 133"/>
                  <a:gd name="T29" fmla="*/ 25 h 204"/>
                  <a:gd name="T30" fmla="*/ 132 w 133"/>
                  <a:gd name="T31" fmla="*/ 199 h 204"/>
                  <a:gd name="T32" fmla="*/ 131 w 133"/>
                  <a:gd name="T33" fmla="*/ 204 h 204"/>
                  <a:gd name="T34" fmla="*/ 129 w 133"/>
                  <a:gd name="T35" fmla="*/ 20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3" h="204">
                    <a:moveTo>
                      <a:pt x="129" y="204"/>
                    </a:moveTo>
                    <a:cubicBezTo>
                      <a:pt x="128" y="204"/>
                      <a:pt x="127" y="203"/>
                      <a:pt x="126" y="202"/>
                    </a:cubicBezTo>
                    <a:cubicBezTo>
                      <a:pt x="30" y="28"/>
                      <a:pt x="30" y="28"/>
                      <a:pt x="30" y="28"/>
                    </a:cubicBezTo>
                    <a:cubicBezTo>
                      <a:pt x="30" y="27"/>
                      <a:pt x="29" y="25"/>
                      <a:pt x="29" y="23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10"/>
                      <a:pt x="28" y="8"/>
                      <a:pt x="27" y="8"/>
                    </a:cubicBezTo>
                    <a:cubicBezTo>
                      <a:pt x="26" y="8"/>
                      <a:pt x="25" y="7"/>
                      <a:pt x="23" y="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4" y="19"/>
                      <a:pt x="2" y="19"/>
                      <a:pt x="1" y="17"/>
                    </a:cubicBezTo>
                    <a:cubicBezTo>
                      <a:pt x="0" y="15"/>
                      <a:pt x="1" y="13"/>
                      <a:pt x="2" y="1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23" y="0"/>
                      <a:pt x="27" y="0"/>
                      <a:pt x="30" y="2"/>
                    </a:cubicBezTo>
                    <a:cubicBezTo>
                      <a:pt x="34" y="4"/>
                      <a:pt x="36" y="8"/>
                      <a:pt x="36" y="12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6" y="24"/>
                      <a:pt x="36" y="24"/>
                      <a:pt x="37" y="25"/>
                    </a:cubicBezTo>
                    <a:cubicBezTo>
                      <a:pt x="132" y="199"/>
                      <a:pt x="132" y="199"/>
                      <a:pt x="132" y="199"/>
                    </a:cubicBezTo>
                    <a:cubicBezTo>
                      <a:pt x="133" y="200"/>
                      <a:pt x="132" y="203"/>
                      <a:pt x="131" y="204"/>
                    </a:cubicBezTo>
                    <a:cubicBezTo>
                      <a:pt x="130" y="204"/>
                      <a:pt x="130" y="204"/>
                      <a:pt x="129" y="204"/>
                    </a:cubicBezTo>
                    <a:close/>
                  </a:path>
                </a:pathLst>
              </a:custGeom>
              <a:solidFill>
                <a:srgbClr val="FFD3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Oval 144">
                <a:extLst>
                  <a:ext uri="{FF2B5EF4-FFF2-40B4-BE49-F238E27FC236}">
                    <a16:creationId xmlns:a16="http://schemas.microsoft.com/office/drawing/2014/main" id="{C3A016B5-816E-4830-BD3A-CC8537EE13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0903" y="5550751"/>
                <a:ext cx="98964" cy="93362"/>
              </a:xfrm>
              <a:prstGeom prst="ellipse">
                <a:avLst/>
              </a:prstGeom>
              <a:solidFill>
                <a:srgbClr val="C2D0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145">
                <a:extLst>
                  <a:ext uri="{FF2B5EF4-FFF2-40B4-BE49-F238E27FC236}">
                    <a16:creationId xmlns:a16="http://schemas.microsoft.com/office/drawing/2014/main" id="{DC344E00-7DC1-47D1-8475-4A6116200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6203" y="4232480"/>
                <a:ext cx="563907" cy="616189"/>
              </a:xfrm>
              <a:custGeom>
                <a:avLst/>
                <a:gdLst>
                  <a:gd name="T0" fmla="*/ 122 w 127"/>
                  <a:gd name="T1" fmla="*/ 111 h 139"/>
                  <a:gd name="T2" fmla="*/ 101 w 127"/>
                  <a:gd name="T3" fmla="*/ 113 h 139"/>
                  <a:gd name="T4" fmla="*/ 45 w 127"/>
                  <a:gd name="T5" fmla="*/ 99 h 139"/>
                  <a:gd name="T6" fmla="*/ 47 w 127"/>
                  <a:gd name="T7" fmla="*/ 33 h 139"/>
                  <a:gd name="T8" fmla="*/ 39 w 127"/>
                  <a:gd name="T9" fmla="*/ 5 h 139"/>
                  <a:gd name="T10" fmla="*/ 16 w 127"/>
                  <a:gd name="T11" fmla="*/ 10 h 139"/>
                  <a:gd name="T12" fmla="*/ 11 w 127"/>
                  <a:gd name="T13" fmla="*/ 99 h 139"/>
                  <a:gd name="T14" fmla="*/ 104 w 127"/>
                  <a:gd name="T15" fmla="*/ 121 h 139"/>
                  <a:gd name="T16" fmla="*/ 110 w 127"/>
                  <a:gd name="T17" fmla="*/ 125 h 139"/>
                  <a:gd name="T18" fmla="*/ 120 w 127"/>
                  <a:gd name="T19" fmla="*/ 121 h 139"/>
                  <a:gd name="T20" fmla="*/ 122 w 127"/>
                  <a:gd name="T21" fmla="*/ 111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7" h="139">
                    <a:moveTo>
                      <a:pt x="122" y="111"/>
                    </a:moveTo>
                    <a:cubicBezTo>
                      <a:pt x="118" y="106"/>
                      <a:pt x="106" y="111"/>
                      <a:pt x="101" y="113"/>
                    </a:cubicBezTo>
                    <a:cubicBezTo>
                      <a:pt x="98" y="113"/>
                      <a:pt x="50" y="107"/>
                      <a:pt x="45" y="99"/>
                    </a:cubicBezTo>
                    <a:cubicBezTo>
                      <a:pt x="39" y="91"/>
                      <a:pt x="46" y="54"/>
                      <a:pt x="47" y="33"/>
                    </a:cubicBezTo>
                    <a:cubicBezTo>
                      <a:pt x="49" y="13"/>
                      <a:pt x="39" y="5"/>
                      <a:pt x="39" y="5"/>
                    </a:cubicBezTo>
                    <a:cubicBezTo>
                      <a:pt x="35" y="0"/>
                      <a:pt x="19" y="1"/>
                      <a:pt x="16" y="10"/>
                    </a:cubicBezTo>
                    <a:cubicBezTo>
                      <a:pt x="13" y="16"/>
                      <a:pt x="0" y="68"/>
                      <a:pt x="11" y="99"/>
                    </a:cubicBezTo>
                    <a:cubicBezTo>
                      <a:pt x="24" y="139"/>
                      <a:pt x="103" y="121"/>
                      <a:pt x="104" y="121"/>
                    </a:cubicBezTo>
                    <a:cubicBezTo>
                      <a:pt x="106" y="121"/>
                      <a:pt x="108" y="125"/>
                      <a:pt x="110" y="125"/>
                    </a:cubicBezTo>
                    <a:cubicBezTo>
                      <a:pt x="111" y="125"/>
                      <a:pt x="119" y="122"/>
                      <a:pt x="120" y="121"/>
                    </a:cubicBezTo>
                    <a:cubicBezTo>
                      <a:pt x="121" y="120"/>
                      <a:pt x="127" y="115"/>
                      <a:pt x="122" y="111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146">
                <a:extLst>
                  <a:ext uri="{FF2B5EF4-FFF2-40B4-BE49-F238E27FC236}">
                    <a16:creationId xmlns:a16="http://schemas.microsoft.com/office/drawing/2014/main" id="{B329008A-77B8-444C-AF3D-B2E08F669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8404" y="3965464"/>
                <a:ext cx="194193" cy="267016"/>
              </a:xfrm>
              <a:custGeom>
                <a:avLst/>
                <a:gdLst>
                  <a:gd name="T0" fmla="*/ 35 w 44"/>
                  <a:gd name="T1" fmla="*/ 3 h 60"/>
                  <a:gd name="T2" fmla="*/ 43 w 44"/>
                  <a:gd name="T3" fmla="*/ 23 h 60"/>
                  <a:gd name="T4" fmla="*/ 34 w 44"/>
                  <a:gd name="T5" fmla="*/ 58 h 60"/>
                  <a:gd name="T6" fmla="*/ 6 w 44"/>
                  <a:gd name="T7" fmla="*/ 42 h 60"/>
                  <a:gd name="T8" fmla="*/ 18 w 44"/>
                  <a:gd name="T9" fmla="*/ 3 h 60"/>
                  <a:gd name="T10" fmla="*/ 35 w 44"/>
                  <a:gd name="T11" fmla="*/ 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60">
                    <a:moveTo>
                      <a:pt x="35" y="3"/>
                    </a:moveTo>
                    <a:cubicBezTo>
                      <a:pt x="35" y="3"/>
                      <a:pt x="42" y="7"/>
                      <a:pt x="43" y="23"/>
                    </a:cubicBezTo>
                    <a:cubicBezTo>
                      <a:pt x="44" y="40"/>
                      <a:pt x="41" y="57"/>
                      <a:pt x="34" y="58"/>
                    </a:cubicBezTo>
                    <a:cubicBezTo>
                      <a:pt x="28" y="60"/>
                      <a:pt x="11" y="50"/>
                      <a:pt x="6" y="42"/>
                    </a:cubicBezTo>
                    <a:cubicBezTo>
                      <a:pt x="0" y="34"/>
                      <a:pt x="9" y="7"/>
                      <a:pt x="18" y="3"/>
                    </a:cubicBezTo>
                    <a:cubicBezTo>
                      <a:pt x="27" y="0"/>
                      <a:pt x="35" y="3"/>
                      <a:pt x="35" y="3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147">
                <a:extLst>
                  <a:ext uri="{FF2B5EF4-FFF2-40B4-BE49-F238E27FC236}">
                    <a16:creationId xmlns:a16="http://schemas.microsoft.com/office/drawing/2014/main" id="{A75B2071-4EE6-45C8-902C-8614194BF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1848" y="3901978"/>
                <a:ext cx="244609" cy="272617"/>
              </a:xfrm>
              <a:custGeom>
                <a:avLst/>
                <a:gdLst>
                  <a:gd name="T0" fmla="*/ 6 w 55"/>
                  <a:gd name="T1" fmla="*/ 5 h 61"/>
                  <a:gd name="T2" fmla="*/ 0 w 55"/>
                  <a:gd name="T3" fmla="*/ 27 h 61"/>
                  <a:gd name="T4" fmla="*/ 18 w 55"/>
                  <a:gd name="T5" fmla="*/ 59 h 61"/>
                  <a:gd name="T6" fmla="*/ 41 w 55"/>
                  <a:gd name="T7" fmla="*/ 27 h 61"/>
                  <a:gd name="T8" fmla="*/ 54 w 55"/>
                  <a:gd name="T9" fmla="*/ 18 h 61"/>
                  <a:gd name="T10" fmla="*/ 45 w 55"/>
                  <a:gd name="T11" fmla="*/ 4 h 61"/>
                  <a:gd name="T12" fmla="*/ 24 w 55"/>
                  <a:gd name="T13" fmla="*/ 5 h 61"/>
                  <a:gd name="T14" fmla="*/ 6 w 55"/>
                  <a:gd name="T15" fmla="*/ 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61">
                    <a:moveTo>
                      <a:pt x="6" y="5"/>
                    </a:moveTo>
                    <a:cubicBezTo>
                      <a:pt x="4" y="7"/>
                      <a:pt x="0" y="16"/>
                      <a:pt x="0" y="27"/>
                    </a:cubicBezTo>
                    <a:cubicBezTo>
                      <a:pt x="0" y="38"/>
                      <a:pt x="15" y="58"/>
                      <a:pt x="18" y="59"/>
                    </a:cubicBezTo>
                    <a:cubicBezTo>
                      <a:pt x="22" y="61"/>
                      <a:pt x="37" y="51"/>
                      <a:pt x="41" y="27"/>
                    </a:cubicBezTo>
                    <a:cubicBezTo>
                      <a:pt x="42" y="21"/>
                      <a:pt x="54" y="18"/>
                      <a:pt x="54" y="18"/>
                    </a:cubicBezTo>
                    <a:cubicBezTo>
                      <a:pt x="54" y="18"/>
                      <a:pt x="55" y="8"/>
                      <a:pt x="45" y="4"/>
                    </a:cubicBezTo>
                    <a:cubicBezTo>
                      <a:pt x="35" y="0"/>
                      <a:pt x="32" y="7"/>
                      <a:pt x="24" y="5"/>
                    </a:cubicBezTo>
                    <a:cubicBezTo>
                      <a:pt x="16" y="3"/>
                      <a:pt x="10" y="1"/>
                      <a:pt x="6" y="5"/>
                    </a:cubicBezTo>
                    <a:close/>
                  </a:path>
                </a:pathLst>
              </a:custGeom>
              <a:solidFill>
                <a:srgbClr val="221D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148">
                <a:extLst>
                  <a:ext uri="{FF2B5EF4-FFF2-40B4-BE49-F238E27FC236}">
                    <a16:creationId xmlns:a16="http://schemas.microsoft.com/office/drawing/2014/main" id="{C8715896-F44F-43A6-AD6E-1FE3BDA38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7617" y="4058826"/>
                <a:ext cx="54151" cy="65354"/>
              </a:xfrm>
              <a:custGeom>
                <a:avLst/>
                <a:gdLst>
                  <a:gd name="T0" fmla="*/ 11 w 12"/>
                  <a:gd name="T1" fmla="*/ 7 h 15"/>
                  <a:gd name="T2" fmla="*/ 9 w 12"/>
                  <a:gd name="T3" fmla="*/ 0 h 15"/>
                  <a:gd name="T4" fmla="*/ 2 w 12"/>
                  <a:gd name="T5" fmla="*/ 11 h 15"/>
                  <a:gd name="T6" fmla="*/ 10 w 12"/>
                  <a:gd name="T7" fmla="*/ 13 h 15"/>
                  <a:gd name="T8" fmla="*/ 11 w 12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5">
                    <a:moveTo>
                      <a:pt x="11" y="7"/>
                    </a:moveTo>
                    <a:cubicBezTo>
                      <a:pt x="11" y="7"/>
                      <a:pt x="12" y="0"/>
                      <a:pt x="9" y="0"/>
                    </a:cubicBezTo>
                    <a:cubicBezTo>
                      <a:pt x="5" y="0"/>
                      <a:pt x="0" y="8"/>
                      <a:pt x="2" y="11"/>
                    </a:cubicBezTo>
                    <a:cubicBezTo>
                      <a:pt x="5" y="15"/>
                      <a:pt x="10" y="13"/>
                      <a:pt x="10" y="13"/>
                    </a:cubicBezTo>
                    <a:cubicBezTo>
                      <a:pt x="11" y="7"/>
                      <a:pt x="11" y="7"/>
                      <a:pt x="11" y="7"/>
                    </a:cubicBezTo>
                    <a:close/>
                  </a:path>
                </a:pathLst>
              </a:custGeom>
              <a:solidFill>
                <a:srgbClr val="F9A8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149">
                <a:extLst>
                  <a:ext uri="{FF2B5EF4-FFF2-40B4-BE49-F238E27FC236}">
                    <a16:creationId xmlns:a16="http://schemas.microsoft.com/office/drawing/2014/main" id="{A15EDB38-7966-45E9-ADB0-3A98F45D2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9031" y="3894509"/>
                <a:ext cx="239007" cy="309962"/>
              </a:xfrm>
              <a:custGeom>
                <a:avLst/>
                <a:gdLst>
                  <a:gd name="T0" fmla="*/ 27 w 54"/>
                  <a:gd name="T1" fmla="*/ 0 h 70"/>
                  <a:gd name="T2" fmla="*/ 54 w 54"/>
                  <a:gd name="T3" fmla="*/ 14 h 70"/>
                  <a:gd name="T4" fmla="*/ 36 w 54"/>
                  <a:gd name="T5" fmla="*/ 70 h 70"/>
                  <a:gd name="T6" fmla="*/ 44 w 54"/>
                  <a:gd name="T7" fmla="*/ 25 h 70"/>
                  <a:gd name="T8" fmla="*/ 27 w 54"/>
                  <a:gd name="T9" fmla="*/ 28 h 70"/>
                  <a:gd name="T10" fmla="*/ 0 w 54"/>
                  <a:gd name="T11" fmla="*/ 14 h 70"/>
                  <a:gd name="T12" fmla="*/ 27 w 54"/>
                  <a:gd name="T13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70">
                    <a:moveTo>
                      <a:pt x="27" y="0"/>
                    </a:moveTo>
                    <a:cubicBezTo>
                      <a:pt x="42" y="0"/>
                      <a:pt x="54" y="6"/>
                      <a:pt x="54" y="14"/>
                    </a:cubicBezTo>
                    <a:cubicBezTo>
                      <a:pt x="54" y="16"/>
                      <a:pt x="36" y="70"/>
                      <a:pt x="36" y="70"/>
                    </a:cubicBezTo>
                    <a:cubicBezTo>
                      <a:pt x="44" y="25"/>
                      <a:pt x="44" y="25"/>
                      <a:pt x="44" y="25"/>
                    </a:cubicBezTo>
                    <a:cubicBezTo>
                      <a:pt x="39" y="28"/>
                      <a:pt x="34" y="28"/>
                      <a:pt x="27" y="28"/>
                    </a:cubicBezTo>
                    <a:cubicBezTo>
                      <a:pt x="12" y="28"/>
                      <a:pt x="0" y="22"/>
                      <a:pt x="0" y="14"/>
                    </a:cubicBezTo>
                    <a:cubicBezTo>
                      <a:pt x="0" y="6"/>
                      <a:pt x="12" y="0"/>
                      <a:pt x="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150">
                <a:extLst>
                  <a:ext uri="{FF2B5EF4-FFF2-40B4-BE49-F238E27FC236}">
                    <a16:creationId xmlns:a16="http://schemas.microsoft.com/office/drawing/2014/main" id="{D8C0E198-6961-40F0-B5B3-5830C0E712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09986" y="3788077"/>
                <a:ext cx="97096" cy="186724"/>
              </a:xfrm>
              <a:custGeom>
                <a:avLst/>
                <a:gdLst>
                  <a:gd name="T0" fmla="*/ 11 w 22"/>
                  <a:gd name="T1" fmla="*/ 16 h 42"/>
                  <a:gd name="T2" fmla="*/ 6 w 22"/>
                  <a:gd name="T3" fmla="*/ 11 h 42"/>
                  <a:gd name="T4" fmla="*/ 11 w 22"/>
                  <a:gd name="T5" fmla="*/ 6 h 42"/>
                  <a:gd name="T6" fmla="*/ 16 w 22"/>
                  <a:gd name="T7" fmla="*/ 11 h 42"/>
                  <a:gd name="T8" fmla="*/ 11 w 22"/>
                  <a:gd name="T9" fmla="*/ 16 h 42"/>
                  <a:gd name="T10" fmla="*/ 11 w 22"/>
                  <a:gd name="T11" fmla="*/ 0 h 42"/>
                  <a:gd name="T12" fmla="*/ 0 w 22"/>
                  <a:gd name="T13" fmla="*/ 10 h 42"/>
                  <a:gd name="T14" fmla="*/ 11 w 22"/>
                  <a:gd name="T15" fmla="*/ 42 h 42"/>
                  <a:gd name="T16" fmla="*/ 22 w 22"/>
                  <a:gd name="T17" fmla="*/ 10 h 42"/>
                  <a:gd name="T18" fmla="*/ 11 w 22"/>
                  <a:gd name="T1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42">
                    <a:moveTo>
                      <a:pt x="11" y="16"/>
                    </a:moveTo>
                    <a:cubicBezTo>
                      <a:pt x="8" y="16"/>
                      <a:pt x="6" y="14"/>
                      <a:pt x="6" y="11"/>
                    </a:cubicBezTo>
                    <a:cubicBezTo>
                      <a:pt x="6" y="9"/>
                      <a:pt x="8" y="6"/>
                      <a:pt x="11" y="6"/>
                    </a:cubicBezTo>
                    <a:cubicBezTo>
                      <a:pt x="13" y="6"/>
                      <a:pt x="16" y="9"/>
                      <a:pt x="16" y="11"/>
                    </a:cubicBezTo>
                    <a:cubicBezTo>
                      <a:pt x="16" y="14"/>
                      <a:pt x="13" y="16"/>
                      <a:pt x="11" y="16"/>
                    </a:cubicBezTo>
                    <a:close/>
                    <a:moveTo>
                      <a:pt x="11" y="0"/>
                    </a:moveTo>
                    <a:cubicBezTo>
                      <a:pt x="5" y="0"/>
                      <a:pt x="0" y="5"/>
                      <a:pt x="0" y="10"/>
                    </a:cubicBezTo>
                    <a:cubicBezTo>
                      <a:pt x="0" y="16"/>
                      <a:pt x="11" y="42"/>
                      <a:pt x="11" y="42"/>
                    </a:cubicBezTo>
                    <a:cubicBezTo>
                      <a:pt x="11" y="42"/>
                      <a:pt x="22" y="16"/>
                      <a:pt x="22" y="10"/>
                    </a:cubicBezTo>
                    <a:cubicBezTo>
                      <a:pt x="22" y="5"/>
                      <a:pt x="17" y="0"/>
                      <a:pt x="11" y="0"/>
                    </a:cubicBezTo>
                    <a:close/>
                  </a:path>
                </a:pathLst>
              </a:custGeom>
              <a:solidFill>
                <a:srgbClr val="ED20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033166B-87B8-4568-AEE6-ACC4D4F5DD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9598" t="6873" r="12789" b="8263"/>
            <a:stretch/>
          </p:blipFill>
          <p:spPr>
            <a:xfrm>
              <a:off x="3255946" y="3925372"/>
              <a:ext cx="851075" cy="879023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73DADF9F-C4EC-45A0-A27F-552FBFEA50E8}"/>
                </a:ext>
              </a:extLst>
            </p:cNvPr>
            <p:cNvSpPr txBox="1"/>
            <p:nvPr/>
          </p:nvSpPr>
          <p:spPr>
            <a:xfrm>
              <a:off x="2709084" y="3223023"/>
              <a:ext cx="202469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err="1">
                  <a:solidFill>
                    <a:srgbClr val="EF4B35"/>
                  </a:solidFill>
                  <a:latin typeface="Century Gothic" panose="020B0502020202020204" pitchFamily="34" charset="0"/>
                </a:rPr>
                <a:t>Laya</a:t>
              </a:r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b="1" err="1">
                  <a:solidFill>
                    <a:srgbClr val="EF4B35"/>
                  </a:solidFill>
                  <a:latin typeface="Century Gothic" panose="020B0502020202020204" pitchFamily="34" charset="0"/>
                </a:rPr>
                <a:t>Pouresmaeil</a:t>
              </a:r>
              <a:endParaRPr lang="en-US" b="1">
                <a:solidFill>
                  <a:srgbClr val="EF4B35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106C6D4-15AD-48B5-920F-3F4EA7E0E2D3}"/>
              </a:ext>
            </a:extLst>
          </p:cNvPr>
          <p:cNvGrpSpPr/>
          <p:nvPr/>
        </p:nvGrpSpPr>
        <p:grpSpPr>
          <a:xfrm>
            <a:off x="4873004" y="3223426"/>
            <a:ext cx="2288337" cy="3330979"/>
            <a:chOff x="4873004" y="3223426"/>
            <a:chExt cx="2288337" cy="3330979"/>
          </a:xfrm>
        </p:grpSpPr>
        <p:grpSp>
          <p:nvGrpSpPr>
            <p:cNvPr id="554" name="Group 553">
              <a:extLst>
                <a:ext uri="{FF2B5EF4-FFF2-40B4-BE49-F238E27FC236}">
                  <a16:creationId xmlns:a16="http://schemas.microsoft.com/office/drawing/2014/main" id="{438A6156-2303-4125-98A8-3AD16A0B7C16}"/>
                </a:ext>
              </a:extLst>
            </p:cNvPr>
            <p:cNvGrpSpPr/>
            <p:nvPr/>
          </p:nvGrpSpPr>
          <p:grpSpPr>
            <a:xfrm>
              <a:off x="4873004" y="4367245"/>
              <a:ext cx="2288337" cy="2187160"/>
              <a:chOff x="6178550" y="1892300"/>
              <a:chExt cx="3978275" cy="4143375"/>
            </a:xfrm>
          </p:grpSpPr>
          <p:sp>
            <p:nvSpPr>
              <p:cNvPr id="556" name="Freeform 43">
                <a:extLst>
                  <a:ext uri="{FF2B5EF4-FFF2-40B4-BE49-F238E27FC236}">
                    <a16:creationId xmlns:a16="http://schemas.microsoft.com/office/drawing/2014/main" id="{6977389C-3742-4944-984F-CAA9A2225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7513" y="5243513"/>
                <a:ext cx="158750" cy="193675"/>
              </a:xfrm>
              <a:custGeom>
                <a:avLst/>
                <a:gdLst>
                  <a:gd name="T0" fmla="*/ 0 w 100"/>
                  <a:gd name="T1" fmla="*/ 116 h 122"/>
                  <a:gd name="T2" fmla="*/ 92 w 100"/>
                  <a:gd name="T3" fmla="*/ 0 h 122"/>
                  <a:gd name="T4" fmla="*/ 100 w 100"/>
                  <a:gd name="T5" fmla="*/ 6 h 122"/>
                  <a:gd name="T6" fmla="*/ 7 w 100"/>
                  <a:gd name="T7" fmla="*/ 122 h 122"/>
                  <a:gd name="T8" fmla="*/ 0 w 100"/>
                  <a:gd name="T9" fmla="*/ 116 h 122"/>
                  <a:gd name="T10" fmla="*/ 0 w 100"/>
                  <a:gd name="T11" fmla="*/ 11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122">
                    <a:moveTo>
                      <a:pt x="0" y="116"/>
                    </a:moveTo>
                    <a:lnTo>
                      <a:pt x="92" y="0"/>
                    </a:lnTo>
                    <a:lnTo>
                      <a:pt x="100" y="6"/>
                    </a:lnTo>
                    <a:lnTo>
                      <a:pt x="7" y="12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</a:path>
                </a:pathLst>
              </a:custGeom>
              <a:solidFill>
                <a:srgbClr val="D753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44">
                <a:extLst>
                  <a:ext uri="{FF2B5EF4-FFF2-40B4-BE49-F238E27FC236}">
                    <a16:creationId xmlns:a16="http://schemas.microsoft.com/office/drawing/2014/main" id="{34DF0BE0-4924-4140-AEB5-3E0A0A83C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4975" y="5221288"/>
                <a:ext cx="269875" cy="31750"/>
              </a:xfrm>
              <a:custGeom>
                <a:avLst/>
                <a:gdLst>
                  <a:gd name="T0" fmla="*/ 170 w 170"/>
                  <a:gd name="T1" fmla="*/ 20 h 20"/>
                  <a:gd name="T2" fmla="*/ 0 w 170"/>
                  <a:gd name="T3" fmla="*/ 20 h 20"/>
                  <a:gd name="T4" fmla="*/ 0 w 170"/>
                  <a:gd name="T5" fmla="*/ 0 h 20"/>
                  <a:gd name="T6" fmla="*/ 170 w 170"/>
                  <a:gd name="T7" fmla="*/ 0 h 20"/>
                  <a:gd name="T8" fmla="*/ 170 w 170"/>
                  <a:gd name="T9" fmla="*/ 20 h 20"/>
                  <a:gd name="T10" fmla="*/ 170 w 170"/>
                  <a:gd name="T11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0" h="20">
                    <a:moveTo>
                      <a:pt x="170" y="20"/>
                    </a:moveTo>
                    <a:lnTo>
                      <a:pt x="0" y="20"/>
                    </a:lnTo>
                    <a:lnTo>
                      <a:pt x="0" y="0"/>
                    </a:lnTo>
                    <a:lnTo>
                      <a:pt x="170" y="0"/>
                    </a:lnTo>
                    <a:lnTo>
                      <a:pt x="170" y="20"/>
                    </a:lnTo>
                    <a:lnTo>
                      <a:pt x="170" y="20"/>
                    </a:ln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45">
                <a:extLst>
                  <a:ext uri="{FF2B5EF4-FFF2-40B4-BE49-F238E27FC236}">
                    <a16:creationId xmlns:a16="http://schemas.microsoft.com/office/drawing/2014/main" id="{49FFB01E-DA72-4FD7-A489-568AA2F83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5238" y="3671888"/>
                <a:ext cx="230187" cy="180975"/>
              </a:xfrm>
              <a:custGeom>
                <a:avLst/>
                <a:gdLst>
                  <a:gd name="T0" fmla="*/ 25 w 80"/>
                  <a:gd name="T1" fmla="*/ 0 h 63"/>
                  <a:gd name="T2" fmla="*/ 50 w 80"/>
                  <a:gd name="T3" fmla="*/ 2 h 63"/>
                  <a:gd name="T4" fmla="*/ 67 w 80"/>
                  <a:gd name="T5" fmla="*/ 15 h 63"/>
                  <a:gd name="T6" fmla="*/ 80 w 80"/>
                  <a:gd name="T7" fmla="*/ 37 h 63"/>
                  <a:gd name="T8" fmla="*/ 76 w 80"/>
                  <a:gd name="T9" fmla="*/ 43 h 63"/>
                  <a:gd name="T10" fmla="*/ 67 w 80"/>
                  <a:gd name="T11" fmla="*/ 47 h 63"/>
                  <a:gd name="T12" fmla="*/ 59 w 80"/>
                  <a:gd name="T13" fmla="*/ 53 h 63"/>
                  <a:gd name="T14" fmla="*/ 49 w 80"/>
                  <a:gd name="T15" fmla="*/ 58 h 63"/>
                  <a:gd name="T16" fmla="*/ 41 w 80"/>
                  <a:gd name="T17" fmla="*/ 63 h 63"/>
                  <a:gd name="T18" fmla="*/ 31 w 80"/>
                  <a:gd name="T19" fmla="*/ 56 h 63"/>
                  <a:gd name="T20" fmla="*/ 5 w 80"/>
                  <a:gd name="T21" fmla="*/ 28 h 63"/>
                  <a:gd name="T22" fmla="*/ 25 w 80"/>
                  <a:gd name="T2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0" h="63">
                    <a:moveTo>
                      <a:pt x="25" y="0"/>
                    </a:moveTo>
                    <a:cubicBezTo>
                      <a:pt x="25" y="0"/>
                      <a:pt x="47" y="2"/>
                      <a:pt x="50" y="2"/>
                    </a:cubicBezTo>
                    <a:cubicBezTo>
                      <a:pt x="54" y="3"/>
                      <a:pt x="60" y="8"/>
                      <a:pt x="67" y="15"/>
                    </a:cubicBezTo>
                    <a:cubicBezTo>
                      <a:pt x="74" y="22"/>
                      <a:pt x="80" y="35"/>
                      <a:pt x="80" y="37"/>
                    </a:cubicBezTo>
                    <a:cubicBezTo>
                      <a:pt x="79" y="38"/>
                      <a:pt x="80" y="40"/>
                      <a:pt x="76" y="43"/>
                    </a:cubicBezTo>
                    <a:cubicBezTo>
                      <a:pt x="72" y="46"/>
                      <a:pt x="67" y="47"/>
                      <a:pt x="67" y="47"/>
                    </a:cubicBezTo>
                    <a:cubicBezTo>
                      <a:pt x="67" y="47"/>
                      <a:pt x="65" y="53"/>
                      <a:pt x="59" y="53"/>
                    </a:cubicBezTo>
                    <a:cubicBezTo>
                      <a:pt x="59" y="53"/>
                      <a:pt x="56" y="59"/>
                      <a:pt x="49" y="58"/>
                    </a:cubicBezTo>
                    <a:cubicBezTo>
                      <a:pt x="49" y="58"/>
                      <a:pt x="46" y="63"/>
                      <a:pt x="41" y="63"/>
                    </a:cubicBezTo>
                    <a:cubicBezTo>
                      <a:pt x="41" y="63"/>
                      <a:pt x="34" y="57"/>
                      <a:pt x="31" y="56"/>
                    </a:cubicBezTo>
                    <a:cubicBezTo>
                      <a:pt x="28" y="54"/>
                      <a:pt x="15" y="42"/>
                      <a:pt x="5" y="28"/>
                    </a:cubicBezTo>
                    <a:cubicBezTo>
                      <a:pt x="5" y="28"/>
                      <a:pt x="0" y="11"/>
                      <a:pt x="25" y="0"/>
                    </a:cubicBezTo>
                    <a:close/>
                  </a:path>
                </a:pathLst>
              </a:custGeom>
              <a:solidFill>
                <a:srgbClr val="DA9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46">
                <a:extLst>
                  <a:ext uri="{FF2B5EF4-FFF2-40B4-BE49-F238E27FC236}">
                    <a16:creationId xmlns:a16="http://schemas.microsoft.com/office/drawing/2014/main" id="{2913F6F6-C224-41A0-BF90-9E1A82DD81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59838" y="3654425"/>
                <a:ext cx="552450" cy="457200"/>
              </a:xfrm>
              <a:custGeom>
                <a:avLst/>
                <a:gdLst>
                  <a:gd name="T0" fmla="*/ 135 w 192"/>
                  <a:gd name="T1" fmla="*/ 154 h 159"/>
                  <a:gd name="T2" fmla="*/ 130 w 192"/>
                  <a:gd name="T3" fmla="*/ 148 h 159"/>
                  <a:gd name="T4" fmla="*/ 130 w 192"/>
                  <a:gd name="T5" fmla="*/ 148 h 159"/>
                  <a:gd name="T6" fmla="*/ 135 w 192"/>
                  <a:gd name="T7" fmla="*/ 154 h 159"/>
                  <a:gd name="T8" fmla="*/ 139 w 192"/>
                  <a:gd name="T9" fmla="*/ 159 h 159"/>
                  <a:gd name="T10" fmla="*/ 130 w 192"/>
                  <a:gd name="T11" fmla="*/ 148 h 159"/>
                  <a:gd name="T12" fmla="*/ 177 w 192"/>
                  <a:gd name="T13" fmla="*/ 73 h 159"/>
                  <a:gd name="T14" fmla="*/ 162 w 192"/>
                  <a:gd name="T15" fmla="*/ 34 h 159"/>
                  <a:gd name="T16" fmla="*/ 121 w 192"/>
                  <a:gd name="T17" fmla="*/ 14 h 159"/>
                  <a:gd name="T18" fmla="*/ 51 w 192"/>
                  <a:gd name="T19" fmla="*/ 48 h 159"/>
                  <a:gd name="T20" fmla="*/ 51 w 192"/>
                  <a:gd name="T21" fmla="*/ 48 h 159"/>
                  <a:gd name="T22" fmla="*/ 9 w 192"/>
                  <a:gd name="T23" fmla="*/ 86 h 159"/>
                  <a:gd name="T24" fmla="*/ 0 w 192"/>
                  <a:gd name="T25" fmla="*/ 76 h 159"/>
                  <a:gd name="T26" fmla="*/ 41 w 192"/>
                  <a:gd name="T27" fmla="*/ 38 h 159"/>
                  <a:gd name="T28" fmla="*/ 120 w 192"/>
                  <a:gd name="T29" fmla="*/ 0 h 159"/>
                  <a:gd name="T30" fmla="*/ 121 w 192"/>
                  <a:gd name="T31" fmla="*/ 0 h 159"/>
                  <a:gd name="T32" fmla="*/ 172 w 192"/>
                  <a:gd name="T33" fmla="*/ 24 h 159"/>
                  <a:gd name="T34" fmla="*/ 191 w 192"/>
                  <a:gd name="T35" fmla="*/ 74 h 159"/>
                  <a:gd name="T36" fmla="*/ 139 w 192"/>
                  <a:gd name="T37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2" h="159">
                    <a:moveTo>
                      <a:pt x="135" y="154"/>
                    </a:moveTo>
                    <a:cubicBezTo>
                      <a:pt x="130" y="148"/>
                      <a:pt x="130" y="148"/>
                      <a:pt x="130" y="148"/>
                    </a:cubicBezTo>
                    <a:cubicBezTo>
                      <a:pt x="130" y="148"/>
                      <a:pt x="130" y="148"/>
                      <a:pt x="130" y="148"/>
                    </a:cubicBezTo>
                    <a:cubicBezTo>
                      <a:pt x="135" y="154"/>
                      <a:pt x="135" y="154"/>
                      <a:pt x="135" y="154"/>
                    </a:cubicBezTo>
                    <a:close/>
                    <a:moveTo>
                      <a:pt x="139" y="159"/>
                    </a:moveTo>
                    <a:cubicBezTo>
                      <a:pt x="130" y="148"/>
                      <a:pt x="130" y="148"/>
                      <a:pt x="130" y="148"/>
                    </a:cubicBezTo>
                    <a:cubicBezTo>
                      <a:pt x="131" y="148"/>
                      <a:pt x="174" y="112"/>
                      <a:pt x="177" y="73"/>
                    </a:cubicBezTo>
                    <a:cubicBezTo>
                      <a:pt x="178" y="58"/>
                      <a:pt x="173" y="46"/>
                      <a:pt x="162" y="34"/>
                    </a:cubicBezTo>
                    <a:cubicBezTo>
                      <a:pt x="150" y="21"/>
                      <a:pt x="136" y="15"/>
                      <a:pt x="121" y="14"/>
                    </a:cubicBezTo>
                    <a:cubicBezTo>
                      <a:pt x="85" y="14"/>
                      <a:pt x="52" y="48"/>
                      <a:pt x="51" y="48"/>
                    </a:cubicBezTo>
                    <a:cubicBezTo>
                      <a:pt x="51" y="48"/>
                      <a:pt x="51" y="48"/>
                      <a:pt x="51" y="48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4" y="35"/>
                      <a:pt x="80" y="0"/>
                      <a:pt x="120" y="0"/>
                    </a:cubicBezTo>
                    <a:cubicBezTo>
                      <a:pt x="120" y="0"/>
                      <a:pt x="121" y="0"/>
                      <a:pt x="121" y="0"/>
                    </a:cubicBezTo>
                    <a:cubicBezTo>
                      <a:pt x="140" y="0"/>
                      <a:pt x="158" y="8"/>
                      <a:pt x="172" y="24"/>
                    </a:cubicBezTo>
                    <a:cubicBezTo>
                      <a:pt x="186" y="39"/>
                      <a:pt x="192" y="55"/>
                      <a:pt x="191" y="74"/>
                    </a:cubicBezTo>
                    <a:cubicBezTo>
                      <a:pt x="188" y="119"/>
                      <a:pt x="141" y="158"/>
                      <a:pt x="139" y="159"/>
                    </a:cubicBez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47">
                <a:extLst>
                  <a:ext uri="{FF2B5EF4-FFF2-40B4-BE49-F238E27FC236}">
                    <a16:creationId xmlns:a16="http://schemas.microsoft.com/office/drawing/2014/main" id="{1CB9C009-0346-43CA-A409-A6E71D4E9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8575" y="3411538"/>
                <a:ext cx="1096962" cy="1612900"/>
              </a:xfrm>
              <a:custGeom>
                <a:avLst/>
                <a:gdLst>
                  <a:gd name="T0" fmla="*/ 166 w 381"/>
                  <a:gd name="T1" fmla="*/ 73 h 560"/>
                  <a:gd name="T2" fmla="*/ 295 w 381"/>
                  <a:gd name="T3" fmla="*/ 168 h 560"/>
                  <a:gd name="T4" fmla="*/ 373 w 381"/>
                  <a:gd name="T5" fmla="*/ 247 h 560"/>
                  <a:gd name="T6" fmla="*/ 356 w 381"/>
                  <a:gd name="T7" fmla="*/ 307 h 560"/>
                  <a:gd name="T8" fmla="*/ 281 w 381"/>
                  <a:gd name="T9" fmla="*/ 431 h 560"/>
                  <a:gd name="T10" fmla="*/ 209 w 381"/>
                  <a:gd name="T11" fmla="*/ 560 h 560"/>
                  <a:gd name="T12" fmla="*/ 178 w 381"/>
                  <a:gd name="T13" fmla="*/ 553 h 560"/>
                  <a:gd name="T14" fmla="*/ 249 w 381"/>
                  <a:gd name="T15" fmla="*/ 333 h 560"/>
                  <a:gd name="T16" fmla="*/ 274 w 381"/>
                  <a:gd name="T17" fmla="*/ 269 h 560"/>
                  <a:gd name="T18" fmla="*/ 28 w 381"/>
                  <a:gd name="T19" fmla="*/ 152 h 560"/>
                  <a:gd name="T20" fmla="*/ 3 w 381"/>
                  <a:gd name="T21" fmla="*/ 139 h 560"/>
                  <a:gd name="T22" fmla="*/ 50 w 381"/>
                  <a:gd name="T23" fmla="*/ 17 h 560"/>
                  <a:gd name="T24" fmla="*/ 166 w 381"/>
                  <a:gd name="T25" fmla="*/ 73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1" h="560">
                    <a:moveTo>
                      <a:pt x="166" y="73"/>
                    </a:moveTo>
                    <a:cubicBezTo>
                      <a:pt x="166" y="73"/>
                      <a:pt x="271" y="147"/>
                      <a:pt x="295" y="168"/>
                    </a:cubicBezTo>
                    <a:cubicBezTo>
                      <a:pt x="318" y="189"/>
                      <a:pt x="372" y="238"/>
                      <a:pt x="373" y="247"/>
                    </a:cubicBezTo>
                    <a:cubicBezTo>
                      <a:pt x="374" y="255"/>
                      <a:pt x="381" y="268"/>
                      <a:pt x="356" y="307"/>
                    </a:cubicBezTo>
                    <a:cubicBezTo>
                      <a:pt x="332" y="346"/>
                      <a:pt x="288" y="418"/>
                      <a:pt x="281" y="431"/>
                    </a:cubicBezTo>
                    <a:cubicBezTo>
                      <a:pt x="267" y="459"/>
                      <a:pt x="209" y="560"/>
                      <a:pt x="209" y="560"/>
                    </a:cubicBezTo>
                    <a:cubicBezTo>
                      <a:pt x="178" y="553"/>
                      <a:pt x="178" y="553"/>
                      <a:pt x="178" y="553"/>
                    </a:cubicBezTo>
                    <a:cubicBezTo>
                      <a:pt x="178" y="553"/>
                      <a:pt x="214" y="419"/>
                      <a:pt x="249" y="333"/>
                    </a:cubicBezTo>
                    <a:cubicBezTo>
                      <a:pt x="258" y="310"/>
                      <a:pt x="281" y="279"/>
                      <a:pt x="274" y="269"/>
                    </a:cubicBezTo>
                    <a:cubicBezTo>
                      <a:pt x="267" y="259"/>
                      <a:pt x="185" y="238"/>
                      <a:pt x="28" y="152"/>
                    </a:cubicBezTo>
                    <a:cubicBezTo>
                      <a:pt x="12" y="143"/>
                      <a:pt x="0" y="162"/>
                      <a:pt x="3" y="139"/>
                    </a:cubicBezTo>
                    <a:cubicBezTo>
                      <a:pt x="5" y="116"/>
                      <a:pt x="3" y="35"/>
                      <a:pt x="50" y="17"/>
                    </a:cubicBezTo>
                    <a:cubicBezTo>
                      <a:pt x="97" y="0"/>
                      <a:pt x="166" y="73"/>
                      <a:pt x="166" y="73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48">
                <a:extLst>
                  <a:ext uri="{FF2B5EF4-FFF2-40B4-BE49-F238E27FC236}">
                    <a16:creationId xmlns:a16="http://schemas.microsoft.com/office/drawing/2014/main" id="{40D9A477-1C21-4853-AE8B-0F0F655FC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0700" y="4976813"/>
                <a:ext cx="109537" cy="120650"/>
              </a:xfrm>
              <a:custGeom>
                <a:avLst/>
                <a:gdLst>
                  <a:gd name="T0" fmla="*/ 7 w 38"/>
                  <a:gd name="T1" fmla="*/ 7 h 42"/>
                  <a:gd name="T2" fmla="*/ 0 w 38"/>
                  <a:gd name="T3" fmla="*/ 36 h 42"/>
                  <a:gd name="T4" fmla="*/ 33 w 38"/>
                  <a:gd name="T5" fmla="*/ 30 h 42"/>
                  <a:gd name="T6" fmla="*/ 38 w 38"/>
                  <a:gd name="T7" fmla="*/ 16 h 42"/>
                  <a:gd name="T8" fmla="*/ 7 w 38"/>
                  <a:gd name="T9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42">
                    <a:moveTo>
                      <a:pt x="7" y="7"/>
                    </a:moveTo>
                    <a:cubicBezTo>
                      <a:pt x="7" y="7"/>
                      <a:pt x="0" y="29"/>
                      <a:pt x="0" y="36"/>
                    </a:cubicBezTo>
                    <a:cubicBezTo>
                      <a:pt x="1" y="42"/>
                      <a:pt x="33" y="30"/>
                      <a:pt x="33" y="30"/>
                    </a:cubicBezTo>
                    <a:cubicBezTo>
                      <a:pt x="33" y="30"/>
                      <a:pt x="36" y="21"/>
                      <a:pt x="38" y="16"/>
                    </a:cubicBezTo>
                    <a:cubicBezTo>
                      <a:pt x="38" y="16"/>
                      <a:pt x="27" y="0"/>
                      <a:pt x="7" y="7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49">
                <a:extLst>
                  <a:ext uri="{FF2B5EF4-FFF2-40B4-BE49-F238E27FC236}">
                    <a16:creationId xmlns:a16="http://schemas.microsoft.com/office/drawing/2014/main" id="{D5190013-1C78-4B33-9FD7-94C2E51FE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01013" y="5048250"/>
                <a:ext cx="442912" cy="177800"/>
              </a:xfrm>
              <a:custGeom>
                <a:avLst/>
                <a:gdLst>
                  <a:gd name="T0" fmla="*/ 50 w 154"/>
                  <a:gd name="T1" fmla="*/ 0 h 62"/>
                  <a:gd name="T2" fmla="*/ 84 w 154"/>
                  <a:gd name="T3" fmla="*/ 19 h 62"/>
                  <a:gd name="T4" fmla="*/ 138 w 154"/>
                  <a:gd name="T5" fmla="*/ 35 h 62"/>
                  <a:gd name="T6" fmla="*/ 80 w 154"/>
                  <a:gd name="T7" fmla="*/ 60 h 62"/>
                  <a:gd name="T8" fmla="*/ 2 w 154"/>
                  <a:gd name="T9" fmla="*/ 46 h 62"/>
                  <a:gd name="T10" fmla="*/ 11 w 154"/>
                  <a:gd name="T11" fmla="*/ 1 h 62"/>
                  <a:gd name="T12" fmla="*/ 50 w 154"/>
                  <a:gd name="T1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4" h="62">
                    <a:moveTo>
                      <a:pt x="50" y="0"/>
                    </a:moveTo>
                    <a:cubicBezTo>
                      <a:pt x="50" y="0"/>
                      <a:pt x="71" y="19"/>
                      <a:pt x="84" y="19"/>
                    </a:cubicBezTo>
                    <a:cubicBezTo>
                      <a:pt x="97" y="20"/>
                      <a:pt x="137" y="28"/>
                      <a:pt x="138" y="35"/>
                    </a:cubicBezTo>
                    <a:cubicBezTo>
                      <a:pt x="140" y="42"/>
                      <a:pt x="154" y="59"/>
                      <a:pt x="80" y="60"/>
                    </a:cubicBezTo>
                    <a:cubicBezTo>
                      <a:pt x="6" y="62"/>
                      <a:pt x="0" y="60"/>
                      <a:pt x="2" y="46"/>
                    </a:cubicBezTo>
                    <a:cubicBezTo>
                      <a:pt x="3" y="33"/>
                      <a:pt x="9" y="14"/>
                      <a:pt x="11" y="1"/>
                    </a:cubicBezTo>
                    <a:cubicBezTo>
                      <a:pt x="50" y="0"/>
                      <a:pt x="50" y="0"/>
                      <a:pt x="50" y="0"/>
                    </a:cubicBezTo>
                    <a:close/>
                  </a:path>
                </a:pathLst>
              </a:custGeom>
              <a:solidFill>
                <a:srgbClr val="DFCD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50">
                <a:extLst>
                  <a:ext uri="{FF2B5EF4-FFF2-40B4-BE49-F238E27FC236}">
                    <a16:creationId xmlns:a16="http://schemas.microsoft.com/office/drawing/2014/main" id="{30EC9B6A-C359-48BC-A47C-9CFD13D81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8263" y="3735388"/>
                <a:ext cx="142875" cy="123825"/>
              </a:xfrm>
              <a:custGeom>
                <a:avLst/>
                <a:gdLst>
                  <a:gd name="T0" fmla="*/ 49 w 50"/>
                  <a:gd name="T1" fmla="*/ 16 h 43"/>
                  <a:gd name="T2" fmla="*/ 28 w 50"/>
                  <a:gd name="T3" fmla="*/ 2 h 43"/>
                  <a:gd name="T4" fmla="*/ 25 w 50"/>
                  <a:gd name="T5" fmla="*/ 7 h 43"/>
                  <a:gd name="T6" fmla="*/ 14 w 50"/>
                  <a:gd name="T7" fmla="*/ 4 h 43"/>
                  <a:gd name="T8" fmla="*/ 9 w 50"/>
                  <a:gd name="T9" fmla="*/ 14 h 43"/>
                  <a:gd name="T10" fmla="*/ 5 w 50"/>
                  <a:gd name="T11" fmla="*/ 22 h 43"/>
                  <a:gd name="T12" fmla="*/ 1 w 50"/>
                  <a:gd name="T13" fmla="*/ 28 h 43"/>
                  <a:gd name="T14" fmla="*/ 14 w 50"/>
                  <a:gd name="T15" fmla="*/ 42 h 43"/>
                  <a:gd name="T16" fmla="*/ 21 w 50"/>
                  <a:gd name="T17" fmla="*/ 38 h 43"/>
                  <a:gd name="T18" fmla="*/ 31 w 50"/>
                  <a:gd name="T19" fmla="*/ 34 h 43"/>
                  <a:gd name="T20" fmla="*/ 39 w 50"/>
                  <a:gd name="T21" fmla="*/ 28 h 43"/>
                  <a:gd name="T22" fmla="*/ 50 w 50"/>
                  <a:gd name="T23" fmla="*/ 18 h 43"/>
                  <a:gd name="T24" fmla="*/ 49 w 50"/>
                  <a:gd name="T25" fmla="*/ 1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43">
                    <a:moveTo>
                      <a:pt x="49" y="16"/>
                    </a:moveTo>
                    <a:cubicBezTo>
                      <a:pt x="49" y="16"/>
                      <a:pt x="32" y="0"/>
                      <a:pt x="28" y="2"/>
                    </a:cubicBezTo>
                    <a:cubicBezTo>
                      <a:pt x="25" y="5"/>
                      <a:pt x="25" y="7"/>
                      <a:pt x="25" y="7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4"/>
                      <a:pt x="5" y="5"/>
                      <a:pt x="9" y="14"/>
                    </a:cubicBezTo>
                    <a:cubicBezTo>
                      <a:pt x="9" y="14"/>
                      <a:pt x="1" y="14"/>
                      <a:pt x="5" y="22"/>
                    </a:cubicBezTo>
                    <a:cubicBezTo>
                      <a:pt x="5" y="22"/>
                      <a:pt x="0" y="24"/>
                      <a:pt x="1" y="28"/>
                    </a:cubicBezTo>
                    <a:cubicBezTo>
                      <a:pt x="2" y="32"/>
                      <a:pt x="14" y="42"/>
                      <a:pt x="14" y="42"/>
                    </a:cubicBezTo>
                    <a:cubicBezTo>
                      <a:pt x="14" y="42"/>
                      <a:pt x="18" y="43"/>
                      <a:pt x="21" y="38"/>
                    </a:cubicBezTo>
                    <a:cubicBezTo>
                      <a:pt x="21" y="38"/>
                      <a:pt x="28" y="39"/>
                      <a:pt x="31" y="34"/>
                    </a:cubicBezTo>
                    <a:cubicBezTo>
                      <a:pt x="31" y="34"/>
                      <a:pt x="36" y="34"/>
                      <a:pt x="39" y="28"/>
                    </a:cubicBezTo>
                    <a:cubicBezTo>
                      <a:pt x="39" y="28"/>
                      <a:pt x="50" y="27"/>
                      <a:pt x="50" y="18"/>
                    </a:cubicBezTo>
                    <a:cubicBezTo>
                      <a:pt x="50" y="18"/>
                      <a:pt x="50" y="17"/>
                      <a:pt x="49" y="16"/>
                    </a:cubicBezTo>
                    <a:close/>
                  </a:path>
                </a:pathLst>
              </a:custGeom>
              <a:solidFill>
                <a:srgbClr val="DA9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51">
                <a:extLst>
                  <a:ext uri="{FF2B5EF4-FFF2-40B4-BE49-F238E27FC236}">
                    <a16:creationId xmlns:a16="http://schemas.microsoft.com/office/drawing/2014/main" id="{833F9C33-9F9B-47EB-A6AD-34FB4805B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0013" y="3778250"/>
                <a:ext cx="50800" cy="49212"/>
              </a:xfrm>
              <a:custGeom>
                <a:avLst/>
                <a:gdLst>
                  <a:gd name="T0" fmla="*/ 17 w 18"/>
                  <a:gd name="T1" fmla="*/ 17 h 17"/>
                  <a:gd name="T2" fmla="*/ 0 w 18"/>
                  <a:gd name="T3" fmla="*/ 1 h 17"/>
                  <a:gd name="T4" fmla="*/ 1 w 18"/>
                  <a:gd name="T5" fmla="*/ 0 h 17"/>
                  <a:gd name="T6" fmla="*/ 18 w 18"/>
                  <a:gd name="T7" fmla="*/ 16 h 17"/>
                  <a:gd name="T8" fmla="*/ 17 w 18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7">
                    <a:moveTo>
                      <a:pt x="17" y="17"/>
                    </a:moveTo>
                    <a:cubicBezTo>
                      <a:pt x="17" y="17"/>
                      <a:pt x="6" y="8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6" y="7"/>
                      <a:pt x="18" y="16"/>
                      <a:pt x="18" y="16"/>
                    </a:cubicBezTo>
                    <a:cubicBezTo>
                      <a:pt x="17" y="17"/>
                      <a:pt x="17" y="17"/>
                      <a:pt x="17" y="17"/>
                    </a:cubicBezTo>
                    <a:close/>
                  </a:path>
                </a:pathLst>
              </a:custGeom>
              <a:solidFill>
                <a:srgbClr val="A172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52">
                <a:extLst>
                  <a:ext uri="{FF2B5EF4-FFF2-40B4-BE49-F238E27FC236}">
                    <a16:creationId xmlns:a16="http://schemas.microsoft.com/office/drawing/2014/main" id="{7925AEB2-91AC-49B3-8E06-8EB0FC369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77313" y="3806825"/>
                <a:ext cx="38100" cy="34925"/>
              </a:xfrm>
              <a:custGeom>
                <a:avLst/>
                <a:gdLst>
                  <a:gd name="T0" fmla="*/ 12 w 13"/>
                  <a:gd name="T1" fmla="*/ 12 h 12"/>
                  <a:gd name="T2" fmla="*/ 0 w 13"/>
                  <a:gd name="T3" fmla="*/ 0 h 12"/>
                  <a:gd name="T4" fmla="*/ 1 w 13"/>
                  <a:gd name="T5" fmla="*/ 0 h 12"/>
                  <a:gd name="T6" fmla="*/ 13 w 13"/>
                  <a:gd name="T7" fmla="*/ 11 h 12"/>
                  <a:gd name="T8" fmla="*/ 12 w 13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2">
                    <a:moveTo>
                      <a:pt x="12" y="12"/>
                    </a:moveTo>
                    <a:cubicBezTo>
                      <a:pt x="12" y="12"/>
                      <a:pt x="3" y="5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" y="5"/>
                      <a:pt x="13" y="11"/>
                      <a:pt x="13" y="11"/>
                    </a:cubicBezTo>
                    <a:cubicBezTo>
                      <a:pt x="12" y="12"/>
                      <a:pt x="12" y="12"/>
                      <a:pt x="12" y="12"/>
                    </a:cubicBezTo>
                    <a:close/>
                  </a:path>
                </a:pathLst>
              </a:custGeom>
              <a:solidFill>
                <a:srgbClr val="A172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Freeform 53">
                <a:extLst>
                  <a:ext uri="{FF2B5EF4-FFF2-40B4-BE49-F238E27FC236}">
                    <a16:creationId xmlns:a16="http://schemas.microsoft.com/office/drawing/2014/main" id="{9809C87B-2B54-4D07-A7F4-A44BDDBA64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443413"/>
                <a:ext cx="1590675" cy="1592262"/>
              </a:xfrm>
              <a:custGeom>
                <a:avLst/>
                <a:gdLst>
                  <a:gd name="T0" fmla="*/ 277 w 553"/>
                  <a:gd name="T1" fmla="*/ 14 h 553"/>
                  <a:gd name="T2" fmla="*/ 14 w 553"/>
                  <a:gd name="T3" fmla="*/ 277 h 553"/>
                  <a:gd name="T4" fmla="*/ 277 w 553"/>
                  <a:gd name="T5" fmla="*/ 539 h 553"/>
                  <a:gd name="T6" fmla="*/ 539 w 553"/>
                  <a:gd name="T7" fmla="*/ 277 h 553"/>
                  <a:gd name="T8" fmla="*/ 277 w 553"/>
                  <a:gd name="T9" fmla="*/ 14 h 553"/>
                  <a:gd name="T10" fmla="*/ 277 w 553"/>
                  <a:gd name="T11" fmla="*/ 553 h 553"/>
                  <a:gd name="T12" fmla="*/ 169 w 553"/>
                  <a:gd name="T13" fmla="*/ 532 h 553"/>
                  <a:gd name="T14" fmla="*/ 81 w 553"/>
                  <a:gd name="T15" fmla="*/ 472 h 553"/>
                  <a:gd name="T16" fmla="*/ 22 w 553"/>
                  <a:gd name="T17" fmla="*/ 384 h 553"/>
                  <a:gd name="T18" fmla="*/ 0 w 553"/>
                  <a:gd name="T19" fmla="*/ 277 h 553"/>
                  <a:gd name="T20" fmla="*/ 22 w 553"/>
                  <a:gd name="T21" fmla="*/ 169 h 553"/>
                  <a:gd name="T22" fmla="*/ 81 w 553"/>
                  <a:gd name="T23" fmla="*/ 81 h 553"/>
                  <a:gd name="T24" fmla="*/ 169 w 553"/>
                  <a:gd name="T25" fmla="*/ 22 h 553"/>
                  <a:gd name="T26" fmla="*/ 277 w 553"/>
                  <a:gd name="T27" fmla="*/ 0 h 553"/>
                  <a:gd name="T28" fmla="*/ 384 w 553"/>
                  <a:gd name="T29" fmla="*/ 22 h 553"/>
                  <a:gd name="T30" fmla="*/ 472 w 553"/>
                  <a:gd name="T31" fmla="*/ 81 h 553"/>
                  <a:gd name="T32" fmla="*/ 532 w 553"/>
                  <a:gd name="T33" fmla="*/ 169 h 553"/>
                  <a:gd name="T34" fmla="*/ 553 w 553"/>
                  <a:gd name="T35" fmla="*/ 277 h 553"/>
                  <a:gd name="T36" fmla="*/ 532 w 553"/>
                  <a:gd name="T37" fmla="*/ 384 h 553"/>
                  <a:gd name="T38" fmla="*/ 472 w 553"/>
                  <a:gd name="T39" fmla="*/ 472 h 553"/>
                  <a:gd name="T40" fmla="*/ 384 w 553"/>
                  <a:gd name="T41" fmla="*/ 532 h 553"/>
                  <a:gd name="T42" fmla="*/ 277 w 553"/>
                  <a:gd name="T43" fmla="*/ 553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53" h="553">
                    <a:moveTo>
                      <a:pt x="277" y="14"/>
                    </a:moveTo>
                    <a:cubicBezTo>
                      <a:pt x="132" y="14"/>
                      <a:pt x="14" y="132"/>
                      <a:pt x="14" y="277"/>
                    </a:cubicBezTo>
                    <a:cubicBezTo>
                      <a:pt x="14" y="422"/>
                      <a:pt x="132" y="539"/>
                      <a:pt x="277" y="539"/>
                    </a:cubicBezTo>
                    <a:cubicBezTo>
                      <a:pt x="422" y="539"/>
                      <a:pt x="539" y="422"/>
                      <a:pt x="539" y="277"/>
                    </a:cubicBezTo>
                    <a:cubicBezTo>
                      <a:pt x="539" y="132"/>
                      <a:pt x="422" y="14"/>
                      <a:pt x="277" y="14"/>
                    </a:cubicBezTo>
                    <a:close/>
                    <a:moveTo>
                      <a:pt x="277" y="553"/>
                    </a:moveTo>
                    <a:cubicBezTo>
                      <a:pt x="240" y="553"/>
                      <a:pt x="203" y="546"/>
                      <a:pt x="169" y="532"/>
                    </a:cubicBezTo>
                    <a:cubicBezTo>
                      <a:pt x="136" y="518"/>
                      <a:pt x="107" y="498"/>
                      <a:pt x="81" y="472"/>
                    </a:cubicBezTo>
                    <a:cubicBezTo>
                      <a:pt x="56" y="447"/>
                      <a:pt x="36" y="417"/>
                      <a:pt x="22" y="384"/>
                    </a:cubicBezTo>
                    <a:cubicBezTo>
                      <a:pt x="8" y="350"/>
                      <a:pt x="0" y="314"/>
                      <a:pt x="0" y="277"/>
                    </a:cubicBezTo>
                    <a:cubicBezTo>
                      <a:pt x="0" y="240"/>
                      <a:pt x="8" y="203"/>
                      <a:pt x="22" y="169"/>
                    </a:cubicBezTo>
                    <a:cubicBezTo>
                      <a:pt x="36" y="136"/>
                      <a:pt x="56" y="107"/>
                      <a:pt x="81" y="81"/>
                    </a:cubicBezTo>
                    <a:cubicBezTo>
                      <a:pt x="107" y="56"/>
                      <a:pt x="136" y="36"/>
                      <a:pt x="169" y="22"/>
                    </a:cubicBezTo>
                    <a:cubicBezTo>
                      <a:pt x="203" y="8"/>
                      <a:pt x="240" y="0"/>
                      <a:pt x="277" y="0"/>
                    </a:cubicBezTo>
                    <a:cubicBezTo>
                      <a:pt x="314" y="0"/>
                      <a:pt x="350" y="8"/>
                      <a:pt x="384" y="22"/>
                    </a:cubicBezTo>
                    <a:cubicBezTo>
                      <a:pt x="417" y="36"/>
                      <a:pt x="447" y="56"/>
                      <a:pt x="472" y="81"/>
                    </a:cubicBezTo>
                    <a:cubicBezTo>
                      <a:pt x="498" y="107"/>
                      <a:pt x="518" y="136"/>
                      <a:pt x="532" y="169"/>
                    </a:cubicBezTo>
                    <a:cubicBezTo>
                      <a:pt x="546" y="203"/>
                      <a:pt x="553" y="240"/>
                      <a:pt x="553" y="277"/>
                    </a:cubicBezTo>
                    <a:cubicBezTo>
                      <a:pt x="553" y="314"/>
                      <a:pt x="546" y="350"/>
                      <a:pt x="532" y="384"/>
                    </a:cubicBezTo>
                    <a:cubicBezTo>
                      <a:pt x="518" y="417"/>
                      <a:pt x="498" y="447"/>
                      <a:pt x="472" y="472"/>
                    </a:cubicBezTo>
                    <a:cubicBezTo>
                      <a:pt x="447" y="498"/>
                      <a:pt x="417" y="518"/>
                      <a:pt x="384" y="532"/>
                    </a:cubicBezTo>
                    <a:cubicBezTo>
                      <a:pt x="350" y="546"/>
                      <a:pt x="314" y="553"/>
                      <a:pt x="277" y="553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7" name="Freeform 54">
                <a:extLst>
                  <a:ext uri="{FF2B5EF4-FFF2-40B4-BE49-F238E27FC236}">
                    <a16:creationId xmlns:a16="http://schemas.microsoft.com/office/drawing/2014/main" id="{7CFAC9A4-D892-4109-9817-2BC86A7806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1413" y="4486275"/>
                <a:ext cx="1508125" cy="1509712"/>
              </a:xfrm>
              <a:custGeom>
                <a:avLst/>
                <a:gdLst>
                  <a:gd name="T0" fmla="*/ 262 w 524"/>
                  <a:gd name="T1" fmla="*/ 14 h 524"/>
                  <a:gd name="T2" fmla="*/ 14 w 524"/>
                  <a:gd name="T3" fmla="*/ 262 h 524"/>
                  <a:gd name="T4" fmla="*/ 262 w 524"/>
                  <a:gd name="T5" fmla="*/ 510 h 524"/>
                  <a:gd name="T6" fmla="*/ 510 w 524"/>
                  <a:gd name="T7" fmla="*/ 262 h 524"/>
                  <a:gd name="T8" fmla="*/ 262 w 524"/>
                  <a:gd name="T9" fmla="*/ 14 h 524"/>
                  <a:gd name="T10" fmla="*/ 262 w 524"/>
                  <a:gd name="T11" fmla="*/ 524 h 524"/>
                  <a:gd name="T12" fmla="*/ 160 w 524"/>
                  <a:gd name="T13" fmla="*/ 503 h 524"/>
                  <a:gd name="T14" fmla="*/ 77 w 524"/>
                  <a:gd name="T15" fmla="*/ 447 h 524"/>
                  <a:gd name="T16" fmla="*/ 20 w 524"/>
                  <a:gd name="T17" fmla="*/ 364 h 524"/>
                  <a:gd name="T18" fmla="*/ 0 w 524"/>
                  <a:gd name="T19" fmla="*/ 262 h 524"/>
                  <a:gd name="T20" fmla="*/ 20 w 524"/>
                  <a:gd name="T21" fmla="*/ 160 h 524"/>
                  <a:gd name="T22" fmla="*/ 77 w 524"/>
                  <a:gd name="T23" fmla="*/ 76 h 524"/>
                  <a:gd name="T24" fmla="*/ 160 w 524"/>
                  <a:gd name="T25" fmla="*/ 20 h 524"/>
                  <a:gd name="T26" fmla="*/ 262 w 524"/>
                  <a:gd name="T27" fmla="*/ 0 h 524"/>
                  <a:gd name="T28" fmla="*/ 364 w 524"/>
                  <a:gd name="T29" fmla="*/ 20 h 524"/>
                  <a:gd name="T30" fmla="*/ 447 w 524"/>
                  <a:gd name="T31" fmla="*/ 76 h 524"/>
                  <a:gd name="T32" fmla="*/ 503 w 524"/>
                  <a:gd name="T33" fmla="*/ 160 h 524"/>
                  <a:gd name="T34" fmla="*/ 524 w 524"/>
                  <a:gd name="T35" fmla="*/ 262 h 524"/>
                  <a:gd name="T36" fmla="*/ 503 w 524"/>
                  <a:gd name="T37" fmla="*/ 364 h 524"/>
                  <a:gd name="T38" fmla="*/ 447 w 524"/>
                  <a:gd name="T39" fmla="*/ 447 h 524"/>
                  <a:gd name="T40" fmla="*/ 364 w 524"/>
                  <a:gd name="T41" fmla="*/ 503 h 524"/>
                  <a:gd name="T42" fmla="*/ 262 w 524"/>
                  <a:gd name="T43" fmla="*/ 52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24" h="524">
                    <a:moveTo>
                      <a:pt x="262" y="14"/>
                    </a:moveTo>
                    <a:cubicBezTo>
                      <a:pt x="125" y="14"/>
                      <a:pt x="14" y="125"/>
                      <a:pt x="14" y="262"/>
                    </a:cubicBezTo>
                    <a:cubicBezTo>
                      <a:pt x="14" y="399"/>
                      <a:pt x="125" y="510"/>
                      <a:pt x="262" y="510"/>
                    </a:cubicBezTo>
                    <a:cubicBezTo>
                      <a:pt x="399" y="510"/>
                      <a:pt x="510" y="399"/>
                      <a:pt x="510" y="262"/>
                    </a:cubicBezTo>
                    <a:cubicBezTo>
                      <a:pt x="510" y="125"/>
                      <a:pt x="399" y="14"/>
                      <a:pt x="262" y="14"/>
                    </a:cubicBezTo>
                    <a:close/>
                    <a:moveTo>
                      <a:pt x="262" y="524"/>
                    </a:moveTo>
                    <a:cubicBezTo>
                      <a:pt x="226" y="524"/>
                      <a:pt x="192" y="517"/>
                      <a:pt x="160" y="503"/>
                    </a:cubicBezTo>
                    <a:cubicBezTo>
                      <a:pt x="129" y="490"/>
                      <a:pt x="101" y="471"/>
                      <a:pt x="77" y="447"/>
                    </a:cubicBezTo>
                    <a:cubicBezTo>
                      <a:pt x="52" y="423"/>
                      <a:pt x="34" y="395"/>
                      <a:pt x="20" y="364"/>
                    </a:cubicBezTo>
                    <a:cubicBezTo>
                      <a:pt x="7" y="332"/>
                      <a:pt x="0" y="297"/>
                      <a:pt x="0" y="262"/>
                    </a:cubicBezTo>
                    <a:cubicBezTo>
                      <a:pt x="0" y="226"/>
                      <a:pt x="7" y="192"/>
                      <a:pt x="20" y="160"/>
                    </a:cubicBezTo>
                    <a:cubicBezTo>
                      <a:pt x="34" y="129"/>
                      <a:pt x="52" y="101"/>
                      <a:pt x="77" y="76"/>
                    </a:cubicBezTo>
                    <a:cubicBezTo>
                      <a:pt x="101" y="52"/>
                      <a:pt x="129" y="34"/>
                      <a:pt x="160" y="20"/>
                    </a:cubicBezTo>
                    <a:cubicBezTo>
                      <a:pt x="192" y="7"/>
                      <a:pt x="226" y="0"/>
                      <a:pt x="262" y="0"/>
                    </a:cubicBezTo>
                    <a:cubicBezTo>
                      <a:pt x="297" y="0"/>
                      <a:pt x="332" y="7"/>
                      <a:pt x="364" y="20"/>
                    </a:cubicBezTo>
                    <a:cubicBezTo>
                      <a:pt x="395" y="34"/>
                      <a:pt x="423" y="52"/>
                      <a:pt x="447" y="76"/>
                    </a:cubicBezTo>
                    <a:cubicBezTo>
                      <a:pt x="471" y="101"/>
                      <a:pt x="490" y="129"/>
                      <a:pt x="503" y="160"/>
                    </a:cubicBezTo>
                    <a:cubicBezTo>
                      <a:pt x="517" y="192"/>
                      <a:pt x="524" y="226"/>
                      <a:pt x="524" y="262"/>
                    </a:cubicBezTo>
                    <a:cubicBezTo>
                      <a:pt x="524" y="297"/>
                      <a:pt x="517" y="332"/>
                      <a:pt x="503" y="364"/>
                    </a:cubicBezTo>
                    <a:cubicBezTo>
                      <a:pt x="490" y="395"/>
                      <a:pt x="471" y="423"/>
                      <a:pt x="447" y="447"/>
                    </a:cubicBezTo>
                    <a:cubicBezTo>
                      <a:pt x="423" y="471"/>
                      <a:pt x="395" y="490"/>
                      <a:pt x="364" y="503"/>
                    </a:cubicBezTo>
                    <a:cubicBezTo>
                      <a:pt x="332" y="517"/>
                      <a:pt x="297" y="524"/>
                      <a:pt x="262" y="524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55">
                <a:extLst>
                  <a:ext uri="{FF2B5EF4-FFF2-40B4-BE49-F238E27FC236}">
                    <a16:creationId xmlns:a16="http://schemas.microsoft.com/office/drawing/2014/main" id="{DD2A3280-DD27-4F03-A329-F6998EC0E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4288" y="4022725"/>
                <a:ext cx="425450" cy="1425575"/>
              </a:xfrm>
              <a:custGeom>
                <a:avLst/>
                <a:gdLst>
                  <a:gd name="T0" fmla="*/ 243 w 268"/>
                  <a:gd name="T1" fmla="*/ 898 h 898"/>
                  <a:gd name="T2" fmla="*/ 0 w 268"/>
                  <a:gd name="T3" fmla="*/ 6 h 898"/>
                  <a:gd name="T4" fmla="*/ 26 w 268"/>
                  <a:gd name="T5" fmla="*/ 0 h 898"/>
                  <a:gd name="T6" fmla="*/ 268 w 268"/>
                  <a:gd name="T7" fmla="*/ 891 h 898"/>
                  <a:gd name="T8" fmla="*/ 243 w 268"/>
                  <a:gd name="T9" fmla="*/ 898 h 898"/>
                  <a:gd name="T10" fmla="*/ 243 w 268"/>
                  <a:gd name="T11" fmla="*/ 898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8" h="898">
                    <a:moveTo>
                      <a:pt x="243" y="898"/>
                    </a:moveTo>
                    <a:lnTo>
                      <a:pt x="0" y="6"/>
                    </a:lnTo>
                    <a:lnTo>
                      <a:pt x="26" y="0"/>
                    </a:lnTo>
                    <a:lnTo>
                      <a:pt x="268" y="891"/>
                    </a:lnTo>
                    <a:lnTo>
                      <a:pt x="243" y="898"/>
                    </a:lnTo>
                    <a:lnTo>
                      <a:pt x="243" y="898"/>
                    </a:ln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56">
                <a:extLst>
                  <a:ext uri="{FF2B5EF4-FFF2-40B4-BE49-F238E27FC236}">
                    <a16:creationId xmlns:a16="http://schemas.microsoft.com/office/drawing/2014/main" id="{02A826E4-2419-43DA-9A15-2866DCB87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5525" y="3824288"/>
                <a:ext cx="454025" cy="230187"/>
              </a:xfrm>
              <a:custGeom>
                <a:avLst/>
                <a:gdLst>
                  <a:gd name="T0" fmla="*/ 3 w 158"/>
                  <a:gd name="T1" fmla="*/ 25 h 80"/>
                  <a:gd name="T2" fmla="*/ 42 w 158"/>
                  <a:gd name="T3" fmla="*/ 75 h 80"/>
                  <a:gd name="T4" fmla="*/ 158 w 158"/>
                  <a:gd name="T5" fmla="*/ 75 h 80"/>
                  <a:gd name="T6" fmla="*/ 3 w 158"/>
                  <a:gd name="T7" fmla="*/ 2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8" h="80">
                    <a:moveTo>
                      <a:pt x="3" y="25"/>
                    </a:moveTo>
                    <a:cubicBezTo>
                      <a:pt x="3" y="25"/>
                      <a:pt x="0" y="70"/>
                      <a:pt x="42" y="75"/>
                    </a:cubicBezTo>
                    <a:cubicBezTo>
                      <a:pt x="83" y="80"/>
                      <a:pt x="158" y="75"/>
                      <a:pt x="158" y="75"/>
                    </a:cubicBezTo>
                    <a:cubicBezTo>
                      <a:pt x="158" y="75"/>
                      <a:pt x="51" y="0"/>
                      <a:pt x="3" y="25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57">
                <a:extLst>
                  <a:ext uri="{FF2B5EF4-FFF2-40B4-BE49-F238E27FC236}">
                    <a16:creationId xmlns:a16="http://schemas.microsoft.com/office/drawing/2014/main" id="{9DC6D1DD-82B3-4F94-813D-017F06BA7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5963" y="2787650"/>
                <a:ext cx="622300" cy="965200"/>
              </a:xfrm>
              <a:custGeom>
                <a:avLst/>
                <a:gdLst>
                  <a:gd name="T0" fmla="*/ 52 w 216"/>
                  <a:gd name="T1" fmla="*/ 0 h 335"/>
                  <a:gd name="T2" fmla="*/ 105 w 216"/>
                  <a:gd name="T3" fmla="*/ 148 h 335"/>
                  <a:gd name="T4" fmla="*/ 216 w 216"/>
                  <a:gd name="T5" fmla="*/ 307 h 335"/>
                  <a:gd name="T6" fmla="*/ 196 w 216"/>
                  <a:gd name="T7" fmla="*/ 335 h 335"/>
                  <a:gd name="T8" fmla="*/ 65 w 216"/>
                  <a:gd name="T9" fmla="*/ 175 h 335"/>
                  <a:gd name="T10" fmla="*/ 0 w 216"/>
                  <a:gd name="T11" fmla="*/ 19 h 335"/>
                  <a:gd name="T12" fmla="*/ 52 w 216"/>
                  <a:gd name="T13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335">
                    <a:moveTo>
                      <a:pt x="52" y="0"/>
                    </a:moveTo>
                    <a:cubicBezTo>
                      <a:pt x="52" y="0"/>
                      <a:pt x="98" y="133"/>
                      <a:pt x="105" y="148"/>
                    </a:cubicBezTo>
                    <a:cubicBezTo>
                      <a:pt x="113" y="163"/>
                      <a:pt x="216" y="307"/>
                      <a:pt x="216" y="307"/>
                    </a:cubicBezTo>
                    <a:cubicBezTo>
                      <a:pt x="196" y="335"/>
                      <a:pt x="196" y="335"/>
                      <a:pt x="196" y="335"/>
                    </a:cubicBezTo>
                    <a:cubicBezTo>
                      <a:pt x="196" y="335"/>
                      <a:pt x="69" y="183"/>
                      <a:pt x="65" y="175"/>
                    </a:cubicBezTo>
                    <a:cubicBezTo>
                      <a:pt x="60" y="166"/>
                      <a:pt x="0" y="19"/>
                      <a:pt x="0" y="19"/>
                    </a:cubicBezTo>
                    <a:cubicBezTo>
                      <a:pt x="52" y="0"/>
                      <a:pt x="52" y="0"/>
                      <a:pt x="52" y="0"/>
                    </a:cubicBezTo>
                    <a:close/>
                  </a:path>
                </a:pathLst>
              </a:custGeom>
              <a:solidFill>
                <a:srgbClr val="DA9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58">
                <a:extLst>
                  <a:ext uri="{FF2B5EF4-FFF2-40B4-BE49-F238E27FC236}">
                    <a16:creationId xmlns:a16="http://schemas.microsoft.com/office/drawing/2014/main" id="{E12BE7F4-513F-4CBF-AAB7-CF3B8FDD9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5125" y="1892300"/>
                <a:ext cx="417512" cy="606425"/>
              </a:xfrm>
              <a:custGeom>
                <a:avLst/>
                <a:gdLst>
                  <a:gd name="T0" fmla="*/ 82 w 145"/>
                  <a:gd name="T1" fmla="*/ 15 h 211"/>
                  <a:gd name="T2" fmla="*/ 130 w 145"/>
                  <a:gd name="T3" fmla="*/ 124 h 211"/>
                  <a:gd name="T4" fmla="*/ 29 w 145"/>
                  <a:gd name="T5" fmla="*/ 142 h 211"/>
                  <a:gd name="T6" fmla="*/ 82 w 145"/>
                  <a:gd name="T7" fmla="*/ 15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5" h="211">
                    <a:moveTo>
                      <a:pt x="82" y="15"/>
                    </a:moveTo>
                    <a:cubicBezTo>
                      <a:pt x="82" y="15"/>
                      <a:pt x="145" y="40"/>
                      <a:pt x="130" y="124"/>
                    </a:cubicBezTo>
                    <a:cubicBezTo>
                      <a:pt x="115" y="208"/>
                      <a:pt x="58" y="211"/>
                      <a:pt x="29" y="142"/>
                    </a:cubicBezTo>
                    <a:cubicBezTo>
                      <a:pt x="0" y="73"/>
                      <a:pt x="10" y="0"/>
                      <a:pt x="82" y="15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59">
                <a:extLst>
                  <a:ext uri="{FF2B5EF4-FFF2-40B4-BE49-F238E27FC236}">
                    <a16:creationId xmlns:a16="http://schemas.microsoft.com/office/drawing/2014/main" id="{80FD8DC9-A9B9-41F0-8DC0-519C0A5A1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9538" y="2501900"/>
                <a:ext cx="773112" cy="1149350"/>
              </a:xfrm>
              <a:custGeom>
                <a:avLst/>
                <a:gdLst>
                  <a:gd name="T0" fmla="*/ 186 w 269"/>
                  <a:gd name="T1" fmla="*/ 7 h 399"/>
                  <a:gd name="T2" fmla="*/ 248 w 269"/>
                  <a:gd name="T3" fmla="*/ 53 h 399"/>
                  <a:gd name="T4" fmla="*/ 267 w 269"/>
                  <a:gd name="T5" fmla="*/ 144 h 399"/>
                  <a:gd name="T6" fmla="*/ 230 w 269"/>
                  <a:gd name="T7" fmla="*/ 192 h 399"/>
                  <a:gd name="T8" fmla="*/ 198 w 269"/>
                  <a:gd name="T9" fmla="*/ 274 h 399"/>
                  <a:gd name="T10" fmla="*/ 140 w 269"/>
                  <a:gd name="T11" fmla="*/ 367 h 399"/>
                  <a:gd name="T12" fmla="*/ 0 w 269"/>
                  <a:gd name="T13" fmla="*/ 302 h 399"/>
                  <a:gd name="T14" fmla="*/ 40 w 269"/>
                  <a:gd name="T15" fmla="*/ 197 h 399"/>
                  <a:gd name="T16" fmla="*/ 63 w 269"/>
                  <a:gd name="T17" fmla="*/ 67 h 399"/>
                  <a:gd name="T18" fmla="*/ 122 w 269"/>
                  <a:gd name="T19" fmla="*/ 5 h 399"/>
                  <a:gd name="T20" fmla="*/ 186 w 269"/>
                  <a:gd name="T21" fmla="*/ 7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9" h="399">
                    <a:moveTo>
                      <a:pt x="186" y="7"/>
                    </a:moveTo>
                    <a:cubicBezTo>
                      <a:pt x="186" y="7"/>
                      <a:pt x="238" y="39"/>
                      <a:pt x="248" y="53"/>
                    </a:cubicBezTo>
                    <a:cubicBezTo>
                      <a:pt x="269" y="85"/>
                      <a:pt x="267" y="134"/>
                      <a:pt x="267" y="144"/>
                    </a:cubicBezTo>
                    <a:cubicBezTo>
                      <a:pt x="266" y="175"/>
                      <a:pt x="230" y="183"/>
                      <a:pt x="230" y="192"/>
                    </a:cubicBezTo>
                    <a:cubicBezTo>
                      <a:pt x="230" y="201"/>
                      <a:pt x="204" y="249"/>
                      <a:pt x="198" y="274"/>
                    </a:cubicBezTo>
                    <a:cubicBezTo>
                      <a:pt x="192" y="300"/>
                      <a:pt x="140" y="367"/>
                      <a:pt x="140" y="367"/>
                    </a:cubicBezTo>
                    <a:cubicBezTo>
                      <a:pt x="140" y="367"/>
                      <a:pt x="42" y="399"/>
                      <a:pt x="0" y="302"/>
                    </a:cubicBezTo>
                    <a:cubicBezTo>
                      <a:pt x="0" y="302"/>
                      <a:pt x="38" y="232"/>
                      <a:pt x="40" y="197"/>
                    </a:cubicBezTo>
                    <a:cubicBezTo>
                      <a:pt x="47" y="95"/>
                      <a:pt x="55" y="81"/>
                      <a:pt x="63" y="67"/>
                    </a:cubicBezTo>
                    <a:cubicBezTo>
                      <a:pt x="77" y="40"/>
                      <a:pt x="115" y="11"/>
                      <a:pt x="122" y="5"/>
                    </a:cubicBezTo>
                    <a:cubicBezTo>
                      <a:pt x="128" y="0"/>
                      <a:pt x="186" y="7"/>
                      <a:pt x="186" y="7"/>
                    </a:cubicBezTo>
                    <a:close/>
                  </a:path>
                </a:pathLst>
              </a:custGeom>
              <a:solidFill>
                <a:srgbClr val="D5281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60">
                <a:extLst>
                  <a:ext uri="{FF2B5EF4-FFF2-40B4-BE49-F238E27FC236}">
                    <a16:creationId xmlns:a16="http://schemas.microsoft.com/office/drawing/2014/main" id="{DAF7B9E3-3DAD-4EE3-95DC-DF8211453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9400" y="2593975"/>
                <a:ext cx="928687" cy="1219200"/>
              </a:xfrm>
              <a:custGeom>
                <a:avLst/>
                <a:gdLst>
                  <a:gd name="T0" fmla="*/ 31 w 323"/>
                  <a:gd name="T1" fmla="*/ 13 h 423"/>
                  <a:gd name="T2" fmla="*/ 100 w 323"/>
                  <a:gd name="T3" fmla="*/ 57 h 423"/>
                  <a:gd name="T4" fmla="*/ 164 w 323"/>
                  <a:gd name="T5" fmla="*/ 240 h 423"/>
                  <a:gd name="T6" fmla="*/ 323 w 323"/>
                  <a:gd name="T7" fmla="*/ 401 h 423"/>
                  <a:gd name="T8" fmla="*/ 301 w 323"/>
                  <a:gd name="T9" fmla="*/ 423 h 423"/>
                  <a:gd name="T10" fmla="*/ 125 w 323"/>
                  <a:gd name="T11" fmla="*/ 292 h 423"/>
                  <a:gd name="T12" fmla="*/ 24 w 323"/>
                  <a:gd name="T13" fmla="*/ 98 h 423"/>
                  <a:gd name="T14" fmla="*/ 31 w 323"/>
                  <a:gd name="T15" fmla="*/ 1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3" h="423">
                    <a:moveTo>
                      <a:pt x="31" y="13"/>
                    </a:moveTo>
                    <a:cubicBezTo>
                      <a:pt x="43" y="3"/>
                      <a:pt x="87" y="0"/>
                      <a:pt x="100" y="57"/>
                    </a:cubicBezTo>
                    <a:cubicBezTo>
                      <a:pt x="114" y="114"/>
                      <a:pt x="157" y="230"/>
                      <a:pt x="164" y="240"/>
                    </a:cubicBezTo>
                    <a:cubicBezTo>
                      <a:pt x="172" y="251"/>
                      <a:pt x="323" y="401"/>
                      <a:pt x="323" y="401"/>
                    </a:cubicBezTo>
                    <a:cubicBezTo>
                      <a:pt x="301" y="423"/>
                      <a:pt x="301" y="423"/>
                      <a:pt x="301" y="423"/>
                    </a:cubicBezTo>
                    <a:cubicBezTo>
                      <a:pt x="301" y="423"/>
                      <a:pt x="133" y="308"/>
                      <a:pt x="125" y="292"/>
                    </a:cubicBezTo>
                    <a:cubicBezTo>
                      <a:pt x="116" y="276"/>
                      <a:pt x="24" y="109"/>
                      <a:pt x="24" y="98"/>
                    </a:cubicBezTo>
                    <a:cubicBezTo>
                      <a:pt x="23" y="87"/>
                      <a:pt x="0" y="40"/>
                      <a:pt x="31" y="13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61">
                <a:extLst>
                  <a:ext uri="{FF2B5EF4-FFF2-40B4-BE49-F238E27FC236}">
                    <a16:creationId xmlns:a16="http://schemas.microsoft.com/office/drawing/2014/main" id="{1C29740F-E850-4813-AA18-8DBD3FA15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3238" y="2522538"/>
                <a:ext cx="392112" cy="325437"/>
              </a:xfrm>
              <a:custGeom>
                <a:avLst/>
                <a:gdLst>
                  <a:gd name="T0" fmla="*/ 49 w 136"/>
                  <a:gd name="T1" fmla="*/ 0 h 113"/>
                  <a:gd name="T2" fmla="*/ 136 w 136"/>
                  <a:gd name="T3" fmla="*/ 101 h 113"/>
                  <a:gd name="T4" fmla="*/ 106 w 136"/>
                  <a:gd name="T5" fmla="*/ 113 h 113"/>
                  <a:gd name="T6" fmla="*/ 49 w 136"/>
                  <a:gd name="T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6" h="113">
                    <a:moveTo>
                      <a:pt x="49" y="0"/>
                    </a:moveTo>
                    <a:cubicBezTo>
                      <a:pt x="49" y="0"/>
                      <a:pt x="123" y="27"/>
                      <a:pt x="136" y="101"/>
                    </a:cubicBezTo>
                    <a:cubicBezTo>
                      <a:pt x="106" y="113"/>
                      <a:pt x="106" y="113"/>
                      <a:pt x="106" y="113"/>
                    </a:cubicBezTo>
                    <a:cubicBezTo>
                      <a:pt x="106" y="113"/>
                      <a:pt x="0" y="4"/>
                      <a:pt x="49" y="0"/>
                    </a:cubicBezTo>
                    <a:close/>
                  </a:path>
                </a:pathLst>
              </a:custGeom>
              <a:solidFill>
                <a:srgbClr val="D5281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62">
                <a:extLst>
                  <a:ext uri="{FF2B5EF4-FFF2-40B4-BE49-F238E27FC236}">
                    <a16:creationId xmlns:a16="http://schemas.microsoft.com/office/drawing/2014/main" id="{7D7F2640-3A7F-48AA-8681-34C91DC70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4025" y="2286000"/>
                <a:ext cx="261937" cy="403225"/>
              </a:xfrm>
              <a:custGeom>
                <a:avLst/>
                <a:gdLst>
                  <a:gd name="T0" fmla="*/ 55 w 91"/>
                  <a:gd name="T1" fmla="*/ 53 h 140"/>
                  <a:gd name="T2" fmla="*/ 57 w 91"/>
                  <a:gd name="T3" fmla="*/ 79 h 140"/>
                  <a:gd name="T4" fmla="*/ 66 w 91"/>
                  <a:gd name="T5" fmla="*/ 82 h 140"/>
                  <a:gd name="T6" fmla="*/ 63 w 91"/>
                  <a:gd name="T7" fmla="*/ 135 h 140"/>
                  <a:gd name="T8" fmla="*/ 2 w 91"/>
                  <a:gd name="T9" fmla="*/ 80 h 140"/>
                  <a:gd name="T10" fmla="*/ 4 w 91"/>
                  <a:gd name="T11" fmla="*/ 18 h 140"/>
                  <a:gd name="T12" fmla="*/ 55 w 91"/>
                  <a:gd name="T13" fmla="*/ 5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140">
                    <a:moveTo>
                      <a:pt x="55" y="53"/>
                    </a:moveTo>
                    <a:cubicBezTo>
                      <a:pt x="55" y="53"/>
                      <a:pt x="54" y="74"/>
                      <a:pt x="57" y="79"/>
                    </a:cubicBezTo>
                    <a:cubicBezTo>
                      <a:pt x="66" y="82"/>
                      <a:pt x="66" y="82"/>
                      <a:pt x="66" y="82"/>
                    </a:cubicBezTo>
                    <a:cubicBezTo>
                      <a:pt x="66" y="82"/>
                      <a:pt x="91" y="130"/>
                      <a:pt x="63" y="135"/>
                    </a:cubicBezTo>
                    <a:cubicBezTo>
                      <a:pt x="36" y="140"/>
                      <a:pt x="8" y="114"/>
                      <a:pt x="2" y="80"/>
                    </a:cubicBezTo>
                    <a:cubicBezTo>
                      <a:pt x="2" y="80"/>
                      <a:pt x="8" y="35"/>
                      <a:pt x="4" y="18"/>
                    </a:cubicBezTo>
                    <a:cubicBezTo>
                      <a:pt x="0" y="0"/>
                      <a:pt x="55" y="53"/>
                      <a:pt x="55" y="53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64">
                <a:extLst>
                  <a:ext uri="{FF2B5EF4-FFF2-40B4-BE49-F238E27FC236}">
                    <a16:creationId xmlns:a16="http://schemas.microsoft.com/office/drawing/2014/main" id="{BA04EC5B-DF13-446A-8451-2C91DC314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6538" y="2547938"/>
                <a:ext cx="382587" cy="417512"/>
              </a:xfrm>
              <a:custGeom>
                <a:avLst/>
                <a:gdLst>
                  <a:gd name="T0" fmla="*/ 43 w 133"/>
                  <a:gd name="T1" fmla="*/ 145 h 145"/>
                  <a:gd name="T2" fmla="*/ 133 w 133"/>
                  <a:gd name="T3" fmla="*/ 107 h 145"/>
                  <a:gd name="T4" fmla="*/ 49 w 133"/>
                  <a:gd name="T5" fmla="*/ 26 h 145"/>
                  <a:gd name="T6" fmla="*/ 43 w 133"/>
                  <a:gd name="T7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3" h="145">
                    <a:moveTo>
                      <a:pt x="43" y="145"/>
                    </a:moveTo>
                    <a:cubicBezTo>
                      <a:pt x="43" y="145"/>
                      <a:pt x="124" y="107"/>
                      <a:pt x="133" y="107"/>
                    </a:cubicBezTo>
                    <a:cubicBezTo>
                      <a:pt x="133" y="107"/>
                      <a:pt x="116" y="0"/>
                      <a:pt x="49" y="26"/>
                    </a:cubicBezTo>
                    <a:cubicBezTo>
                      <a:pt x="49" y="26"/>
                      <a:pt x="0" y="52"/>
                      <a:pt x="43" y="145"/>
                    </a:cubicBezTo>
                    <a:close/>
                  </a:path>
                </a:pathLst>
              </a:custGeom>
              <a:solidFill>
                <a:srgbClr val="D5281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65">
                <a:extLst>
                  <a:ext uri="{FF2B5EF4-FFF2-40B4-BE49-F238E27FC236}">
                    <a16:creationId xmlns:a16="http://schemas.microsoft.com/office/drawing/2014/main" id="{13DBA49A-D584-4165-9319-445D08A303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94763" y="3703638"/>
                <a:ext cx="555625" cy="457200"/>
              </a:xfrm>
              <a:custGeom>
                <a:avLst/>
                <a:gdLst>
                  <a:gd name="T0" fmla="*/ 135 w 193"/>
                  <a:gd name="T1" fmla="*/ 153 h 159"/>
                  <a:gd name="T2" fmla="*/ 131 w 193"/>
                  <a:gd name="T3" fmla="*/ 148 h 159"/>
                  <a:gd name="T4" fmla="*/ 131 w 193"/>
                  <a:gd name="T5" fmla="*/ 148 h 159"/>
                  <a:gd name="T6" fmla="*/ 135 w 193"/>
                  <a:gd name="T7" fmla="*/ 153 h 159"/>
                  <a:gd name="T8" fmla="*/ 140 w 193"/>
                  <a:gd name="T9" fmla="*/ 159 h 159"/>
                  <a:gd name="T10" fmla="*/ 131 w 193"/>
                  <a:gd name="T11" fmla="*/ 148 h 159"/>
                  <a:gd name="T12" fmla="*/ 177 w 193"/>
                  <a:gd name="T13" fmla="*/ 73 h 159"/>
                  <a:gd name="T14" fmla="*/ 162 w 193"/>
                  <a:gd name="T15" fmla="*/ 33 h 159"/>
                  <a:gd name="T16" fmla="*/ 121 w 193"/>
                  <a:gd name="T17" fmla="*/ 14 h 159"/>
                  <a:gd name="T18" fmla="*/ 52 w 193"/>
                  <a:gd name="T19" fmla="*/ 48 h 159"/>
                  <a:gd name="T20" fmla="*/ 51 w 193"/>
                  <a:gd name="T21" fmla="*/ 48 h 159"/>
                  <a:gd name="T22" fmla="*/ 10 w 193"/>
                  <a:gd name="T23" fmla="*/ 86 h 159"/>
                  <a:gd name="T24" fmla="*/ 0 w 193"/>
                  <a:gd name="T25" fmla="*/ 76 h 159"/>
                  <a:gd name="T26" fmla="*/ 42 w 193"/>
                  <a:gd name="T27" fmla="*/ 38 h 159"/>
                  <a:gd name="T28" fmla="*/ 121 w 193"/>
                  <a:gd name="T29" fmla="*/ 0 h 159"/>
                  <a:gd name="T30" fmla="*/ 121 w 193"/>
                  <a:gd name="T31" fmla="*/ 0 h 159"/>
                  <a:gd name="T32" fmla="*/ 173 w 193"/>
                  <a:gd name="T33" fmla="*/ 24 h 159"/>
                  <a:gd name="T34" fmla="*/ 192 w 193"/>
                  <a:gd name="T35" fmla="*/ 74 h 159"/>
                  <a:gd name="T36" fmla="*/ 140 w 193"/>
                  <a:gd name="T37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3" h="159">
                    <a:moveTo>
                      <a:pt x="135" y="153"/>
                    </a:move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5" y="153"/>
                      <a:pt x="135" y="153"/>
                      <a:pt x="135" y="153"/>
                    </a:cubicBezTo>
                    <a:close/>
                    <a:moveTo>
                      <a:pt x="140" y="159"/>
                    </a:move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1" y="148"/>
                      <a:pt x="175" y="111"/>
                      <a:pt x="177" y="73"/>
                    </a:cubicBezTo>
                    <a:cubicBezTo>
                      <a:pt x="178" y="58"/>
                      <a:pt x="174" y="45"/>
                      <a:pt x="162" y="33"/>
                    </a:cubicBezTo>
                    <a:cubicBezTo>
                      <a:pt x="151" y="21"/>
                      <a:pt x="137" y="14"/>
                      <a:pt x="121" y="14"/>
                    </a:cubicBezTo>
                    <a:cubicBezTo>
                      <a:pt x="86" y="14"/>
                      <a:pt x="52" y="47"/>
                      <a:pt x="52" y="48"/>
                    </a:cubicBezTo>
                    <a:cubicBezTo>
                      <a:pt x="51" y="48"/>
                      <a:pt x="51" y="48"/>
                      <a:pt x="51" y="48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5" y="35"/>
                      <a:pt x="80" y="0"/>
                      <a:pt x="121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41" y="0"/>
                      <a:pt x="158" y="8"/>
                      <a:pt x="173" y="24"/>
                    </a:cubicBezTo>
                    <a:cubicBezTo>
                      <a:pt x="186" y="38"/>
                      <a:pt x="193" y="55"/>
                      <a:pt x="192" y="74"/>
                    </a:cubicBezTo>
                    <a:cubicBezTo>
                      <a:pt x="189" y="119"/>
                      <a:pt x="142" y="157"/>
                      <a:pt x="140" y="159"/>
                    </a:cubicBez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66">
                <a:extLst>
                  <a:ext uri="{FF2B5EF4-FFF2-40B4-BE49-F238E27FC236}">
                    <a16:creationId xmlns:a16="http://schemas.microsoft.com/office/drawing/2014/main" id="{1494C64A-0F81-478A-BE92-A9FF0A106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5913" y="5448300"/>
                <a:ext cx="130175" cy="155575"/>
              </a:xfrm>
              <a:custGeom>
                <a:avLst/>
                <a:gdLst>
                  <a:gd name="T0" fmla="*/ 0 w 82"/>
                  <a:gd name="T1" fmla="*/ 93 h 98"/>
                  <a:gd name="T2" fmla="*/ 75 w 82"/>
                  <a:gd name="T3" fmla="*/ 0 h 98"/>
                  <a:gd name="T4" fmla="*/ 82 w 82"/>
                  <a:gd name="T5" fmla="*/ 6 h 98"/>
                  <a:gd name="T6" fmla="*/ 8 w 82"/>
                  <a:gd name="T7" fmla="*/ 98 h 98"/>
                  <a:gd name="T8" fmla="*/ 0 w 82"/>
                  <a:gd name="T9" fmla="*/ 93 h 98"/>
                  <a:gd name="T10" fmla="*/ 0 w 82"/>
                  <a:gd name="T11" fmla="*/ 9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98">
                    <a:moveTo>
                      <a:pt x="0" y="93"/>
                    </a:moveTo>
                    <a:lnTo>
                      <a:pt x="75" y="0"/>
                    </a:lnTo>
                    <a:lnTo>
                      <a:pt x="82" y="6"/>
                    </a:lnTo>
                    <a:lnTo>
                      <a:pt x="8" y="98"/>
                    </a:lnTo>
                    <a:lnTo>
                      <a:pt x="0" y="93"/>
                    </a:lnTo>
                    <a:lnTo>
                      <a:pt x="0" y="93"/>
                    </a:lnTo>
                    <a:close/>
                  </a:path>
                </a:pathLst>
              </a:custGeom>
              <a:solidFill>
                <a:srgbClr val="7BA2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67">
                <a:extLst>
                  <a:ext uri="{FF2B5EF4-FFF2-40B4-BE49-F238E27FC236}">
                    <a16:creationId xmlns:a16="http://schemas.microsoft.com/office/drawing/2014/main" id="{5BECBDD1-B879-4F7A-B646-75C4DDBA8B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66150" y="4443413"/>
                <a:ext cx="1590675" cy="1592262"/>
              </a:xfrm>
              <a:custGeom>
                <a:avLst/>
                <a:gdLst>
                  <a:gd name="T0" fmla="*/ 276 w 553"/>
                  <a:gd name="T1" fmla="*/ 14 h 553"/>
                  <a:gd name="T2" fmla="*/ 14 w 553"/>
                  <a:gd name="T3" fmla="*/ 277 h 553"/>
                  <a:gd name="T4" fmla="*/ 276 w 553"/>
                  <a:gd name="T5" fmla="*/ 539 h 553"/>
                  <a:gd name="T6" fmla="*/ 539 w 553"/>
                  <a:gd name="T7" fmla="*/ 277 h 553"/>
                  <a:gd name="T8" fmla="*/ 276 w 553"/>
                  <a:gd name="T9" fmla="*/ 14 h 553"/>
                  <a:gd name="T10" fmla="*/ 276 w 553"/>
                  <a:gd name="T11" fmla="*/ 553 h 553"/>
                  <a:gd name="T12" fmla="*/ 169 w 553"/>
                  <a:gd name="T13" fmla="*/ 532 h 553"/>
                  <a:gd name="T14" fmla="*/ 81 w 553"/>
                  <a:gd name="T15" fmla="*/ 472 h 553"/>
                  <a:gd name="T16" fmla="*/ 22 w 553"/>
                  <a:gd name="T17" fmla="*/ 384 h 553"/>
                  <a:gd name="T18" fmla="*/ 0 w 553"/>
                  <a:gd name="T19" fmla="*/ 277 h 553"/>
                  <a:gd name="T20" fmla="*/ 22 w 553"/>
                  <a:gd name="T21" fmla="*/ 169 h 553"/>
                  <a:gd name="T22" fmla="*/ 81 w 553"/>
                  <a:gd name="T23" fmla="*/ 81 h 553"/>
                  <a:gd name="T24" fmla="*/ 169 w 553"/>
                  <a:gd name="T25" fmla="*/ 22 h 553"/>
                  <a:gd name="T26" fmla="*/ 276 w 553"/>
                  <a:gd name="T27" fmla="*/ 0 h 553"/>
                  <a:gd name="T28" fmla="*/ 384 w 553"/>
                  <a:gd name="T29" fmla="*/ 22 h 553"/>
                  <a:gd name="T30" fmla="*/ 472 w 553"/>
                  <a:gd name="T31" fmla="*/ 81 h 553"/>
                  <a:gd name="T32" fmla="*/ 531 w 553"/>
                  <a:gd name="T33" fmla="*/ 169 h 553"/>
                  <a:gd name="T34" fmla="*/ 553 w 553"/>
                  <a:gd name="T35" fmla="*/ 277 h 553"/>
                  <a:gd name="T36" fmla="*/ 531 w 553"/>
                  <a:gd name="T37" fmla="*/ 384 h 553"/>
                  <a:gd name="T38" fmla="*/ 472 w 553"/>
                  <a:gd name="T39" fmla="*/ 472 h 553"/>
                  <a:gd name="T40" fmla="*/ 384 w 553"/>
                  <a:gd name="T41" fmla="*/ 532 h 553"/>
                  <a:gd name="T42" fmla="*/ 276 w 553"/>
                  <a:gd name="T43" fmla="*/ 553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53" h="553">
                    <a:moveTo>
                      <a:pt x="276" y="14"/>
                    </a:moveTo>
                    <a:cubicBezTo>
                      <a:pt x="132" y="14"/>
                      <a:pt x="14" y="132"/>
                      <a:pt x="14" y="277"/>
                    </a:cubicBezTo>
                    <a:cubicBezTo>
                      <a:pt x="14" y="422"/>
                      <a:pt x="132" y="539"/>
                      <a:pt x="276" y="539"/>
                    </a:cubicBezTo>
                    <a:cubicBezTo>
                      <a:pt x="421" y="539"/>
                      <a:pt x="539" y="422"/>
                      <a:pt x="539" y="277"/>
                    </a:cubicBezTo>
                    <a:cubicBezTo>
                      <a:pt x="539" y="132"/>
                      <a:pt x="421" y="14"/>
                      <a:pt x="276" y="14"/>
                    </a:cubicBezTo>
                    <a:close/>
                    <a:moveTo>
                      <a:pt x="276" y="553"/>
                    </a:moveTo>
                    <a:cubicBezTo>
                      <a:pt x="239" y="553"/>
                      <a:pt x="203" y="546"/>
                      <a:pt x="169" y="532"/>
                    </a:cubicBezTo>
                    <a:cubicBezTo>
                      <a:pt x="136" y="518"/>
                      <a:pt x="106" y="498"/>
                      <a:pt x="81" y="472"/>
                    </a:cubicBezTo>
                    <a:cubicBezTo>
                      <a:pt x="55" y="447"/>
                      <a:pt x="35" y="417"/>
                      <a:pt x="22" y="384"/>
                    </a:cubicBezTo>
                    <a:cubicBezTo>
                      <a:pt x="7" y="350"/>
                      <a:pt x="0" y="314"/>
                      <a:pt x="0" y="277"/>
                    </a:cubicBezTo>
                    <a:cubicBezTo>
                      <a:pt x="0" y="240"/>
                      <a:pt x="7" y="203"/>
                      <a:pt x="22" y="169"/>
                    </a:cubicBezTo>
                    <a:cubicBezTo>
                      <a:pt x="35" y="136"/>
                      <a:pt x="55" y="107"/>
                      <a:pt x="81" y="81"/>
                    </a:cubicBezTo>
                    <a:cubicBezTo>
                      <a:pt x="106" y="56"/>
                      <a:pt x="136" y="36"/>
                      <a:pt x="169" y="22"/>
                    </a:cubicBezTo>
                    <a:cubicBezTo>
                      <a:pt x="203" y="8"/>
                      <a:pt x="239" y="0"/>
                      <a:pt x="276" y="0"/>
                    </a:cubicBezTo>
                    <a:cubicBezTo>
                      <a:pt x="314" y="0"/>
                      <a:pt x="350" y="8"/>
                      <a:pt x="384" y="22"/>
                    </a:cubicBezTo>
                    <a:cubicBezTo>
                      <a:pt x="417" y="36"/>
                      <a:pt x="446" y="56"/>
                      <a:pt x="472" y="81"/>
                    </a:cubicBezTo>
                    <a:cubicBezTo>
                      <a:pt x="497" y="107"/>
                      <a:pt x="517" y="136"/>
                      <a:pt x="531" y="169"/>
                    </a:cubicBezTo>
                    <a:cubicBezTo>
                      <a:pt x="546" y="203"/>
                      <a:pt x="553" y="240"/>
                      <a:pt x="553" y="277"/>
                    </a:cubicBezTo>
                    <a:cubicBezTo>
                      <a:pt x="553" y="314"/>
                      <a:pt x="546" y="350"/>
                      <a:pt x="531" y="384"/>
                    </a:cubicBezTo>
                    <a:cubicBezTo>
                      <a:pt x="517" y="417"/>
                      <a:pt x="497" y="447"/>
                      <a:pt x="472" y="472"/>
                    </a:cubicBezTo>
                    <a:cubicBezTo>
                      <a:pt x="446" y="498"/>
                      <a:pt x="417" y="518"/>
                      <a:pt x="384" y="532"/>
                    </a:cubicBezTo>
                    <a:cubicBezTo>
                      <a:pt x="350" y="546"/>
                      <a:pt x="314" y="553"/>
                      <a:pt x="276" y="553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68">
                <a:extLst>
                  <a:ext uri="{FF2B5EF4-FFF2-40B4-BE49-F238E27FC236}">
                    <a16:creationId xmlns:a16="http://schemas.microsoft.com/office/drawing/2014/main" id="{B6B9CF83-3F89-416A-B361-0A2AA8D39C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07425" y="4486275"/>
                <a:ext cx="1506537" cy="1509712"/>
              </a:xfrm>
              <a:custGeom>
                <a:avLst/>
                <a:gdLst>
                  <a:gd name="T0" fmla="*/ 262 w 524"/>
                  <a:gd name="T1" fmla="*/ 14 h 524"/>
                  <a:gd name="T2" fmla="*/ 14 w 524"/>
                  <a:gd name="T3" fmla="*/ 262 h 524"/>
                  <a:gd name="T4" fmla="*/ 262 w 524"/>
                  <a:gd name="T5" fmla="*/ 510 h 524"/>
                  <a:gd name="T6" fmla="*/ 510 w 524"/>
                  <a:gd name="T7" fmla="*/ 262 h 524"/>
                  <a:gd name="T8" fmla="*/ 262 w 524"/>
                  <a:gd name="T9" fmla="*/ 14 h 524"/>
                  <a:gd name="T10" fmla="*/ 262 w 524"/>
                  <a:gd name="T11" fmla="*/ 524 h 524"/>
                  <a:gd name="T12" fmla="*/ 160 w 524"/>
                  <a:gd name="T13" fmla="*/ 503 h 524"/>
                  <a:gd name="T14" fmla="*/ 77 w 524"/>
                  <a:gd name="T15" fmla="*/ 447 h 524"/>
                  <a:gd name="T16" fmla="*/ 21 w 524"/>
                  <a:gd name="T17" fmla="*/ 364 h 524"/>
                  <a:gd name="T18" fmla="*/ 0 w 524"/>
                  <a:gd name="T19" fmla="*/ 262 h 524"/>
                  <a:gd name="T20" fmla="*/ 21 w 524"/>
                  <a:gd name="T21" fmla="*/ 160 h 524"/>
                  <a:gd name="T22" fmla="*/ 77 w 524"/>
                  <a:gd name="T23" fmla="*/ 76 h 524"/>
                  <a:gd name="T24" fmla="*/ 160 w 524"/>
                  <a:gd name="T25" fmla="*/ 20 h 524"/>
                  <a:gd name="T26" fmla="*/ 262 w 524"/>
                  <a:gd name="T27" fmla="*/ 0 h 524"/>
                  <a:gd name="T28" fmla="*/ 364 w 524"/>
                  <a:gd name="T29" fmla="*/ 20 h 524"/>
                  <a:gd name="T30" fmla="*/ 448 w 524"/>
                  <a:gd name="T31" fmla="*/ 76 h 524"/>
                  <a:gd name="T32" fmla="*/ 504 w 524"/>
                  <a:gd name="T33" fmla="*/ 160 h 524"/>
                  <a:gd name="T34" fmla="*/ 524 w 524"/>
                  <a:gd name="T35" fmla="*/ 262 h 524"/>
                  <a:gd name="T36" fmla="*/ 504 w 524"/>
                  <a:gd name="T37" fmla="*/ 364 h 524"/>
                  <a:gd name="T38" fmla="*/ 448 w 524"/>
                  <a:gd name="T39" fmla="*/ 447 h 524"/>
                  <a:gd name="T40" fmla="*/ 364 w 524"/>
                  <a:gd name="T41" fmla="*/ 503 h 524"/>
                  <a:gd name="T42" fmla="*/ 262 w 524"/>
                  <a:gd name="T43" fmla="*/ 52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24" h="524">
                    <a:moveTo>
                      <a:pt x="262" y="14"/>
                    </a:moveTo>
                    <a:cubicBezTo>
                      <a:pt x="126" y="14"/>
                      <a:pt x="14" y="125"/>
                      <a:pt x="14" y="262"/>
                    </a:cubicBezTo>
                    <a:cubicBezTo>
                      <a:pt x="14" y="399"/>
                      <a:pt x="126" y="510"/>
                      <a:pt x="262" y="510"/>
                    </a:cubicBezTo>
                    <a:cubicBezTo>
                      <a:pt x="399" y="510"/>
                      <a:pt x="510" y="399"/>
                      <a:pt x="510" y="262"/>
                    </a:cubicBezTo>
                    <a:cubicBezTo>
                      <a:pt x="510" y="125"/>
                      <a:pt x="399" y="14"/>
                      <a:pt x="262" y="14"/>
                    </a:cubicBezTo>
                    <a:close/>
                    <a:moveTo>
                      <a:pt x="262" y="524"/>
                    </a:moveTo>
                    <a:cubicBezTo>
                      <a:pt x="227" y="524"/>
                      <a:pt x="193" y="517"/>
                      <a:pt x="160" y="503"/>
                    </a:cubicBezTo>
                    <a:cubicBezTo>
                      <a:pt x="129" y="490"/>
                      <a:pt x="101" y="471"/>
                      <a:pt x="77" y="447"/>
                    </a:cubicBezTo>
                    <a:cubicBezTo>
                      <a:pt x="53" y="423"/>
                      <a:pt x="34" y="395"/>
                      <a:pt x="21" y="364"/>
                    </a:cubicBezTo>
                    <a:cubicBezTo>
                      <a:pt x="7" y="332"/>
                      <a:pt x="0" y="297"/>
                      <a:pt x="0" y="262"/>
                    </a:cubicBezTo>
                    <a:cubicBezTo>
                      <a:pt x="0" y="226"/>
                      <a:pt x="7" y="192"/>
                      <a:pt x="21" y="160"/>
                    </a:cubicBezTo>
                    <a:cubicBezTo>
                      <a:pt x="34" y="129"/>
                      <a:pt x="53" y="101"/>
                      <a:pt x="77" y="76"/>
                    </a:cubicBezTo>
                    <a:cubicBezTo>
                      <a:pt x="101" y="52"/>
                      <a:pt x="129" y="34"/>
                      <a:pt x="160" y="20"/>
                    </a:cubicBezTo>
                    <a:cubicBezTo>
                      <a:pt x="193" y="7"/>
                      <a:pt x="227" y="0"/>
                      <a:pt x="262" y="0"/>
                    </a:cubicBezTo>
                    <a:cubicBezTo>
                      <a:pt x="298" y="0"/>
                      <a:pt x="332" y="7"/>
                      <a:pt x="364" y="20"/>
                    </a:cubicBezTo>
                    <a:cubicBezTo>
                      <a:pt x="396" y="34"/>
                      <a:pt x="424" y="52"/>
                      <a:pt x="448" y="76"/>
                    </a:cubicBezTo>
                    <a:cubicBezTo>
                      <a:pt x="472" y="101"/>
                      <a:pt x="491" y="129"/>
                      <a:pt x="504" y="160"/>
                    </a:cubicBezTo>
                    <a:cubicBezTo>
                      <a:pt x="518" y="192"/>
                      <a:pt x="524" y="226"/>
                      <a:pt x="524" y="262"/>
                    </a:cubicBezTo>
                    <a:cubicBezTo>
                      <a:pt x="524" y="297"/>
                      <a:pt x="518" y="332"/>
                      <a:pt x="504" y="364"/>
                    </a:cubicBezTo>
                    <a:cubicBezTo>
                      <a:pt x="491" y="395"/>
                      <a:pt x="472" y="423"/>
                      <a:pt x="448" y="447"/>
                    </a:cubicBezTo>
                    <a:cubicBezTo>
                      <a:pt x="424" y="471"/>
                      <a:pt x="396" y="490"/>
                      <a:pt x="364" y="503"/>
                    </a:cubicBezTo>
                    <a:cubicBezTo>
                      <a:pt x="332" y="517"/>
                      <a:pt x="298" y="524"/>
                      <a:pt x="262" y="524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69">
                <a:extLst>
                  <a:ext uri="{FF2B5EF4-FFF2-40B4-BE49-F238E27FC236}">
                    <a16:creationId xmlns:a16="http://schemas.microsoft.com/office/drawing/2014/main" id="{20071DF2-A716-4C14-BEE8-BAD087F3D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63025" y="3860800"/>
                <a:ext cx="417512" cy="1385887"/>
              </a:xfrm>
              <a:custGeom>
                <a:avLst/>
                <a:gdLst>
                  <a:gd name="T0" fmla="*/ 239 w 263"/>
                  <a:gd name="T1" fmla="*/ 873 h 873"/>
                  <a:gd name="T2" fmla="*/ 0 w 263"/>
                  <a:gd name="T3" fmla="*/ 6 h 873"/>
                  <a:gd name="T4" fmla="*/ 26 w 263"/>
                  <a:gd name="T5" fmla="*/ 0 h 873"/>
                  <a:gd name="T6" fmla="*/ 263 w 263"/>
                  <a:gd name="T7" fmla="*/ 866 h 873"/>
                  <a:gd name="T8" fmla="*/ 239 w 263"/>
                  <a:gd name="T9" fmla="*/ 873 h 873"/>
                  <a:gd name="T10" fmla="*/ 239 w 263"/>
                  <a:gd name="T11" fmla="*/ 873 h 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873">
                    <a:moveTo>
                      <a:pt x="239" y="873"/>
                    </a:moveTo>
                    <a:lnTo>
                      <a:pt x="0" y="6"/>
                    </a:lnTo>
                    <a:lnTo>
                      <a:pt x="26" y="0"/>
                    </a:lnTo>
                    <a:lnTo>
                      <a:pt x="263" y="866"/>
                    </a:lnTo>
                    <a:lnTo>
                      <a:pt x="239" y="873"/>
                    </a:lnTo>
                    <a:lnTo>
                      <a:pt x="239" y="873"/>
                    </a:ln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70">
                <a:extLst>
                  <a:ext uri="{FF2B5EF4-FFF2-40B4-BE49-F238E27FC236}">
                    <a16:creationId xmlns:a16="http://schemas.microsoft.com/office/drawing/2014/main" id="{5CA414FF-E742-424C-B3BB-46FF1A26A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02700" y="3884613"/>
                <a:ext cx="73025" cy="38100"/>
              </a:xfrm>
              <a:custGeom>
                <a:avLst/>
                <a:gdLst>
                  <a:gd name="T0" fmla="*/ 46 w 46"/>
                  <a:gd name="T1" fmla="*/ 24 h 24"/>
                  <a:gd name="T2" fmla="*/ 0 w 46"/>
                  <a:gd name="T3" fmla="*/ 24 h 24"/>
                  <a:gd name="T4" fmla="*/ 0 w 46"/>
                  <a:gd name="T5" fmla="*/ 0 h 24"/>
                  <a:gd name="T6" fmla="*/ 46 w 46"/>
                  <a:gd name="T7" fmla="*/ 0 h 24"/>
                  <a:gd name="T8" fmla="*/ 46 w 46"/>
                  <a:gd name="T9" fmla="*/ 24 h 24"/>
                  <a:gd name="T10" fmla="*/ 46 w 46"/>
                  <a:gd name="T1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24">
                    <a:moveTo>
                      <a:pt x="46" y="24"/>
                    </a:moveTo>
                    <a:lnTo>
                      <a:pt x="0" y="24"/>
                    </a:lnTo>
                    <a:lnTo>
                      <a:pt x="0" y="0"/>
                    </a:lnTo>
                    <a:lnTo>
                      <a:pt x="46" y="0"/>
                    </a:lnTo>
                    <a:lnTo>
                      <a:pt x="46" y="24"/>
                    </a:lnTo>
                    <a:lnTo>
                      <a:pt x="46" y="24"/>
                    </a:lnTo>
                    <a:close/>
                  </a:path>
                </a:pathLst>
              </a:custGeom>
              <a:solidFill>
                <a:srgbClr val="EDDA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Oval 71">
                <a:extLst>
                  <a:ext uri="{FF2B5EF4-FFF2-40B4-BE49-F238E27FC236}">
                    <a16:creationId xmlns:a16="http://schemas.microsoft.com/office/drawing/2014/main" id="{FB7C94CD-BFC9-413F-A749-26EB396030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09100" y="5186363"/>
                <a:ext cx="106362" cy="106362"/>
              </a:xfrm>
              <a:prstGeom prst="ellipse">
                <a:avLst/>
              </a:pr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72">
                <a:extLst>
                  <a:ext uri="{FF2B5EF4-FFF2-40B4-BE49-F238E27FC236}">
                    <a16:creationId xmlns:a16="http://schemas.microsoft.com/office/drawing/2014/main" id="{F9A865C7-AD2F-43B2-A740-B3120673ED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0550" y="4121150"/>
                <a:ext cx="2155825" cy="1344612"/>
              </a:xfrm>
              <a:custGeom>
                <a:avLst/>
                <a:gdLst>
                  <a:gd name="T0" fmla="*/ 696 w 1358"/>
                  <a:gd name="T1" fmla="*/ 847 h 847"/>
                  <a:gd name="T2" fmla="*/ 0 w 1358"/>
                  <a:gd name="T3" fmla="*/ 707 h 847"/>
                  <a:gd name="T4" fmla="*/ 468 w 1358"/>
                  <a:gd name="T5" fmla="*/ 0 h 847"/>
                  <a:gd name="T6" fmla="*/ 1330 w 1358"/>
                  <a:gd name="T7" fmla="*/ 0 h 847"/>
                  <a:gd name="T8" fmla="*/ 1330 w 1358"/>
                  <a:gd name="T9" fmla="*/ 25 h 847"/>
                  <a:gd name="T10" fmla="*/ 482 w 1358"/>
                  <a:gd name="T11" fmla="*/ 25 h 847"/>
                  <a:gd name="T12" fmla="*/ 44 w 1358"/>
                  <a:gd name="T13" fmla="*/ 691 h 847"/>
                  <a:gd name="T14" fmla="*/ 687 w 1358"/>
                  <a:gd name="T15" fmla="*/ 818 h 847"/>
                  <a:gd name="T16" fmla="*/ 1341 w 1358"/>
                  <a:gd name="T17" fmla="*/ 78 h 847"/>
                  <a:gd name="T18" fmla="*/ 1358 w 1358"/>
                  <a:gd name="T19" fmla="*/ 98 h 847"/>
                  <a:gd name="T20" fmla="*/ 696 w 1358"/>
                  <a:gd name="T21" fmla="*/ 847 h 847"/>
                  <a:gd name="T22" fmla="*/ 696 w 1358"/>
                  <a:gd name="T23" fmla="*/ 847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58" h="847">
                    <a:moveTo>
                      <a:pt x="696" y="847"/>
                    </a:moveTo>
                    <a:lnTo>
                      <a:pt x="0" y="707"/>
                    </a:lnTo>
                    <a:lnTo>
                      <a:pt x="468" y="0"/>
                    </a:lnTo>
                    <a:lnTo>
                      <a:pt x="1330" y="0"/>
                    </a:lnTo>
                    <a:lnTo>
                      <a:pt x="1330" y="25"/>
                    </a:lnTo>
                    <a:lnTo>
                      <a:pt x="482" y="25"/>
                    </a:lnTo>
                    <a:lnTo>
                      <a:pt x="44" y="691"/>
                    </a:lnTo>
                    <a:lnTo>
                      <a:pt x="687" y="818"/>
                    </a:lnTo>
                    <a:lnTo>
                      <a:pt x="1341" y="78"/>
                    </a:lnTo>
                    <a:lnTo>
                      <a:pt x="1358" y="98"/>
                    </a:lnTo>
                    <a:lnTo>
                      <a:pt x="696" y="847"/>
                    </a:lnTo>
                    <a:lnTo>
                      <a:pt x="696" y="847"/>
                    </a:lnTo>
                    <a:close/>
                  </a:path>
                </a:pathLst>
              </a:custGeom>
              <a:solidFill>
                <a:srgbClr val="F79F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73">
                <a:extLst>
                  <a:ext uri="{FF2B5EF4-FFF2-40B4-BE49-F238E27FC236}">
                    <a16:creationId xmlns:a16="http://schemas.microsoft.com/office/drawing/2014/main" id="{6FDA19C8-F792-4F8B-8895-34987C7B0D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07325" y="5197475"/>
                <a:ext cx="471487" cy="466725"/>
              </a:xfrm>
              <a:custGeom>
                <a:avLst/>
                <a:gdLst>
                  <a:gd name="T0" fmla="*/ 84 w 164"/>
                  <a:gd name="T1" fmla="*/ 24 h 162"/>
                  <a:gd name="T2" fmla="*/ 25 w 164"/>
                  <a:gd name="T3" fmla="*/ 74 h 162"/>
                  <a:gd name="T4" fmla="*/ 73 w 164"/>
                  <a:gd name="T5" fmla="*/ 144 h 162"/>
                  <a:gd name="T6" fmla="*/ 143 w 164"/>
                  <a:gd name="T7" fmla="*/ 95 h 162"/>
                  <a:gd name="T8" fmla="*/ 134 w 164"/>
                  <a:gd name="T9" fmla="*/ 51 h 162"/>
                  <a:gd name="T10" fmla="*/ 95 w 164"/>
                  <a:gd name="T11" fmla="*/ 25 h 162"/>
                  <a:gd name="T12" fmla="*/ 84 w 164"/>
                  <a:gd name="T13" fmla="*/ 24 h 162"/>
                  <a:gd name="T14" fmla="*/ 84 w 164"/>
                  <a:gd name="T15" fmla="*/ 162 h 162"/>
                  <a:gd name="T16" fmla="*/ 70 w 164"/>
                  <a:gd name="T17" fmla="*/ 161 h 162"/>
                  <a:gd name="T18" fmla="*/ 8 w 164"/>
                  <a:gd name="T19" fmla="*/ 70 h 162"/>
                  <a:gd name="T20" fmla="*/ 98 w 164"/>
                  <a:gd name="T21" fmla="*/ 8 h 162"/>
                  <a:gd name="T22" fmla="*/ 148 w 164"/>
                  <a:gd name="T23" fmla="*/ 41 h 162"/>
                  <a:gd name="T24" fmla="*/ 160 w 164"/>
                  <a:gd name="T25" fmla="*/ 99 h 162"/>
                  <a:gd name="T26" fmla="*/ 84 w 164"/>
                  <a:gd name="T27" fmla="*/ 162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4" h="162">
                    <a:moveTo>
                      <a:pt x="84" y="24"/>
                    </a:moveTo>
                    <a:cubicBezTo>
                      <a:pt x="56" y="24"/>
                      <a:pt x="30" y="45"/>
                      <a:pt x="25" y="74"/>
                    </a:cubicBezTo>
                    <a:cubicBezTo>
                      <a:pt x="19" y="106"/>
                      <a:pt x="40" y="138"/>
                      <a:pt x="73" y="144"/>
                    </a:cubicBezTo>
                    <a:cubicBezTo>
                      <a:pt x="106" y="150"/>
                      <a:pt x="137" y="128"/>
                      <a:pt x="143" y="95"/>
                    </a:cubicBezTo>
                    <a:cubicBezTo>
                      <a:pt x="146" y="80"/>
                      <a:pt x="143" y="64"/>
                      <a:pt x="134" y="51"/>
                    </a:cubicBezTo>
                    <a:cubicBezTo>
                      <a:pt x="124" y="37"/>
                      <a:pt x="111" y="28"/>
                      <a:pt x="95" y="25"/>
                    </a:cubicBezTo>
                    <a:cubicBezTo>
                      <a:pt x="91" y="25"/>
                      <a:pt x="88" y="24"/>
                      <a:pt x="84" y="24"/>
                    </a:cubicBezTo>
                    <a:close/>
                    <a:moveTo>
                      <a:pt x="84" y="162"/>
                    </a:moveTo>
                    <a:cubicBezTo>
                      <a:pt x="79" y="162"/>
                      <a:pt x="75" y="162"/>
                      <a:pt x="70" y="161"/>
                    </a:cubicBezTo>
                    <a:cubicBezTo>
                      <a:pt x="28" y="153"/>
                      <a:pt x="0" y="112"/>
                      <a:pt x="8" y="70"/>
                    </a:cubicBezTo>
                    <a:cubicBezTo>
                      <a:pt x="15" y="28"/>
                      <a:pt x="56" y="0"/>
                      <a:pt x="98" y="8"/>
                    </a:cubicBezTo>
                    <a:cubicBezTo>
                      <a:pt x="119" y="12"/>
                      <a:pt x="136" y="23"/>
                      <a:pt x="148" y="41"/>
                    </a:cubicBezTo>
                    <a:cubicBezTo>
                      <a:pt x="160" y="58"/>
                      <a:pt x="164" y="78"/>
                      <a:pt x="160" y="99"/>
                    </a:cubicBezTo>
                    <a:cubicBezTo>
                      <a:pt x="153" y="136"/>
                      <a:pt x="121" y="162"/>
                      <a:pt x="84" y="162"/>
                    </a:cubicBezTo>
                    <a:close/>
                  </a:path>
                </a:pathLst>
              </a:custGeom>
              <a:solidFill>
                <a:srgbClr val="D5281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74">
                <a:extLst>
                  <a:ext uri="{FF2B5EF4-FFF2-40B4-BE49-F238E27FC236}">
                    <a16:creationId xmlns:a16="http://schemas.microsoft.com/office/drawing/2014/main" id="{213C96C1-19A7-4243-A3FB-B295E419D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2113" y="5402263"/>
                <a:ext cx="74612" cy="77787"/>
              </a:xfrm>
              <a:custGeom>
                <a:avLst/>
                <a:gdLst>
                  <a:gd name="T0" fmla="*/ 25 w 26"/>
                  <a:gd name="T1" fmla="*/ 16 h 27"/>
                  <a:gd name="T2" fmla="*/ 11 w 26"/>
                  <a:gd name="T3" fmla="*/ 26 h 27"/>
                  <a:gd name="T4" fmla="*/ 1 w 26"/>
                  <a:gd name="T5" fmla="*/ 11 h 27"/>
                  <a:gd name="T6" fmla="*/ 15 w 26"/>
                  <a:gd name="T7" fmla="*/ 1 h 27"/>
                  <a:gd name="T8" fmla="*/ 25 w 26"/>
                  <a:gd name="T9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7">
                    <a:moveTo>
                      <a:pt x="25" y="16"/>
                    </a:moveTo>
                    <a:cubicBezTo>
                      <a:pt x="24" y="22"/>
                      <a:pt x="17" y="27"/>
                      <a:pt x="11" y="26"/>
                    </a:cubicBezTo>
                    <a:cubicBezTo>
                      <a:pt x="4" y="24"/>
                      <a:pt x="0" y="18"/>
                      <a:pt x="1" y="11"/>
                    </a:cubicBezTo>
                    <a:cubicBezTo>
                      <a:pt x="2" y="5"/>
                      <a:pt x="9" y="0"/>
                      <a:pt x="15" y="1"/>
                    </a:cubicBezTo>
                    <a:cubicBezTo>
                      <a:pt x="22" y="3"/>
                      <a:pt x="26" y="9"/>
                      <a:pt x="25" y="16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75">
                <a:extLst>
                  <a:ext uri="{FF2B5EF4-FFF2-40B4-BE49-F238E27FC236}">
                    <a16:creationId xmlns:a16="http://schemas.microsoft.com/office/drawing/2014/main" id="{2643B6CD-7DBE-4E30-B06C-33A651C3D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5538" y="3749675"/>
                <a:ext cx="358775" cy="206375"/>
              </a:xfrm>
              <a:custGeom>
                <a:avLst/>
                <a:gdLst>
                  <a:gd name="T0" fmla="*/ 29 w 125"/>
                  <a:gd name="T1" fmla="*/ 0 h 72"/>
                  <a:gd name="T2" fmla="*/ 46 w 125"/>
                  <a:gd name="T3" fmla="*/ 5 h 72"/>
                  <a:gd name="T4" fmla="*/ 89 w 125"/>
                  <a:gd name="T5" fmla="*/ 7 h 72"/>
                  <a:gd name="T6" fmla="*/ 121 w 125"/>
                  <a:gd name="T7" fmla="*/ 50 h 72"/>
                  <a:gd name="T8" fmla="*/ 111 w 125"/>
                  <a:gd name="T9" fmla="*/ 50 h 72"/>
                  <a:gd name="T10" fmla="*/ 81 w 125"/>
                  <a:gd name="T11" fmla="*/ 26 h 72"/>
                  <a:gd name="T12" fmla="*/ 99 w 125"/>
                  <a:gd name="T13" fmla="*/ 58 h 72"/>
                  <a:gd name="T14" fmla="*/ 85 w 125"/>
                  <a:gd name="T15" fmla="*/ 65 h 72"/>
                  <a:gd name="T16" fmla="*/ 67 w 125"/>
                  <a:gd name="T17" fmla="*/ 69 h 72"/>
                  <a:gd name="T18" fmla="*/ 25 w 125"/>
                  <a:gd name="T19" fmla="*/ 35 h 72"/>
                  <a:gd name="T20" fmla="*/ 1 w 125"/>
                  <a:gd name="T21" fmla="*/ 18 h 72"/>
                  <a:gd name="T22" fmla="*/ 29 w 125"/>
                  <a:gd name="T2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5" h="72">
                    <a:moveTo>
                      <a:pt x="29" y="0"/>
                    </a:moveTo>
                    <a:cubicBezTo>
                      <a:pt x="29" y="0"/>
                      <a:pt x="41" y="5"/>
                      <a:pt x="46" y="5"/>
                    </a:cubicBezTo>
                    <a:cubicBezTo>
                      <a:pt x="52" y="5"/>
                      <a:pt x="85" y="2"/>
                      <a:pt x="89" y="7"/>
                    </a:cubicBezTo>
                    <a:cubicBezTo>
                      <a:pt x="93" y="13"/>
                      <a:pt x="125" y="45"/>
                      <a:pt x="121" y="50"/>
                    </a:cubicBezTo>
                    <a:cubicBezTo>
                      <a:pt x="116" y="55"/>
                      <a:pt x="113" y="52"/>
                      <a:pt x="111" y="50"/>
                    </a:cubicBezTo>
                    <a:cubicBezTo>
                      <a:pt x="109" y="47"/>
                      <a:pt x="84" y="27"/>
                      <a:pt x="81" y="26"/>
                    </a:cubicBezTo>
                    <a:cubicBezTo>
                      <a:pt x="81" y="26"/>
                      <a:pt x="103" y="51"/>
                      <a:pt x="99" y="58"/>
                    </a:cubicBezTo>
                    <a:cubicBezTo>
                      <a:pt x="96" y="65"/>
                      <a:pt x="89" y="64"/>
                      <a:pt x="85" y="65"/>
                    </a:cubicBezTo>
                    <a:cubicBezTo>
                      <a:pt x="81" y="67"/>
                      <a:pt x="74" y="72"/>
                      <a:pt x="67" y="69"/>
                    </a:cubicBezTo>
                    <a:cubicBezTo>
                      <a:pt x="60" y="65"/>
                      <a:pt x="31" y="39"/>
                      <a:pt x="25" y="35"/>
                    </a:cubicBezTo>
                    <a:cubicBezTo>
                      <a:pt x="18" y="31"/>
                      <a:pt x="1" y="19"/>
                      <a:pt x="1" y="18"/>
                    </a:cubicBezTo>
                    <a:cubicBezTo>
                      <a:pt x="0" y="16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EEA9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76">
                <a:extLst>
                  <a:ext uri="{FF2B5EF4-FFF2-40B4-BE49-F238E27FC236}">
                    <a16:creationId xmlns:a16="http://schemas.microsoft.com/office/drawing/2014/main" id="{1DF40BF4-6B24-46EE-92DB-8D8135F4B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7138" y="3703638"/>
                <a:ext cx="454025" cy="1690687"/>
              </a:xfrm>
              <a:custGeom>
                <a:avLst/>
                <a:gdLst>
                  <a:gd name="T0" fmla="*/ 154 w 158"/>
                  <a:gd name="T1" fmla="*/ 79 h 587"/>
                  <a:gd name="T2" fmla="*/ 157 w 158"/>
                  <a:gd name="T3" fmla="*/ 218 h 587"/>
                  <a:gd name="T4" fmla="*/ 156 w 158"/>
                  <a:gd name="T5" fmla="*/ 318 h 587"/>
                  <a:gd name="T6" fmla="*/ 142 w 158"/>
                  <a:gd name="T7" fmla="*/ 587 h 587"/>
                  <a:gd name="T8" fmla="*/ 104 w 158"/>
                  <a:gd name="T9" fmla="*/ 580 h 587"/>
                  <a:gd name="T10" fmla="*/ 81 w 158"/>
                  <a:gd name="T11" fmla="*/ 338 h 587"/>
                  <a:gd name="T12" fmla="*/ 0 w 158"/>
                  <a:gd name="T13" fmla="*/ 21 h 587"/>
                  <a:gd name="T14" fmla="*/ 154 w 158"/>
                  <a:gd name="T15" fmla="*/ 79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8" h="587">
                    <a:moveTo>
                      <a:pt x="154" y="79"/>
                    </a:moveTo>
                    <a:cubicBezTo>
                      <a:pt x="154" y="79"/>
                      <a:pt x="157" y="200"/>
                      <a:pt x="157" y="218"/>
                    </a:cubicBezTo>
                    <a:cubicBezTo>
                      <a:pt x="158" y="237"/>
                      <a:pt x="158" y="309"/>
                      <a:pt x="156" y="318"/>
                    </a:cubicBezTo>
                    <a:cubicBezTo>
                      <a:pt x="155" y="327"/>
                      <a:pt x="142" y="587"/>
                      <a:pt x="142" y="587"/>
                    </a:cubicBezTo>
                    <a:cubicBezTo>
                      <a:pt x="104" y="580"/>
                      <a:pt x="104" y="580"/>
                      <a:pt x="104" y="580"/>
                    </a:cubicBezTo>
                    <a:cubicBezTo>
                      <a:pt x="104" y="580"/>
                      <a:pt x="80" y="366"/>
                      <a:pt x="81" y="338"/>
                    </a:cubicBezTo>
                    <a:cubicBezTo>
                      <a:pt x="83" y="285"/>
                      <a:pt x="1" y="41"/>
                      <a:pt x="0" y="21"/>
                    </a:cubicBezTo>
                    <a:cubicBezTo>
                      <a:pt x="0" y="0"/>
                      <a:pt x="154" y="79"/>
                      <a:pt x="154" y="79"/>
                    </a:cubicBez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77">
                <a:extLst>
                  <a:ext uri="{FF2B5EF4-FFF2-40B4-BE49-F238E27FC236}">
                    <a16:creationId xmlns:a16="http://schemas.microsoft.com/office/drawing/2014/main" id="{8F7BFE93-103A-45E3-9FC6-A31CAAB0C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5588" y="5373688"/>
                <a:ext cx="109537" cy="68262"/>
              </a:xfrm>
              <a:custGeom>
                <a:avLst/>
                <a:gdLst>
                  <a:gd name="T0" fmla="*/ 69 w 69"/>
                  <a:gd name="T1" fmla="*/ 13 h 43"/>
                  <a:gd name="T2" fmla="*/ 69 w 69"/>
                  <a:gd name="T3" fmla="*/ 43 h 43"/>
                  <a:gd name="T4" fmla="*/ 6 w 69"/>
                  <a:gd name="T5" fmla="*/ 42 h 43"/>
                  <a:gd name="T6" fmla="*/ 0 w 69"/>
                  <a:gd name="T7" fmla="*/ 0 h 43"/>
                  <a:gd name="T8" fmla="*/ 69 w 69"/>
                  <a:gd name="T9" fmla="*/ 13 h 43"/>
                  <a:gd name="T10" fmla="*/ 69 w 69"/>
                  <a:gd name="T11" fmla="*/ 1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43">
                    <a:moveTo>
                      <a:pt x="69" y="13"/>
                    </a:moveTo>
                    <a:lnTo>
                      <a:pt x="69" y="43"/>
                    </a:lnTo>
                    <a:lnTo>
                      <a:pt x="6" y="42"/>
                    </a:lnTo>
                    <a:lnTo>
                      <a:pt x="0" y="0"/>
                    </a:lnTo>
                    <a:lnTo>
                      <a:pt x="69" y="13"/>
                    </a:lnTo>
                    <a:lnTo>
                      <a:pt x="69" y="13"/>
                    </a:lnTo>
                    <a:close/>
                  </a:path>
                </a:pathLst>
              </a:custGeom>
              <a:solidFill>
                <a:srgbClr val="EEA9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78">
                <a:extLst>
                  <a:ext uri="{FF2B5EF4-FFF2-40B4-BE49-F238E27FC236}">
                    <a16:creationId xmlns:a16="http://schemas.microsoft.com/office/drawing/2014/main" id="{E45AADE0-2193-4867-AE3F-F12C85760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3838" y="5413375"/>
                <a:ext cx="441325" cy="187325"/>
              </a:xfrm>
              <a:custGeom>
                <a:avLst/>
                <a:gdLst>
                  <a:gd name="T0" fmla="*/ 49 w 153"/>
                  <a:gd name="T1" fmla="*/ 0 h 65"/>
                  <a:gd name="T2" fmla="*/ 84 w 153"/>
                  <a:gd name="T3" fmla="*/ 20 h 65"/>
                  <a:gd name="T4" fmla="*/ 138 w 153"/>
                  <a:gd name="T5" fmla="*/ 35 h 65"/>
                  <a:gd name="T6" fmla="*/ 79 w 153"/>
                  <a:gd name="T7" fmla="*/ 63 h 65"/>
                  <a:gd name="T8" fmla="*/ 2 w 153"/>
                  <a:gd name="T9" fmla="*/ 47 h 65"/>
                  <a:gd name="T10" fmla="*/ 11 w 153"/>
                  <a:gd name="T11" fmla="*/ 2 h 65"/>
                  <a:gd name="T12" fmla="*/ 49 w 153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3" h="65">
                    <a:moveTo>
                      <a:pt x="49" y="0"/>
                    </a:moveTo>
                    <a:cubicBezTo>
                      <a:pt x="49" y="0"/>
                      <a:pt x="71" y="19"/>
                      <a:pt x="84" y="20"/>
                    </a:cubicBezTo>
                    <a:cubicBezTo>
                      <a:pt x="97" y="20"/>
                      <a:pt x="136" y="28"/>
                      <a:pt x="138" y="35"/>
                    </a:cubicBezTo>
                    <a:cubicBezTo>
                      <a:pt x="140" y="42"/>
                      <a:pt x="153" y="65"/>
                      <a:pt x="79" y="63"/>
                    </a:cubicBezTo>
                    <a:cubicBezTo>
                      <a:pt x="6" y="60"/>
                      <a:pt x="0" y="60"/>
                      <a:pt x="2" y="47"/>
                    </a:cubicBezTo>
                    <a:cubicBezTo>
                      <a:pt x="3" y="33"/>
                      <a:pt x="9" y="15"/>
                      <a:pt x="11" y="2"/>
                    </a:cubicBezTo>
                    <a:cubicBezTo>
                      <a:pt x="49" y="0"/>
                      <a:pt x="49" y="0"/>
                      <a:pt x="49" y="0"/>
                    </a:cubicBezTo>
                    <a:close/>
                  </a:path>
                </a:pathLst>
              </a:custGeom>
              <a:solidFill>
                <a:srgbClr val="EDDA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79">
                <a:extLst>
                  <a:ext uri="{FF2B5EF4-FFF2-40B4-BE49-F238E27FC236}">
                    <a16:creationId xmlns:a16="http://schemas.microsoft.com/office/drawing/2014/main" id="{35ABDD96-3DA6-473B-952E-1725D08E9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4738" y="3371850"/>
                <a:ext cx="1016000" cy="855662"/>
              </a:xfrm>
              <a:custGeom>
                <a:avLst/>
                <a:gdLst>
                  <a:gd name="T0" fmla="*/ 249 w 353"/>
                  <a:gd name="T1" fmla="*/ 61 h 297"/>
                  <a:gd name="T2" fmla="*/ 353 w 353"/>
                  <a:gd name="T3" fmla="*/ 162 h 297"/>
                  <a:gd name="T4" fmla="*/ 97 w 353"/>
                  <a:gd name="T5" fmla="*/ 296 h 297"/>
                  <a:gd name="T6" fmla="*/ 59 w 353"/>
                  <a:gd name="T7" fmla="*/ 218 h 297"/>
                  <a:gd name="T8" fmla="*/ 69 w 353"/>
                  <a:gd name="T9" fmla="*/ 46 h 297"/>
                  <a:gd name="T10" fmla="*/ 106 w 353"/>
                  <a:gd name="T11" fmla="*/ 0 h 297"/>
                  <a:gd name="T12" fmla="*/ 249 w 353"/>
                  <a:gd name="T13" fmla="*/ 61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297">
                    <a:moveTo>
                      <a:pt x="249" y="61"/>
                    </a:moveTo>
                    <a:cubicBezTo>
                      <a:pt x="249" y="61"/>
                      <a:pt x="277" y="102"/>
                      <a:pt x="353" y="162"/>
                    </a:cubicBezTo>
                    <a:cubicBezTo>
                      <a:pt x="353" y="162"/>
                      <a:pt x="131" y="294"/>
                      <a:pt x="97" y="296"/>
                    </a:cubicBezTo>
                    <a:cubicBezTo>
                      <a:pt x="92" y="297"/>
                      <a:pt x="73" y="247"/>
                      <a:pt x="59" y="218"/>
                    </a:cubicBezTo>
                    <a:cubicBezTo>
                      <a:pt x="59" y="218"/>
                      <a:pt x="0" y="130"/>
                      <a:pt x="69" y="46"/>
                    </a:cubicBezTo>
                    <a:cubicBezTo>
                      <a:pt x="92" y="18"/>
                      <a:pt x="106" y="0"/>
                      <a:pt x="106" y="0"/>
                    </a:cubicBezTo>
                    <a:cubicBezTo>
                      <a:pt x="249" y="61"/>
                      <a:pt x="249" y="61"/>
                      <a:pt x="249" y="61"/>
                    </a:cubicBez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80">
                <a:extLst>
                  <a:ext uri="{FF2B5EF4-FFF2-40B4-BE49-F238E27FC236}">
                    <a16:creationId xmlns:a16="http://schemas.microsoft.com/office/drawing/2014/main" id="{4408547B-396F-48FF-8E48-964B0BF5A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8438" y="5583238"/>
                <a:ext cx="269875" cy="44450"/>
              </a:xfrm>
              <a:custGeom>
                <a:avLst/>
                <a:gdLst>
                  <a:gd name="T0" fmla="*/ 170 w 170"/>
                  <a:gd name="T1" fmla="*/ 28 h 28"/>
                  <a:gd name="T2" fmla="*/ 0 w 170"/>
                  <a:gd name="T3" fmla="*/ 20 h 28"/>
                  <a:gd name="T4" fmla="*/ 2 w 170"/>
                  <a:gd name="T5" fmla="*/ 0 h 28"/>
                  <a:gd name="T6" fmla="*/ 170 w 170"/>
                  <a:gd name="T7" fmla="*/ 8 h 28"/>
                  <a:gd name="T8" fmla="*/ 170 w 170"/>
                  <a:gd name="T9" fmla="*/ 28 h 28"/>
                  <a:gd name="T10" fmla="*/ 170 w 170"/>
                  <a:gd name="T1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0" h="28">
                    <a:moveTo>
                      <a:pt x="170" y="28"/>
                    </a:moveTo>
                    <a:lnTo>
                      <a:pt x="0" y="20"/>
                    </a:lnTo>
                    <a:lnTo>
                      <a:pt x="2" y="0"/>
                    </a:lnTo>
                    <a:lnTo>
                      <a:pt x="170" y="8"/>
                    </a:lnTo>
                    <a:lnTo>
                      <a:pt x="170" y="28"/>
                    </a:lnTo>
                    <a:lnTo>
                      <a:pt x="170" y="28"/>
                    </a:lnTo>
                    <a:close/>
                  </a:path>
                </a:pathLst>
              </a:cu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Oval 81">
                <a:extLst>
                  <a:ext uri="{FF2B5EF4-FFF2-40B4-BE49-F238E27FC236}">
                    <a16:creationId xmlns:a16="http://schemas.microsoft.com/office/drawing/2014/main" id="{804B3B2F-8A95-4172-8DB4-BB58C4FF82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1500" y="5186363"/>
                <a:ext cx="106362" cy="106362"/>
              </a:xfrm>
              <a:prstGeom prst="ellipse">
                <a:avLst/>
              </a:prstGeom>
              <a:solidFill>
                <a:srgbClr val="EF4B3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5EDF357-6A95-43E2-992F-22253C1B45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0619" t="5969" r="13172" b="11830"/>
            <a:stretch/>
          </p:blipFill>
          <p:spPr>
            <a:xfrm>
              <a:off x="5580185" y="3894640"/>
              <a:ext cx="861669" cy="886399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3E68EDF-2F4D-4CF2-BE04-AB4B358DCFDC}"/>
                </a:ext>
              </a:extLst>
            </p:cNvPr>
            <p:cNvSpPr txBox="1"/>
            <p:nvPr/>
          </p:nvSpPr>
          <p:spPr>
            <a:xfrm>
              <a:off x="5120653" y="3223426"/>
              <a:ext cx="18359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Catherine Miao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D476D01-7FC2-4952-9CC7-55E5FD99D412}"/>
              </a:ext>
            </a:extLst>
          </p:cNvPr>
          <p:cNvGrpSpPr/>
          <p:nvPr/>
        </p:nvGrpSpPr>
        <p:grpSpPr>
          <a:xfrm>
            <a:off x="7303838" y="3180010"/>
            <a:ext cx="2284433" cy="3262161"/>
            <a:chOff x="7303838" y="3180010"/>
            <a:chExt cx="2284433" cy="3262161"/>
          </a:xfrm>
        </p:grpSpPr>
        <p:grpSp>
          <p:nvGrpSpPr>
            <p:cNvPr id="596" name="Group 595">
              <a:extLst>
                <a:ext uri="{FF2B5EF4-FFF2-40B4-BE49-F238E27FC236}">
                  <a16:creationId xmlns:a16="http://schemas.microsoft.com/office/drawing/2014/main" id="{9F93AF35-0CA7-4D0B-B76B-16DCBB237408}"/>
                </a:ext>
              </a:extLst>
            </p:cNvPr>
            <p:cNvGrpSpPr/>
            <p:nvPr/>
          </p:nvGrpSpPr>
          <p:grpSpPr>
            <a:xfrm>
              <a:off x="7303838" y="4328373"/>
              <a:ext cx="2284433" cy="2113798"/>
              <a:chOff x="797607" y="1371600"/>
              <a:chExt cx="4869176" cy="4515087"/>
            </a:xfrm>
          </p:grpSpPr>
          <p:grpSp>
            <p:nvGrpSpPr>
              <p:cNvPr id="597" name="Group 596">
                <a:extLst>
                  <a:ext uri="{FF2B5EF4-FFF2-40B4-BE49-F238E27FC236}">
                    <a16:creationId xmlns:a16="http://schemas.microsoft.com/office/drawing/2014/main" id="{6FCDAC05-48D2-4372-BF2D-2606C41D842B}"/>
                  </a:ext>
                </a:extLst>
              </p:cNvPr>
              <p:cNvGrpSpPr/>
              <p:nvPr/>
            </p:nvGrpSpPr>
            <p:grpSpPr>
              <a:xfrm>
                <a:off x="797607" y="1371600"/>
                <a:ext cx="4869176" cy="4515087"/>
                <a:chOff x="1021878" y="1817924"/>
                <a:chExt cx="4387850" cy="4068763"/>
              </a:xfrm>
            </p:grpSpPr>
            <p:sp>
              <p:nvSpPr>
                <p:cNvPr id="603" name="Oval 602">
                  <a:extLst>
                    <a:ext uri="{FF2B5EF4-FFF2-40B4-BE49-F238E27FC236}">
                      <a16:creationId xmlns:a16="http://schemas.microsoft.com/office/drawing/2014/main" id="{050BC584-A7BC-48F4-8A85-0119B5D04C3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1021878" y="4394437"/>
                  <a:ext cx="1490663" cy="1492250"/>
                </a:xfrm>
                <a:prstGeom prst="ellipse">
                  <a:avLst/>
                </a:prstGeom>
                <a:noFill/>
                <a:ln w="155575" cap="flat">
                  <a:solidFill>
                    <a:srgbClr val="3B3E98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4" name="Oval 603">
                  <a:extLst>
                    <a:ext uri="{FF2B5EF4-FFF2-40B4-BE49-F238E27FC236}">
                      <a16:creationId xmlns:a16="http://schemas.microsoft.com/office/drawing/2014/main" id="{02F443CD-D51D-4C88-BF9A-7F6B168ABC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1079028" y="4462699"/>
                  <a:ext cx="1366838" cy="1355725"/>
                </a:xfrm>
                <a:prstGeom prst="ellipse">
                  <a:avLst/>
                </a:prstGeom>
                <a:noFill/>
                <a:ln w="77788" cap="flat">
                  <a:solidFill>
                    <a:srgbClr val="4EC9F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5" name="Oval 604">
                  <a:extLst>
                    <a:ext uri="{FF2B5EF4-FFF2-40B4-BE49-F238E27FC236}">
                      <a16:creationId xmlns:a16="http://schemas.microsoft.com/office/drawing/2014/main" id="{6519CD28-0E82-4BC5-8017-1E6BC0C0FA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1612428" y="4984987"/>
                  <a:ext cx="300038" cy="309562"/>
                </a:xfrm>
                <a:prstGeom prst="ellipse">
                  <a:avLst/>
                </a:prstGeom>
                <a:solidFill>
                  <a:srgbClr val="2C255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6" name="Oval 605">
                  <a:extLst>
                    <a:ext uri="{FF2B5EF4-FFF2-40B4-BE49-F238E27FC236}">
                      <a16:creationId xmlns:a16="http://schemas.microsoft.com/office/drawing/2014/main" id="{FF772F2D-898A-48FC-B3C1-2046DEF67E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3917478" y="4394437"/>
                  <a:ext cx="1492250" cy="1492250"/>
                </a:xfrm>
                <a:prstGeom prst="ellipse">
                  <a:avLst/>
                </a:prstGeom>
                <a:noFill/>
                <a:ln w="155575" cap="flat">
                  <a:solidFill>
                    <a:srgbClr val="3B3E98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7" name="Oval 606">
                  <a:extLst>
                    <a:ext uri="{FF2B5EF4-FFF2-40B4-BE49-F238E27FC236}">
                      <a16:creationId xmlns:a16="http://schemas.microsoft.com/office/drawing/2014/main" id="{47AF7FAF-C2DE-4A35-92EE-5873DDC8F2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3985741" y="4462699"/>
                  <a:ext cx="1365250" cy="1355725"/>
                </a:xfrm>
                <a:prstGeom prst="ellipse">
                  <a:avLst/>
                </a:prstGeom>
                <a:noFill/>
                <a:ln w="77788" cap="flat">
                  <a:solidFill>
                    <a:srgbClr val="4EC9F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8" name="Oval 607">
                  <a:extLst>
                    <a:ext uri="{FF2B5EF4-FFF2-40B4-BE49-F238E27FC236}">
                      <a16:creationId xmlns:a16="http://schemas.microsoft.com/office/drawing/2014/main" id="{628AA249-8E29-447E-8273-B66B822C50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4519140" y="4984987"/>
                  <a:ext cx="300038" cy="309562"/>
                </a:xfrm>
                <a:prstGeom prst="ellipse">
                  <a:avLst/>
                </a:prstGeom>
                <a:solidFill>
                  <a:srgbClr val="2C255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9" name="Line 14">
                  <a:extLst>
                    <a:ext uri="{FF2B5EF4-FFF2-40B4-BE49-F238E27FC236}">
                      <a16:creationId xmlns:a16="http://schemas.microsoft.com/office/drawing/2014/main" id="{6F39FD37-6E72-418A-A551-C35022B2465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414240" y="4937362"/>
                  <a:ext cx="1249363" cy="96837"/>
                </a:xfrm>
                <a:prstGeom prst="line">
                  <a:avLst/>
                </a:prstGeom>
                <a:noFill/>
                <a:ln w="39688" cap="flat">
                  <a:solidFill>
                    <a:srgbClr val="09234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0" name="Oval 609">
                  <a:extLst>
                    <a:ext uri="{FF2B5EF4-FFF2-40B4-BE49-F238E27FC236}">
                      <a16:creationId xmlns:a16="http://schemas.microsoft.com/office/drawing/2014/main" id="{0FCAE028-BC5D-4B02-8D87-ADECD5CCF4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3161828" y="4937362"/>
                  <a:ext cx="407988" cy="406400"/>
                </a:xfrm>
                <a:prstGeom prst="ellipse">
                  <a:avLst/>
                </a:prstGeom>
                <a:solidFill>
                  <a:srgbClr val="2C255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1" name="Oval 610">
                  <a:extLst>
                    <a:ext uri="{FF2B5EF4-FFF2-40B4-BE49-F238E27FC236}">
                      <a16:creationId xmlns:a16="http://schemas.microsoft.com/office/drawing/2014/main" id="{47B159D5-D531-4B4A-A2D7-3C4D6371A6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3558703" y="3435587"/>
                  <a:ext cx="504825" cy="144462"/>
                </a:xfrm>
                <a:prstGeom prst="ellipse">
                  <a:avLst/>
                </a:prstGeom>
                <a:solidFill>
                  <a:srgbClr val="2C255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2" name="Freeform 17">
                  <a:extLst>
                    <a:ext uri="{FF2B5EF4-FFF2-40B4-BE49-F238E27FC236}">
                      <a16:creationId xmlns:a16="http://schemas.microsoft.com/office/drawing/2014/main" id="{BDA4D6F2-FAB0-49E1-ADF4-105E5B9F2B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774478" y="3095862"/>
                  <a:ext cx="977900" cy="1463675"/>
                </a:xfrm>
                <a:custGeom>
                  <a:avLst/>
                  <a:gdLst>
                    <a:gd name="T0" fmla="*/ 28 w 101"/>
                    <a:gd name="T1" fmla="*/ 0 h 151"/>
                    <a:gd name="T2" fmla="*/ 100 w 101"/>
                    <a:gd name="T3" fmla="*/ 61 h 151"/>
                    <a:gd name="T4" fmla="*/ 35 w 101"/>
                    <a:gd name="T5" fmla="*/ 151 h 151"/>
                    <a:gd name="T6" fmla="*/ 25 w 101"/>
                    <a:gd name="T7" fmla="*/ 140 h 151"/>
                    <a:gd name="T8" fmla="*/ 63 w 101"/>
                    <a:gd name="T9" fmla="*/ 68 h 151"/>
                    <a:gd name="T10" fmla="*/ 0 w 101"/>
                    <a:gd name="T11" fmla="*/ 27 h 151"/>
                    <a:gd name="T12" fmla="*/ 28 w 101"/>
                    <a:gd name="T13" fmla="*/ 0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1" h="151">
                      <a:moveTo>
                        <a:pt x="28" y="0"/>
                      </a:moveTo>
                      <a:cubicBezTo>
                        <a:pt x="28" y="0"/>
                        <a:pt x="99" y="40"/>
                        <a:pt x="100" y="61"/>
                      </a:cubicBezTo>
                      <a:cubicBezTo>
                        <a:pt x="101" y="81"/>
                        <a:pt x="35" y="151"/>
                        <a:pt x="35" y="151"/>
                      </a:cubicBezTo>
                      <a:cubicBezTo>
                        <a:pt x="25" y="140"/>
                        <a:pt x="25" y="140"/>
                        <a:pt x="25" y="140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28" y="0"/>
                        <a:pt x="28" y="0"/>
                        <a:pt x="28" y="0"/>
                      </a:cubicBezTo>
                      <a:close/>
                    </a:path>
                  </a:pathLst>
                </a:custGeom>
                <a:solidFill>
                  <a:srgbClr val="E9C11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3" name="Freeform 18">
                  <a:extLst>
                    <a:ext uri="{FF2B5EF4-FFF2-40B4-BE49-F238E27FC236}">
                      <a16:creationId xmlns:a16="http://schemas.microsoft.com/office/drawing/2014/main" id="{CD52EBD5-A195-48C2-8204-3921EFF3C0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flipH="1">
                  <a:off x="1583853" y="3299062"/>
                  <a:ext cx="3079750" cy="1908175"/>
                </a:xfrm>
                <a:custGeom>
                  <a:avLst/>
                  <a:gdLst>
                    <a:gd name="T0" fmla="*/ 299 w 318"/>
                    <a:gd name="T1" fmla="*/ 190 h 197"/>
                    <a:gd name="T2" fmla="*/ 262 w 318"/>
                    <a:gd name="T3" fmla="*/ 1 h 197"/>
                    <a:gd name="T4" fmla="*/ 94 w 318"/>
                    <a:gd name="T5" fmla="*/ 49 h 197"/>
                    <a:gd name="T6" fmla="*/ 272 w 318"/>
                    <a:gd name="T7" fmla="*/ 49 h 197"/>
                    <a:gd name="T8" fmla="*/ 125 w 318"/>
                    <a:gd name="T9" fmla="*/ 158 h 197"/>
                    <a:gd name="T10" fmla="*/ 276 w 318"/>
                    <a:gd name="T11" fmla="*/ 71 h 197"/>
                    <a:gd name="T12" fmla="*/ 132 w 318"/>
                    <a:gd name="T13" fmla="*/ 190 h 197"/>
                    <a:gd name="T14" fmla="*/ 0 w 318"/>
                    <a:gd name="T15" fmla="*/ 190 h 197"/>
                    <a:gd name="T16" fmla="*/ 91 w 318"/>
                    <a:gd name="T17" fmla="*/ 36 h 197"/>
                    <a:gd name="T18" fmla="*/ 88 w 318"/>
                    <a:gd name="T19" fmla="*/ 27 h 197"/>
                    <a:gd name="T20" fmla="*/ 136 w 318"/>
                    <a:gd name="T21" fmla="*/ 197 h 197"/>
                    <a:gd name="T22" fmla="*/ 254 w 318"/>
                    <a:gd name="T23" fmla="*/ 0 h 197"/>
                    <a:gd name="T24" fmla="*/ 297 w 318"/>
                    <a:gd name="T25" fmla="*/ 0 h 197"/>
                    <a:gd name="T26" fmla="*/ 309 w 318"/>
                    <a:gd name="T27" fmla="*/ 27 h 197"/>
                    <a:gd name="T28" fmla="*/ 284 w 318"/>
                    <a:gd name="T29" fmla="*/ 34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18" h="197">
                      <a:moveTo>
                        <a:pt x="299" y="190"/>
                      </a:moveTo>
                      <a:cubicBezTo>
                        <a:pt x="262" y="1"/>
                        <a:pt x="262" y="1"/>
                        <a:pt x="262" y="1"/>
                      </a:cubicBezTo>
                      <a:moveTo>
                        <a:pt x="94" y="49"/>
                      </a:moveTo>
                      <a:cubicBezTo>
                        <a:pt x="272" y="49"/>
                        <a:pt x="272" y="49"/>
                        <a:pt x="272" y="49"/>
                      </a:cubicBezTo>
                      <a:moveTo>
                        <a:pt x="125" y="158"/>
                      </a:moveTo>
                      <a:cubicBezTo>
                        <a:pt x="125" y="158"/>
                        <a:pt x="176" y="71"/>
                        <a:pt x="276" y="71"/>
                      </a:cubicBezTo>
                      <a:moveTo>
                        <a:pt x="132" y="190"/>
                      </a:moveTo>
                      <a:cubicBezTo>
                        <a:pt x="0" y="190"/>
                        <a:pt x="0" y="190"/>
                        <a:pt x="0" y="190"/>
                      </a:cubicBezTo>
                      <a:cubicBezTo>
                        <a:pt x="0" y="190"/>
                        <a:pt x="6" y="73"/>
                        <a:pt x="91" y="36"/>
                      </a:cubicBezTo>
                      <a:moveTo>
                        <a:pt x="88" y="27"/>
                      </a:moveTo>
                      <a:cubicBezTo>
                        <a:pt x="136" y="197"/>
                        <a:pt x="136" y="197"/>
                        <a:pt x="136" y="197"/>
                      </a:cubicBezTo>
                      <a:moveTo>
                        <a:pt x="254" y="0"/>
                      </a:moveTo>
                      <a:cubicBezTo>
                        <a:pt x="254" y="0"/>
                        <a:pt x="282" y="0"/>
                        <a:pt x="297" y="0"/>
                      </a:cubicBezTo>
                      <a:cubicBezTo>
                        <a:pt x="313" y="0"/>
                        <a:pt x="318" y="17"/>
                        <a:pt x="309" y="27"/>
                      </a:cubicBezTo>
                      <a:cubicBezTo>
                        <a:pt x="300" y="36"/>
                        <a:pt x="284" y="34"/>
                        <a:pt x="284" y="34"/>
                      </a:cubicBezTo>
                    </a:path>
                  </a:pathLst>
                </a:custGeom>
                <a:noFill/>
                <a:ln w="77788" cap="rnd">
                  <a:solidFill>
                    <a:srgbClr val="3B3E98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4" name="Line 19">
                  <a:extLst>
                    <a:ext uri="{FF2B5EF4-FFF2-40B4-BE49-F238E27FC236}">
                      <a16:creationId xmlns:a16="http://schemas.microsoft.com/office/drawing/2014/main" id="{678F8A3E-D0D9-44E5-AF91-91B057CE70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345978" y="5246924"/>
                  <a:ext cx="1336675" cy="115887"/>
                </a:xfrm>
                <a:prstGeom prst="line">
                  <a:avLst/>
                </a:prstGeom>
                <a:noFill/>
                <a:ln w="39688" cap="flat">
                  <a:solidFill>
                    <a:srgbClr val="09234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5" name="Freeform 20">
                  <a:extLst>
                    <a:ext uri="{FF2B5EF4-FFF2-40B4-BE49-F238E27FC236}">
                      <a16:creationId xmlns:a16="http://schemas.microsoft.com/office/drawing/2014/main" id="{1F4CED9D-EB7F-44FB-9853-CFEA76705B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756891" y="2602149"/>
                  <a:ext cx="1133475" cy="793750"/>
                </a:xfrm>
                <a:custGeom>
                  <a:avLst/>
                  <a:gdLst>
                    <a:gd name="T0" fmla="*/ 12 w 117"/>
                    <a:gd name="T1" fmla="*/ 0 h 82"/>
                    <a:gd name="T2" fmla="*/ 35 w 117"/>
                    <a:gd name="T3" fmla="*/ 17 h 82"/>
                    <a:gd name="T4" fmla="*/ 112 w 117"/>
                    <a:gd name="T5" fmla="*/ 64 h 82"/>
                    <a:gd name="T6" fmla="*/ 112 w 117"/>
                    <a:gd name="T7" fmla="*/ 81 h 82"/>
                    <a:gd name="T8" fmla="*/ 97 w 117"/>
                    <a:gd name="T9" fmla="*/ 66 h 82"/>
                    <a:gd name="T10" fmla="*/ 0 w 117"/>
                    <a:gd name="T11" fmla="*/ 14 h 82"/>
                    <a:gd name="T12" fmla="*/ 12 w 117"/>
                    <a:gd name="T13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7" h="82">
                      <a:moveTo>
                        <a:pt x="12" y="0"/>
                      </a:move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5" y="17"/>
                        <a:pt x="107" y="56"/>
                        <a:pt x="112" y="64"/>
                      </a:cubicBezTo>
                      <a:cubicBezTo>
                        <a:pt x="117" y="72"/>
                        <a:pt x="115" y="82"/>
                        <a:pt x="112" y="81"/>
                      </a:cubicBezTo>
                      <a:cubicBezTo>
                        <a:pt x="109" y="81"/>
                        <a:pt x="97" y="66"/>
                        <a:pt x="97" y="66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12" y="0"/>
                        <a:pt x="12" y="0"/>
                        <a:pt x="12" y="0"/>
                      </a:cubicBezTo>
                      <a:close/>
                    </a:path>
                  </a:pathLst>
                </a:custGeom>
                <a:solidFill>
                  <a:srgbClr val="FBB89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6" name="Freeform 22">
                  <a:extLst>
                    <a:ext uri="{FF2B5EF4-FFF2-40B4-BE49-F238E27FC236}">
                      <a16:creationId xmlns:a16="http://schemas.microsoft.com/office/drawing/2014/main" id="{66F80841-5B51-4B1C-8379-9F5C2671A5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987203" y="4937362"/>
                  <a:ext cx="474663" cy="531812"/>
                </a:xfrm>
                <a:custGeom>
                  <a:avLst/>
                  <a:gdLst>
                    <a:gd name="T0" fmla="*/ 0 w 49"/>
                    <a:gd name="T1" fmla="*/ 5 h 55"/>
                    <a:gd name="T2" fmla="*/ 12 w 49"/>
                    <a:gd name="T3" fmla="*/ 53 h 55"/>
                    <a:gd name="T4" fmla="*/ 47 w 49"/>
                    <a:gd name="T5" fmla="*/ 32 h 55"/>
                    <a:gd name="T6" fmla="*/ 26 w 49"/>
                    <a:gd name="T7" fmla="*/ 36 h 55"/>
                    <a:gd name="T8" fmla="*/ 16 w 49"/>
                    <a:gd name="T9" fmla="*/ 0 h 55"/>
                    <a:gd name="T10" fmla="*/ 0 w 49"/>
                    <a:gd name="T11" fmla="*/ 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9" h="55">
                      <a:moveTo>
                        <a:pt x="0" y="5"/>
                      </a:moveTo>
                      <a:cubicBezTo>
                        <a:pt x="0" y="5"/>
                        <a:pt x="9" y="51"/>
                        <a:pt x="12" y="53"/>
                      </a:cubicBezTo>
                      <a:cubicBezTo>
                        <a:pt x="16" y="55"/>
                        <a:pt x="49" y="35"/>
                        <a:pt x="47" y="32"/>
                      </a:cubicBezTo>
                      <a:cubicBezTo>
                        <a:pt x="46" y="30"/>
                        <a:pt x="31" y="39"/>
                        <a:pt x="26" y="36"/>
                      </a:cubicBezTo>
                      <a:cubicBezTo>
                        <a:pt x="20" y="32"/>
                        <a:pt x="16" y="0"/>
                        <a:pt x="16" y="0"/>
                      </a:cubicBezTo>
                      <a:cubicBezTo>
                        <a:pt x="0" y="5"/>
                        <a:pt x="0" y="5"/>
                        <a:pt x="0" y="5"/>
                      </a:cubicBezTo>
                      <a:close/>
                    </a:path>
                  </a:pathLst>
                </a:custGeom>
                <a:solidFill>
                  <a:srgbClr val="B2220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7" name="Freeform 23">
                  <a:extLst>
                    <a:ext uri="{FF2B5EF4-FFF2-40B4-BE49-F238E27FC236}">
                      <a16:creationId xmlns:a16="http://schemas.microsoft.com/office/drawing/2014/main" id="{4B801DCD-E9AE-4430-8AD1-7B9DD687B4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696690" y="1952862"/>
                  <a:ext cx="427038" cy="427037"/>
                </a:xfrm>
                <a:custGeom>
                  <a:avLst/>
                  <a:gdLst>
                    <a:gd name="T0" fmla="*/ 35 w 44"/>
                    <a:gd name="T1" fmla="*/ 0 h 44"/>
                    <a:gd name="T2" fmla="*/ 40 w 44"/>
                    <a:gd name="T3" fmla="*/ 37 h 44"/>
                    <a:gd name="T4" fmla="*/ 22 w 44"/>
                    <a:gd name="T5" fmla="*/ 39 h 44"/>
                    <a:gd name="T6" fmla="*/ 14 w 44"/>
                    <a:gd name="T7" fmla="*/ 44 h 44"/>
                    <a:gd name="T8" fmla="*/ 0 w 44"/>
                    <a:gd name="T9" fmla="*/ 39 h 44"/>
                    <a:gd name="T10" fmla="*/ 7 w 44"/>
                    <a:gd name="T11" fmla="*/ 26 h 44"/>
                    <a:gd name="T12" fmla="*/ 6 w 44"/>
                    <a:gd name="T13" fmla="*/ 16 h 44"/>
                    <a:gd name="T14" fmla="*/ 14 w 44"/>
                    <a:gd name="T15" fmla="*/ 17 h 44"/>
                    <a:gd name="T16" fmla="*/ 14 w 44"/>
                    <a:gd name="T17" fmla="*/ 2 h 44"/>
                    <a:gd name="T18" fmla="*/ 35 w 44"/>
                    <a:gd name="T1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4" h="44">
                      <a:moveTo>
                        <a:pt x="35" y="0"/>
                      </a:moveTo>
                      <a:cubicBezTo>
                        <a:pt x="35" y="0"/>
                        <a:pt x="44" y="32"/>
                        <a:pt x="40" y="37"/>
                      </a:cubicBezTo>
                      <a:cubicBezTo>
                        <a:pt x="35" y="42"/>
                        <a:pt x="27" y="38"/>
                        <a:pt x="22" y="39"/>
                      </a:cubicBezTo>
                      <a:cubicBezTo>
                        <a:pt x="17" y="39"/>
                        <a:pt x="14" y="44"/>
                        <a:pt x="14" y="44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7" y="26"/>
                        <a:pt x="7" y="26"/>
                        <a:pt x="7" y="26"/>
                      </a:cubicBezTo>
                      <a:cubicBezTo>
                        <a:pt x="7" y="26"/>
                        <a:pt x="3" y="18"/>
                        <a:pt x="6" y="16"/>
                      </a:cubicBezTo>
                      <a:cubicBezTo>
                        <a:pt x="10" y="15"/>
                        <a:pt x="14" y="17"/>
                        <a:pt x="14" y="17"/>
                      </a:cubicBezTo>
                      <a:cubicBezTo>
                        <a:pt x="14" y="2"/>
                        <a:pt x="14" y="2"/>
                        <a:pt x="14" y="2"/>
                      </a:cubicBezTo>
                      <a:cubicBezTo>
                        <a:pt x="35" y="0"/>
                        <a:pt x="35" y="0"/>
                        <a:pt x="35" y="0"/>
                      </a:cubicBezTo>
                      <a:close/>
                    </a:path>
                  </a:pathLst>
                </a:custGeom>
                <a:solidFill>
                  <a:srgbClr val="FBB89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8" name="Freeform 24">
                  <a:extLst>
                    <a:ext uri="{FF2B5EF4-FFF2-40B4-BE49-F238E27FC236}">
                      <a16:creationId xmlns:a16="http://schemas.microsoft.com/office/drawing/2014/main" id="{BB24D549-64EE-42FC-8D5F-7CCFB3CD85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920528" y="1992549"/>
                  <a:ext cx="212725" cy="338137"/>
                </a:xfrm>
                <a:custGeom>
                  <a:avLst/>
                  <a:gdLst>
                    <a:gd name="T0" fmla="*/ 1 w 22"/>
                    <a:gd name="T1" fmla="*/ 2 h 35"/>
                    <a:gd name="T2" fmla="*/ 7 w 22"/>
                    <a:gd name="T3" fmla="*/ 28 h 35"/>
                    <a:gd name="T4" fmla="*/ 22 w 22"/>
                    <a:gd name="T5" fmla="*/ 0 h 35"/>
                    <a:gd name="T6" fmla="*/ 1 w 22"/>
                    <a:gd name="T7" fmla="*/ 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35">
                      <a:moveTo>
                        <a:pt x="1" y="2"/>
                      </a:moveTo>
                      <a:cubicBezTo>
                        <a:pt x="1" y="2"/>
                        <a:pt x="0" y="22"/>
                        <a:pt x="7" y="28"/>
                      </a:cubicBezTo>
                      <a:cubicBezTo>
                        <a:pt x="13" y="35"/>
                        <a:pt x="22" y="0"/>
                        <a:pt x="22" y="0"/>
                      </a:cubicBezTo>
                      <a:cubicBezTo>
                        <a:pt x="1" y="2"/>
                        <a:pt x="1" y="2"/>
                        <a:pt x="1" y="2"/>
                      </a:cubicBezTo>
                      <a:close/>
                    </a:path>
                  </a:pathLst>
                </a:custGeom>
                <a:solidFill>
                  <a:srgbClr val="3B3E9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9" name="Freeform 26">
                  <a:extLst>
                    <a:ext uri="{FF2B5EF4-FFF2-40B4-BE49-F238E27FC236}">
                      <a16:creationId xmlns:a16="http://schemas.microsoft.com/office/drawing/2014/main" id="{F952A4C9-4DEE-40E2-A3C9-9E19200898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590328" y="1817924"/>
                  <a:ext cx="611188" cy="212725"/>
                </a:xfrm>
                <a:custGeom>
                  <a:avLst/>
                  <a:gdLst>
                    <a:gd name="T0" fmla="*/ 9 w 63"/>
                    <a:gd name="T1" fmla="*/ 22 h 22"/>
                    <a:gd name="T2" fmla="*/ 63 w 63"/>
                    <a:gd name="T3" fmla="*/ 22 h 22"/>
                    <a:gd name="T4" fmla="*/ 39 w 63"/>
                    <a:gd name="T5" fmla="*/ 3 h 22"/>
                    <a:gd name="T6" fmla="*/ 5 w 63"/>
                    <a:gd name="T7" fmla="*/ 19 h 22"/>
                    <a:gd name="T8" fmla="*/ 9 w 63"/>
                    <a:gd name="T9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22">
                      <a:moveTo>
                        <a:pt x="9" y="22"/>
                      </a:moveTo>
                      <a:cubicBezTo>
                        <a:pt x="63" y="22"/>
                        <a:pt x="63" y="22"/>
                        <a:pt x="63" y="22"/>
                      </a:cubicBezTo>
                      <a:cubicBezTo>
                        <a:pt x="63" y="22"/>
                        <a:pt x="54" y="7"/>
                        <a:pt x="39" y="3"/>
                      </a:cubicBezTo>
                      <a:cubicBezTo>
                        <a:pt x="26" y="0"/>
                        <a:pt x="0" y="1"/>
                        <a:pt x="5" y="19"/>
                      </a:cubicBezTo>
                      <a:cubicBezTo>
                        <a:pt x="5" y="20"/>
                        <a:pt x="7" y="22"/>
                        <a:pt x="9" y="22"/>
                      </a:cubicBezTo>
                      <a:close/>
                    </a:path>
                  </a:pathLst>
                </a:custGeom>
                <a:solidFill>
                  <a:srgbClr val="EDCC4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0" name="Freeform 21">
                  <a:extLst>
                    <a:ext uri="{FF2B5EF4-FFF2-40B4-BE49-F238E27FC236}">
                      <a16:creationId xmlns:a16="http://schemas.microsoft.com/office/drawing/2014/main" id="{D78D0D2B-09E3-4E31-9594-F0B2E74E41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3277715" y="2892662"/>
                  <a:ext cx="833438" cy="2141537"/>
                </a:xfrm>
                <a:custGeom>
                  <a:avLst/>
                  <a:gdLst>
                    <a:gd name="T0" fmla="*/ 10 w 86"/>
                    <a:gd name="T1" fmla="*/ 0 h 221"/>
                    <a:gd name="T2" fmla="*/ 66 w 86"/>
                    <a:gd name="T3" fmla="*/ 221 h 221"/>
                    <a:gd name="T4" fmla="*/ 86 w 86"/>
                    <a:gd name="T5" fmla="*/ 216 h 221"/>
                    <a:gd name="T6" fmla="*/ 56 w 86"/>
                    <a:gd name="T7" fmla="*/ 19 h 221"/>
                    <a:gd name="T8" fmla="*/ 10 w 86"/>
                    <a:gd name="T9" fmla="*/ 0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221">
                      <a:moveTo>
                        <a:pt x="10" y="0"/>
                      </a:moveTo>
                      <a:cubicBezTo>
                        <a:pt x="0" y="21"/>
                        <a:pt x="66" y="221"/>
                        <a:pt x="66" y="221"/>
                      </a:cubicBezTo>
                      <a:cubicBezTo>
                        <a:pt x="86" y="216"/>
                        <a:pt x="86" y="216"/>
                        <a:pt x="86" y="216"/>
                      </a:cubicBezTo>
                      <a:cubicBezTo>
                        <a:pt x="56" y="19"/>
                        <a:pt x="56" y="19"/>
                        <a:pt x="56" y="19"/>
                      </a:cubicBezTo>
                      <a:cubicBezTo>
                        <a:pt x="10" y="0"/>
                        <a:pt x="10" y="0"/>
                        <a:pt x="10" y="0"/>
                      </a:cubicBezTo>
                      <a:close/>
                    </a:path>
                  </a:pathLst>
                </a:custGeom>
                <a:solidFill>
                  <a:srgbClr val="EDCC4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1" name="Freeform 25">
                  <a:extLst>
                    <a:ext uri="{FF2B5EF4-FFF2-40B4-BE49-F238E27FC236}">
                      <a16:creationId xmlns:a16="http://schemas.microsoft.com/office/drawing/2014/main" id="{649F5686-4ADA-4464-B942-93EA3A145E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2552228" y="2186224"/>
                  <a:ext cx="1501775" cy="1025525"/>
                </a:xfrm>
                <a:custGeom>
                  <a:avLst/>
                  <a:gdLst>
                    <a:gd name="T0" fmla="*/ 0 w 155"/>
                    <a:gd name="T1" fmla="*/ 80 h 106"/>
                    <a:gd name="T2" fmla="*/ 60 w 155"/>
                    <a:gd name="T3" fmla="*/ 102 h 106"/>
                    <a:gd name="T4" fmla="*/ 107 w 155"/>
                    <a:gd name="T5" fmla="*/ 58 h 106"/>
                    <a:gd name="T6" fmla="*/ 134 w 155"/>
                    <a:gd name="T7" fmla="*/ 73 h 106"/>
                    <a:gd name="T8" fmla="*/ 155 w 155"/>
                    <a:gd name="T9" fmla="*/ 54 h 106"/>
                    <a:gd name="T10" fmla="*/ 99 w 155"/>
                    <a:gd name="T11" fmla="*/ 10 h 106"/>
                    <a:gd name="T12" fmla="*/ 40 w 155"/>
                    <a:gd name="T13" fmla="*/ 34 h 106"/>
                    <a:gd name="T14" fmla="*/ 0 w 155"/>
                    <a:gd name="T15" fmla="*/ 8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5" h="106">
                      <a:moveTo>
                        <a:pt x="0" y="80"/>
                      </a:moveTo>
                      <a:cubicBezTo>
                        <a:pt x="0" y="80"/>
                        <a:pt x="41" y="106"/>
                        <a:pt x="60" y="102"/>
                      </a:cubicBezTo>
                      <a:cubicBezTo>
                        <a:pt x="79" y="97"/>
                        <a:pt x="78" y="71"/>
                        <a:pt x="107" y="58"/>
                      </a:cubicBezTo>
                      <a:cubicBezTo>
                        <a:pt x="134" y="73"/>
                        <a:pt x="134" y="73"/>
                        <a:pt x="134" y="73"/>
                      </a:cubicBezTo>
                      <a:cubicBezTo>
                        <a:pt x="155" y="54"/>
                        <a:pt x="155" y="54"/>
                        <a:pt x="155" y="54"/>
                      </a:cubicBezTo>
                      <a:cubicBezTo>
                        <a:pt x="155" y="54"/>
                        <a:pt x="123" y="20"/>
                        <a:pt x="99" y="10"/>
                      </a:cubicBezTo>
                      <a:cubicBezTo>
                        <a:pt x="75" y="0"/>
                        <a:pt x="63" y="14"/>
                        <a:pt x="40" y="34"/>
                      </a:cubicBezTo>
                      <a:cubicBezTo>
                        <a:pt x="16" y="54"/>
                        <a:pt x="0" y="80"/>
                        <a:pt x="0" y="80"/>
                      </a:cubicBezTo>
                      <a:close/>
                    </a:path>
                  </a:pathLst>
                </a:custGeom>
                <a:solidFill>
                  <a:srgbClr val="F1604D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98" name="Group 597">
                <a:extLst>
                  <a:ext uri="{FF2B5EF4-FFF2-40B4-BE49-F238E27FC236}">
                    <a16:creationId xmlns:a16="http://schemas.microsoft.com/office/drawing/2014/main" id="{50768C63-37E0-422D-AD75-F3F93DB9F631}"/>
                  </a:ext>
                </a:extLst>
              </p:cNvPr>
              <p:cNvGrpSpPr/>
              <p:nvPr/>
            </p:nvGrpSpPr>
            <p:grpSpPr>
              <a:xfrm rot="932970">
                <a:off x="3258430" y="5046223"/>
                <a:ext cx="67162" cy="204898"/>
                <a:chOff x="3278816" y="5051890"/>
                <a:chExt cx="107809" cy="204898"/>
              </a:xfrm>
            </p:grpSpPr>
            <p:sp>
              <p:nvSpPr>
                <p:cNvPr id="599" name="Rectangle: Rounded Corners 598">
                  <a:extLst>
                    <a:ext uri="{FF2B5EF4-FFF2-40B4-BE49-F238E27FC236}">
                      <a16:creationId xmlns:a16="http://schemas.microsoft.com/office/drawing/2014/main" id="{5005621B-EFF3-4D5D-B546-15FEAD1B0A20}"/>
                    </a:ext>
                  </a:extLst>
                </p:cNvPr>
                <p:cNvSpPr/>
                <p:nvPr/>
              </p:nvSpPr>
              <p:spPr>
                <a:xfrm>
                  <a:off x="3278816" y="5051890"/>
                  <a:ext cx="107809" cy="1938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0" name="Rectangle: Rounded Corners 599">
                  <a:extLst>
                    <a:ext uri="{FF2B5EF4-FFF2-40B4-BE49-F238E27FC236}">
                      <a16:creationId xmlns:a16="http://schemas.microsoft.com/office/drawing/2014/main" id="{A604DD7F-A18E-4DDC-BDA6-45821C253D68}"/>
                    </a:ext>
                  </a:extLst>
                </p:cNvPr>
                <p:cNvSpPr/>
                <p:nvPr/>
              </p:nvSpPr>
              <p:spPr>
                <a:xfrm>
                  <a:off x="3278816" y="5113726"/>
                  <a:ext cx="107809" cy="1938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1" name="Rectangle: Rounded Corners 600">
                  <a:extLst>
                    <a:ext uri="{FF2B5EF4-FFF2-40B4-BE49-F238E27FC236}">
                      <a16:creationId xmlns:a16="http://schemas.microsoft.com/office/drawing/2014/main" id="{635960E4-52D4-4394-8F92-7DE579148801}"/>
                    </a:ext>
                  </a:extLst>
                </p:cNvPr>
                <p:cNvSpPr/>
                <p:nvPr/>
              </p:nvSpPr>
              <p:spPr>
                <a:xfrm>
                  <a:off x="3278816" y="5175562"/>
                  <a:ext cx="107809" cy="1938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2" name="Rectangle: Rounded Corners 601">
                  <a:extLst>
                    <a:ext uri="{FF2B5EF4-FFF2-40B4-BE49-F238E27FC236}">
                      <a16:creationId xmlns:a16="http://schemas.microsoft.com/office/drawing/2014/main" id="{73B506F8-DA8E-41C3-ABF5-53AC6FAC7E04}"/>
                    </a:ext>
                  </a:extLst>
                </p:cNvPr>
                <p:cNvSpPr/>
                <p:nvPr/>
              </p:nvSpPr>
              <p:spPr>
                <a:xfrm>
                  <a:off x="3278816" y="5237399"/>
                  <a:ext cx="107809" cy="1938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462BB70-7B29-48B4-B720-2844DC9F27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3669" t="4262" r="11423" b="7345"/>
            <a:stretch/>
          </p:blipFill>
          <p:spPr>
            <a:xfrm>
              <a:off x="7935444" y="3831162"/>
              <a:ext cx="875161" cy="89502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7" name="TextBox 226">
              <a:extLst>
                <a:ext uri="{FF2B5EF4-FFF2-40B4-BE49-F238E27FC236}">
                  <a16:creationId xmlns:a16="http://schemas.microsoft.com/office/drawing/2014/main" id="{3E25E05E-5360-47EA-AE80-9A21777B20CB}"/>
                </a:ext>
              </a:extLst>
            </p:cNvPr>
            <p:cNvSpPr txBox="1"/>
            <p:nvPr/>
          </p:nvSpPr>
          <p:spPr>
            <a:xfrm>
              <a:off x="7492144" y="3180010"/>
              <a:ext cx="17617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Jordan Kopper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0DBC51E-036B-42A3-AD53-AB78B0B600C4}"/>
              </a:ext>
            </a:extLst>
          </p:cNvPr>
          <p:cNvGrpSpPr/>
          <p:nvPr/>
        </p:nvGrpSpPr>
        <p:grpSpPr>
          <a:xfrm>
            <a:off x="9753767" y="3181037"/>
            <a:ext cx="2353189" cy="3324042"/>
            <a:chOff x="9753767" y="3181037"/>
            <a:chExt cx="2353189" cy="3324042"/>
          </a:xfrm>
        </p:grpSpPr>
        <p:grpSp>
          <p:nvGrpSpPr>
            <p:cNvPr id="650" name="Group 649">
              <a:extLst>
                <a:ext uri="{FF2B5EF4-FFF2-40B4-BE49-F238E27FC236}">
                  <a16:creationId xmlns:a16="http://schemas.microsoft.com/office/drawing/2014/main" id="{151F2983-D071-405C-B624-2E2D1267A1AA}"/>
                </a:ext>
              </a:extLst>
            </p:cNvPr>
            <p:cNvGrpSpPr/>
            <p:nvPr/>
          </p:nvGrpSpPr>
          <p:grpSpPr>
            <a:xfrm>
              <a:off x="9809068" y="4213190"/>
              <a:ext cx="2297888" cy="2291889"/>
              <a:chOff x="1776865" y="3679825"/>
              <a:chExt cx="3143252" cy="2676525"/>
            </a:xfrm>
          </p:grpSpPr>
          <p:sp>
            <p:nvSpPr>
              <p:cNvPr id="651" name="Freeform 33">
                <a:extLst>
                  <a:ext uri="{FF2B5EF4-FFF2-40B4-BE49-F238E27FC236}">
                    <a16:creationId xmlns:a16="http://schemas.microsoft.com/office/drawing/2014/main" id="{4828D803-996B-4C0A-9A06-F7BA275E2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0241" y="5624513"/>
                <a:ext cx="133350" cy="255588"/>
              </a:xfrm>
              <a:custGeom>
                <a:avLst/>
                <a:gdLst>
                  <a:gd name="T0" fmla="*/ 84 w 84"/>
                  <a:gd name="T1" fmla="*/ 15 h 161"/>
                  <a:gd name="T2" fmla="*/ 78 w 84"/>
                  <a:gd name="T3" fmla="*/ 0 h 161"/>
                  <a:gd name="T4" fmla="*/ 0 w 84"/>
                  <a:gd name="T5" fmla="*/ 28 h 161"/>
                  <a:gd name="T6" fmla="*/ 5 w 84"/>
                  <a:gd name="T7" fmla="*/ 43 h 161"/>
                  <a:gd name="T8" fmla="*/ 13 w 84"/>
                  <a:gd name="T9" fmla="*/ 39 h 161"/>
                  <a:gd name="T10" fmla="*/ 43 w 84"/>
                  <a:gd name="T11" fmla="*/ 161 h 161"/>
                  <a:gd name="T12" fmla="*/ 58 w 84"/>
                  <a:gd name="T13" fmla="*/ 159 h 161"/>
                  <a:gd name="T14" fmla="*/ 28 w 84"/>
                  <a:gd name="T15" fmla="*/ 35 h 161"/>
                  <a:gd name="T16" fmla="*/ 84 w 84"/>
                  <a:gd name="T17" fmla="*/ 1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" h="161">
                    <a:moveTo>
                      <a:pt x="84" y="15"/>
                    </a:moveTo>
                    <a:lnTo>
                      <a:pt x="78" y="0"/>
                    </a:lnTo>
                    <a:lnTo>
                      <a:pt x="0" y="28"/>
                    </a:lnTo>
                    <a:lnTo>
                      <a:pt x="5" y="43"/>
                    </a:lnTo>
                    <a:lnTo>
                      <a:pt x="13" y="39"/>
                    </a:lnTo>
                    <a:lnTo>
                      <a:pt x="43" y="161"/>
                    </a:lnTo>
                    <a:lnTo>
                      <a:pt x="58" y="159"/>
                    </a:lnTo>
                    <a:lnTo>
                      <a:pt x="28" y="35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3B28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34">
                <a:extLst>
                  <a:ext uri="{FF2B5EF4-FFF2-40B4-BE49-F238E27FC236}">
                    <a16:creationId xmlns:a16="http://schemas.microsoft.com/office/drawing/2014/main" id="{28547ADF-91C7-4F7A-8808-20308360A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9204" y="4189413"/>
                <a:ext cx="58738" cy="160338"/>
              </a:xfrm>
              <a:custGeom>
                <a:avLst/>
                <a:gdLst>
                  <a:gd name="T0" fmla="*/ 15 w 17"/>
                  <a:gd name="T1" fmla="*/ 47 h 47"/>
                  <a:gd name="T2" fmla="*/ 0 w 17"/>
                  <a:gd name="T3" fmla="*/ 0 h 47"/>
                  <a:gd name="T4" fmla="*/ 3 w 17"/>
                  <a:gd name="T5" fmla="*/ 0 h 47"/>
                  <a:gd name="T6" fmla="*/ 17 w 17"/>
                  <a:gd name="T7" fmla="*/ 45 h 47"/>
                  <a:gd name="T8" fmla="*/ 15 w 17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47">
                    <a:moveTo>
                      <a:pt x="15" y="47"/>
                    </a:moveTo>
                    <a:cubicBezTo>
                      <a:pt x="6" y="39"/>
                      <a:pt x="0" y="2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9" y="38"/>
                      <a:pt x="17" y="45"/>
                    </a:cubicBezTo>
                    <a:lnTo>
                      <a:pt x="15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35">
                <a:extLst>
                  <a:ext uri="{FF2B5EF4-FFF2-40B4-BE49-F238E27FC236}">
                    <a16:creationId xmlns:a16="http://schemas.microsoft.com/office/drawing/2014/main" id="{3936278E-A9E4-4EC6-8C0C-3871392D4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516" y="4743450"/>
                <a:ext cx="523875" cy="915988"/>
              </a:xfrm>
              <a:custGeom>
                <a:avLst/>
                <a:gdLst>
                  <a:gd name="T0" fmla="*/ 56 w 154"/>
                  <a:gd name="T1" fmla="*/ 0 h 269"/>
                  <a:gd name="T2" fmla="*/ 0 w 154"/>
                  <a:gd name="T3" fmla="*/ 39 h 269"/>
                  <a:gd name="T4" fmla="*/ 124 w 154"/>
                  <a:gd name="T5" fmla="*/ 215 h 269"/>
                  <a:gd name="T6" fmla="*/ 110 w 154"/>
                  <a:gd name="T7" fmla="*/ 251 h 269"/>
                  <a:gd name="T8" fmla="*/ 103 w 154"/>
                  <a:gd name="T9" fmla="*/ 269 h 269"/>
                  <a:gd name="T10" fmla="*/ 144 w 154"/>
                  <a:gd name="T11" fmla="*/ 261 h 269"/>
                  <a:gd name="T12" fmla="*/ 154 w 154"/>
                  <a:gd name="T13" fmla="*/ 221 h 269"/>
                  <a:gd name="T14" fmla="*/ 154 w 154"/>
                  <a:gd name="T15" fmla="*/ 191 h 269"/>
                  <a:gd name="T16" fmla="*/ 137 w 154"/>
                  <a:gd name="T17" fmla="*/ 183 h 269"/>
                  <a:gd name="T18" fmla="*/ 97 w 154"/>
                  <a:gd name="T19" fmla="*/ 88 h 269"/>
                  <a:gd name="T20" fmla="*/ 56 w 154"/>
                  <a:gd name="T21" fmla="*/ 50 h 269"/>
                  <a:gd name="T22" fmla="*/ 97 w 154"/>
                  <a:gd name="T23" fmla="*/ 33 h 269"/>
                  <a:gd name="T24" fmla="*/ 56 w 154"/>
                  <a:gd name="T25" fmla="*/ 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" h="269">
                    <a:moveTo>
                      <a:pt x="56" y="0"/>
                    </a:moveTo>
                    <a:cubicBezTo>
                      <a:pt x="56" y="0"/>
                      <a:pt x="0" y="24"/>
                      <a:pt x="0" y="39"/>
                    </a:cubicBezTo>
                    <a:cubicBezTo>
                      <a:pt x="0" y="54"/>
                      <a:pt x="124" y="215"/>
                      <a:pt x="124" y="215"/>
                    </a:cubicBezTo>
                    <a:cubicBezTo>
                      <a:pt x="124" y="215"/>
                      <a:pt x="131" y="242"/>
                      <a:pt x="110" y="251"/>
                    </a:cubicBezTo>
                    <a:cubicBezTo>
                      <a:pt x="89" y="259"/>
                      <a:pt x="103" y="269"/>
                      <a:pt x="103" y="269"/>
                    </a:cubicBezTo>
                    <a:cubicBezTo>
                      <a:pt x="144" y="261"/>
                      <a:pt x="144" y="261"/>
                      <a:pt x="144" y="261"/>
                    </a:cubicBezTo>
                    <a:cubicBezTo>
                      <a:pt x="154" y="221"/>
                      <a:pt x="154" y="221"/>
                      <a:pt x="154" y="221"/>
                    </a:cubicBezTo>
                    <a:cubicBezTo>
                      <a:pt x="154" y="191"/>
                      <a:pt x="154" y="191"/>
                      <a:pt x="154" y="191"/>
                    </a:cubicBezTo>
                    <a:cubicBezTo>
                      <a:pt x="137" y="183"/>
                      <a:pt x="137" y="183"/>
                      <a:pt x="137" y="183"/>
                    </a:cubicBezTo>
                    <a:cubicBezTo>
                      <a:pt x="137" y="183"/>
                      <a:pt x="105" y="120"/>
                      <a:pt x="97" y="88"/>
                    </a:cubicBezTo>
                    <a:cubicBezTo>
                      <a:pt x="89" y="55"/>
                      <a:pt x="56" y="50"/>
                      <a:pt x="56" y="50"/>
                    </a:cubicBezTo>
                    <a:cubicBezTo>
                      <a:pt x="97" y="33"/>
                      <a:pt x="97" y="33"/>
                      <a:pt x="97" y="33"/>
                    </a:cubicBez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AA0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36">
                <a:extLst>
                  <a:ext uri="{FF2B5EF4-FFF2-40B4-BE49-F238E27FC236}">
                    <a16:creationId xmlns:a16="http://schemas.microsoft.com/office/drawing/2014/main" id="{371F3D7E-89F7-4720-9736-4B858795A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454" y="5353050"/>
                <a:ext cx="354013" cy="342900"/>
              </a:xfrm>
              <a:custGeom>
                <a:avLst/>
                <a:gdLst>
                  <a:gd name="T0" fmla="*/ 104 w 104"/>
                  <a:gd name="T1" fmla="*/ 32 h 101"/>
                  <a:gd name="T2" fmla="*/ 77 w 104"/>
                  <a:gd name="T3" fmla="*/ 57 h 101"/>
                  <a:gd name="T4" fmla="*/ 43 w 104"/>
                  <a:gd name="T5" fmla="*/ 90 h 101"/>
                  <a:gd name="T6" fmla="*/ 3 w 104"/>
                  <a:gd name="T7" fmla="*/ 95 h 101"/>
                  <a:gd name="T8" fmla="*/ 25 w 104"/>
                  <a:gd name="T9" fmla="*/ 60 h 101"/>
                  <a:gd name="T10" fmla="*/ 38 w 104"/>
                  <a:gd name="T11" fmla="*/ 16 h 101"/>
                  <a:gd name="T12" fmla="*/ 62 w 104"/>
                  <a:gd name="T13" fmla="*/ 0 h 101"/>
                  <a:gd name="T14" fmla="*/ 104 w 104"/>
                  <a:gd name="T15" fmla="*/ 3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4" h="101">
                    <a:moveTo>
                      <a:pt x="104" y="32"/>
                    </a:moveTo>
                    <a:cubicBezTo>
                      <a:pt x="104" y="32"/>
                      <a:pt x="88" y="47"/>
                      <a:pt x="77" y="57"/>
                    </a:cubicBezTo>
                    <a:cubicBezTo>
                      <a:pt x="66" y="67"/>
                      <a:pt x="49" y="85"/>
                      <a:pt x="43" y="90"/>
                    </a:cubicBezTo>
                    <a:cubicBezTo>
                      <a:pt x="38" y="95"/>
                      <a:pt x="6" y="101"/>
                      <a:pt x="3" y="95"/>
                    </a:cubicBezTo>
                    <a:cubicBezTo>
                      <a:pt x="0" y="90"/>
                      <a:pt x="20" y="74"/>
                      <a:pt x="25" y="60"/>
                    </a:cubicBezTo>
                    <a:cubicBezTo>
                      <a:pt x="30" y="47"/>
                      <a:pt x="33" y="15"/>
                      <a:pt x="38" y="16"/>
                    </a:cubicBezTo>
                    <a:cubicBezTo>
                      <a:pt x="43" y="16"/>
                      <a:pt x="56" y="0"/>
                      <a:pt x="62" y="0"/>
                    </a:cubicBezTo>
                    <a:cubicBezTo>
                      <a:pt x="69" y="1"/>
                      <a:pt x="104" y="27"/>
                      <a:pt x="104" y="32"/>
                    </a:cubicBezTo>
                    <a:close/>
                  </a:path>
                </a:pathLst>
              </a:custGeom>
              <a:solidFill>
                <a:srgbClr val="7274C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37">
                <a:extLst>
                  <a:ext uri="{FF2B5EF4-FFF2-40B4-BE49-F238E27FC236}">
                    <a16:creationId xmlns:a16="http://schemas.microsoft.com/office/drawing/2014/main" id="{5A5FB703-C2A8-44ED-91AB-4FBAEC1AA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6904" y="5448300"/>
                <a:ext cx="273050" cy="217488"/>
              </a:xfrm>
              <a:custGeom>
                <a:avLst/>
                <a:gdLst>
                  <a:gd name="T0" fmla="*/ 80 w 80"/>
                  <a:gd name="T1" fmla="*/ 0 h 64"/>
                  <a:gd name="T2" fmla="*/ 0 w 80"/>
                  <a:gd name="T3" fmla="*/ 64 h 64"/>
                  <a:gd name="T4" fmla="*/ 43 w 80"/>
                  <a:gd name="T5" fmla="*/ 36 h 64"/>
                  <a:gd name="T6" fmla="*/ 61 w 80"/>
                  <a:gd name="T7" fmla="*/ 17 h 64"/>
                  <a:gd name="T8" fmla="*/ 80 w 80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64">
                    <a:moveTo>
                      <a:pt x="80" y="0"/>
                    </a:moveTo>
                    <a:cubicBezTo>
                      <a:pt x="29" y="34"/>
                      <a:pt x="54" y="36"/>
                      <a:pt x="0" y="64"/>
                    </a:cubicBezTo>
                    <a:cubicBezTo>
                      <a:pt x="14" y="59"/>
                      <a:pt x="34" y="49"/>
                      <a:pt x="43" y="36"/>
                    </a:cubicBezTo>
                    <a:cubicBezTo>
                      <a:pt x="48" y="29"/>
                      <a:pt x="54" y="23"/>
                      <a:pt x="61" y="17"/>
                    </a:cubicBezTo>
                    <a:cubicBezTo>
                      <a:pt x="67" y="12"/>
                      <a:pt x="74" y="6"/>
                      <a:pt x="80" y="0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38">
                <a:extLst>
                  <a:ext uri="{FF2B5EF4-FFF2-40B4-BE49-F238E27FC236}">
                    <a16:creationId xmlns:a16="http://schemas.microsoft.com/office/drawing/2014/main" id="{087EEB65-4607-4AA1-8F1B-8FA2EC367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704" y="5495925"/>
                <a:ext cx="82550" cy="26988"/>
              </a:xfrm>
              <a:custGeom>
                <a:avLst/>
                <a:gdLst>
                  <a:gd name="T0" fmla="*/ 24 w 24"/>
                  <a:gd name="T1" fmla="*/ 2 h 8"/>
                  <a:gd name="T2" fmla="*/ 22 w 24"/>
                  <a:gd name="T3" fmla="*/ 5 h 8"/>
                  <a:gd name="T4" fmla="*/ 0 w 24"/>
                  <a:gd name="T5" fmla="*/ 8 h 8"/>
                  <a:gd name="T6" fmla="*/ 1 w 24"/>
                  <a:gd name="T7" fmla="*/ 3 h 8"/>
                  <a:gd name="T8" fmla="*/ 22 w 24"/>
                  <a:gd name="T9" fmla="*/ 0 h 8"/>
                  <a:gd name="T10" fmla="*/ 24 w 24"/>
                  <a:gd name="T11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8">
                    <a:moveTo>
                      <a:pt x="24" y="2"/>
                    </a:moveTo>
                    <a:cubicBezTo>
                      <a:pt x="24" y="3"/>
                      <a:pt x="23" y="4"/>
                      <a:pt x="22" y="5"/>
                    </a:cubicBezTo>
                    <a:cubicBezTo>
                      <a:pt x="18" y="5"/>
                      <a:pt x="8" y="6"/>
                      <a:pt x="0" y="8"/>
                    </a:cubicBezTo>
                    <a:cubicBezTo>
                      <a:pt x="0" y="6"/>
                      <a:pt x="1" y="4"/>
                      <a:pt x="1" y="3"/>
                    </a:cubicBezTo>
                    <a:cubicBezTo>
                      <a:pt x="11" y="0"/>
                      <a:pt x="21" y="0"/>
                      <a:pt x="22" y="0"/>
                    </a:cubicBezTo>
                    <a:cubicBezTo>
                      <a:pt x="23" y="0"/>
                      <a:pt x="24" y="1"/>
                      <a:pt x="24" y="2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39">
                <a:extLst>
                  <a:ext uri="{FF2B5EF4-FFF2-40B4-BE49-F238E27FC236}">
                    <a16:creationId xmlns:a16="http://schemas.microsoft.com/office/drawing/2014/main" id="{12BDCEC0-FB94-4C3E-A540-4C187E724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8816" y="5451475"/>
                <a:ext cx="60325" cy="26988"/>
              </a:xfrm>
              <a:custGeom>
                <a:avLst/>
                <a:gdLst>
                  <a:gd name="T0" fmla="*/ 17 w 18"/>
                  <a:gd name="T1" fmla="*/ 6 h 8"/>
                  <a:gd name="T2" fmla="*/ 14 w 18"/>
                  <a:gd name="T3" fmla="*/ 7 h 8"/>
                  <a:gd name="T4" fmla="*/ 0 w 18"/>
                  <a:gd name="T5" fmla="*/ 5 h 8"/>
                  <a:gd name="T6" fmla="*/ 1 w 18"/>
                  <a:gd name="T7" fmla="*/ 0 h 8"/>
                  <a:gd name="T8" fmla="*/ 16 w 18"/>
                  <a:gd name="T9" fmla="*/ 3 h 8"/>
                  <a:gd name="T10" fmla="*/ 17 w 18"/>
                  <a:gd name="T11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8">
                    <a:moveTo>
                      <a:pt x="17" y="6"/>
                    </a:moveTo>
                    <a:cubicBezTo>
                      <a:pt x="17" y="7"/>
                      <a:pt x="16" y="8"/>
                      <a:pt x="14" y="7"/>
                    </a:cubicBezTo>
                    <a:cubicBezTo>
                      <a:pt x="14" y="7"/>
                      <a:pt x="8" y="5"/>
                      <a:pt x="0" y="5"/>
                    </a:cubicBezTo>
                    <a:cubicBezTo>
                      <a:pt x="1" y="3"/>
                      <a:pt x="1" y="2"/>
                      <a:pt x="1" y="0"/>
                    </a:cubicBezTo>
                    <a:cubicBezTo>
                      <a:pt x="9" y="1"/>
                      <a:pt x="15" y="3"/>
                      <a:pt x="16" y="3"/>
                    </a:cubicBezTo>
                    <a:cubicBezTo>
                      <a:pt x="17" y="3"/>
                      <a:pt x="18" y="5"/>
                      <a:pt x="17" y="6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Freeform 40">
                <a:extLst>
                  <a:ext uri="{FF2B5EF4-FFF2-40B4-BE49-F238E27FC236}">
                    <a16:creationId xmlns:a16="http://schemas.microsoft.com/office/drawing/2014/main" id="{7FD352A3-0548-436B-85DE-27C4F98C7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3629" y="3886200"/>
                <a:ext cx="312738" cy="401638"/>
              </a:xfrm>
              <a:custGeom>
                <a:avLst/>
                <a:gdLst>
                  <a:gd name="T0" fmla="*/ 11 w 92"/>
                  <a:gd name="T1" fmla="*/ 10 h 118"/>
                  <a:gd name="T2" fmla="*/ 2 w 92"/>
                  <a:gd name="T3" fmla="*/ 44 h 118"/>
                  <a:gd name="T4" fmla="*/ 17 w 92"/>
                  <a:gd name="T5" fmla="*/ 65 h 118"/>
                  <a:gd name="T6" fmla="*/ 9 w 92"/>
                  <a:gd name="T7" fmla="*/ 85 h 118"/>
                  <a:gd name="T8" fmla="*/ 17 w 92"/>
                  <a:gd name="T9" fmla="*/ 87 h 118"/>
                  <a:gd name="T10" fmla="*/ 18 w 92"/>
                  <a:gd name="T11" fmla="*/ 93 h 118"/>
                  <a:gd name="T12" fmla="*/ 19 w 92"/>
                  <a:gd name="T13" fmla="*/ 97 h 118"/>
                  <a:gd name="T14" fmla="*/ 22 w 92"/>
                  <a:gd name="T15" fmla="*/ 98 h 118"/>
                  <a:gd name="T16" fmla="*/ 26 w 92"/>
                  <a:gd name="T17" fmla="*/ 101 h 118"/>
                  <a:gd name="T18" fmla="*/ 26 w 92"/>
                  <a:gd name="T19" fmla="*/ 104 h 118"/>
                  <a:gd name="T20" fmla="*/ 31 w 92"/>
                  <a:gd name="T21" fmla="*/ 105 h 118"/>
                  <a:gd name="T22" fmla="*/ 35 w 92"/>
                  <a:gd name="T23" fmla="*/ 109 h 118"/>
                  <a:gd name="T24" fmla="*/ 53 w 92"/>
                  <a:gd name="T25" fmla="*/ 114 h 118"/>
                  <a:gd name="T26" fmla="*/ 91 w 92"/>
                  <a:gd name="T27" fmla="*/ 67 h 118"/>
                  <a:gd name="T28" fmla="*/ 71 w 92"/>
                  <a:gd name="T29" fmla="*/ 18 h 118"/>
                  <a:gd name="T30" fmla="*/ 11 w 92"/>
                  <a:gd name="T31" fmla="*/ 1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2" h="118">
                    <a:moveTo>
                      <a:pt x="11" y="10"/>
                    </a:moveTo>
                    <a:cubicBezTo>
                      <a:pt x="10" y="12"/>
                      <a:pt x="0" y="34"/>
                      <a:pt x="2" y="44"/>
                    </a:cubicBezTo>
                    <a:cubicBezTo>
                      <a:pt x="5" y="54"/>
                      <a:pt x="18" y="62"/>
                      <a:pt x="17" y="65"/>
                    </a:cubicBezTo>
                    <a:cubicBezTo>
                      <a:pt x="16" y="69"/>
                      <a:pt x="14" y="79"/>
                      <a:pt x="9" y="85"/>
                    </a:cubicBezTo>
                    <a:cubicBezTo>
                      <a:pt x="9" y="85"/>
                      <a:pt x="10" y="88"/>
                      <a:pt x="17" y="87"/>
                    </a:cubicBezTo>
                    <a:cubicBezTo>
                      <a:pt x="17" y="87"/>
                      <a:pt x="19" y="91"/>
                      <a:pt x="18" y="93"/>
                    </a:cubicBezTo>
                    <a:cubicBezTo>
                      <a:pt x="17" y="96"/>
                      <a:pt x="18" y="97"/>
                      <a:pt x="19" y="97"/>
                    </a:cubicBezTo>
                    <a:cubicBezTo>
                      <a:pt x="20" y="98"/>
                      <a:pt x="22" y="98"/>
                      <a:pt x="22" y="98"/>
                    </a:cubicBezTo>
                    <a:cubicBezTo>
                      <a:pt x="26" y="101"/>
                      <a:pt x="26" y="101"/>
                      <a:pt x="26" y="101"/>
                    </a:cubicBezTo>
                    <a:cubicBezTo>
                      <a:pt x="26" y="101"/>
                      <a:pt x="25" y="102"/>
                      <a:pt x="26" y="104"/>
                    </a:cubicBezTo>
                    <a:cubicBezTo>
                      <a:pt x="28" y="106"/>
                      <a:pt x="31" y="105"/>
                      <a:pt x="31" y="105"/>
                    </a:cubicBezTo>
                    <a:cubicBezTo>
                      <a:pt x="31" y="105"/>
                      <a:pt x="33" y="105"/>
                      <a:pt x="35" y="109"/>
                    </a:cubicBezTo>
                    <a:cubicBezTo>
                      <a:pt x="37" y="112"/>
                      <a:pt x="39" y="118"/>
                      <a:pt x="53" y="114"/>
                    </a:cubicBezTo>
                    <a:cubicBezTo>
                      <a:pt x="63" y="110"/>
                      <a:pt x="90" y="84"/>
                      <a:pt x="91" y="67"/>
                    </a:cubicBezTo>
                    <a:cubicBezTo>
                      <a:pt x="92" y="53"/>
                      <a:pt x="78" y="22"/>
                      <a:pt x="71" y="18"/>
                    </a:cubicBezTo>
                    <a:cubicBezTo>
                      <a:pt x="62" y="12"/>
                      <a:pt x="18" y="0"/>
                      <a:pt x="11" y="1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41">
                <a:extLst>
                  <a:ext uri="{FF2B5EF4-FFF2-40B4-BE49-F238E27FC236}">
                    <a16:creationId xmlns:a16="http://schemas.microsoft.com/office/drawing/2014/main" id="{22DC3C20-B3F5-4145-B8DB-8AC7C0456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8241" y="4206875"/>
                <a:ext cx="30163" cy="23813"/>
              </a:xfrm>
              <a:custGeom>
                <a:avLst/>
                <a:gdLst>
                  <a:gd name="T0" fmla="*/ 9 w 9"/>
                  <a:gd name="T1" fmla="*/ 0 h 7"/>
                  <a:gd name="T2" fmla="*/ 4 w 9"/>
                  <a:gd name="T3" fmla="*/ 7 h 7"/>
                  <a:gd name="T4" fmla="*/ 0 w 9"/>
                  <a:gd name="T5" fmla="*/ 4 h 7"/>
                  <a:gd name="T6" fmla="*/ 9 w 9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9" y="0"/>
                    </a:moveTo>
                    <a:cubicBezTo>
                      <a:pt x="9" y="0"/>
                      <a:pt x="8" y="4"/>
                      <a:pt x="4" y="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7" y="3"/>
                      <a:pt x="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42">
                <a:extLst>
                  <a:ext uri="{FF2B5EF4-FFF2-40B4-BE49-F238E27FC236}">
                    <a16:creationId xmlns:a16="http://schemas.microsoft.com/office/drawing/2014/main" id="{65F21E6B-74AD-45E7-A0D2-9741C5440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991" y="5927725"/>
                <a:ext cx="960438" cy="234950"/>
              </a:xfrm>
              <a:custGeom>
                <a:avLst/>
                <a:gdLst>
                  <a:gd name="T0" fmla="*/ 2 w 605"/>
                  <a:gd name="T1" fmla="*/ 148 h 148"/>
                  <a:gd name="T2" fmla="*/ 0 w 605"/>
                  <a:gd name="T3" fmla="*/ 141 h 148"/>
                  <a:gd name="T4" fmla="*/ 603 w 605"/>
                  <a:gd name="T5" fmla="*/ 0 h 148"/>
                  <a:gd name="T6" fmla="*/ 605 w 605"/>
                  <a:gd name="T7" fmla="*/ 6 h 148"/>
                  <a:gd name="T8" fmla="*/ 2 w 605"/>
                  <a:gd name="T9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148">
                    <a:moveTo>
                      <a:pt x="2" y="148"/>
                    </a:moveTo>
                    <a:lnTo>
                      <a:pt x="0" y="141"/>
                    </a:lnTo>
                    <a:lnTo>
                      <a:pt x="603" y="0"/>
                    </a:lnTo>
                    <a:lnTo>
                      <a:pt x="605" y="6"/>
                    </a:lnTo>
                    <a:lnTo>
                      <a:pt x="2" y="148"/>
                    </a:lnTo>
                    <a:close/>
                  </a:path>
                </a:pathLst>
              </a:custGeom>
              <a:solidFill>
                <a:srgbClr val="3B28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43">
                <a:extLst>
                  <a:ext uri="{FF2B5EF4-FFF2-40B4-BE49-F238E27FC236}">
                    <a16:creationId xmlns:a16="http://schemas.microsoft.com/office/drawing/2014/main" id="{C3E482A3-4B47-4105-B9E1-906823D35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716" y="5675313"/>
                <a:ext cx="998538" cy="88900"/>
              </a:xfrm>
              <a:custGeom>
                <a:avLst/>
                <a:gdLst>
                  <a:gd name="T0" fmla="*/ 0 w 629"/>
                  <a:gd name="T1" fmla="*/ 56 h 56"/>
                  <a:gd name="T2" fmla="*/ 0 w 629"/>
                  <a:gd name="T3" fmla="*/ 50 h 56"/>
                  <a:gd name="T4" fmla="*/ 629 w 629"/>
                  <a:gd name="T5" fmla="*/ 0 h 56"/>
                  <a:gd name="T6" fmla="*/ 629 w 629"/>
                  <a:gd name="T7" fmla="*/ 7 h 56"/>
                  <a:gd name="T8" fmla="*/ 0 w 629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9" h="56">
                    <a:moveTo>
                      <a:pt x="0" y="56"/>
                    </a:moveTo>
                    <a:lnTo>
                      <a:pt x="0" y="50"/>
                    </a:lnTo>
                    <a:lnTo>
                      <a:pt x="629" y="0"/>
                    </a:lnTo>
                    <a:lnTo>
                      <a:pt x="629" y="7"/>
                    </a:lnTo>
                    <a:lnTo>
                      <a:pt x="0" y="56"/>
                    </a:lnTo>
                    <a:close/>
                  </a:path>
                </a:pathLst>
              </a:custGeom>
              <a:solidFill>
                <a:srgbClr val="3B28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Oval 44">
                <a:extLst>
                  <a:ext uri="{FF2B5EF4-FFF2-40B4-BE49-F238E27FC236}">
                    <a16:creationId xmlns:a16="http://schemas.microsoft.com/office/drawing/2014/main" id="{E8CF7A9A-6EE6-4258-973E-E9978CE7EF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1016" y="5737225"/>
                <a:ext cx="419100" cy="419100"/>
              </a:xfrm>
              <a:prstGeom prst="ellipse">
                <a:avLst/>
              </a:pr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: Shape 662">
                <a:extLst>
                  <a:ext uri="{FF2B5EF4-FFF2-40B4-BE49-F238E27FC236}">
                    <a16:creationId xmlns:a16="http://schemas.microsoft.com/office/drawing/2014/main" id="{3712E34D-0A45-45C6-9B3E-E11C0D271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6865" y="5254624"/>
                <a:ext cx="1103314" cy="1101726"/>
              </a:xfrm>
              <a:custGeom>
                <a:avLst/>
                <a:gdLst>
                  <a:gd name="connsiteX0" fmla="*/ 553244 w 1103314"/>
                  <a:gd name="connsiteY0" fmla="*/ 57150 h 1101726"/>
                  <a:gd name="connsiteX1" fmla="*/ 57150 w 1103314"/>
                  <a:gd name="connsiteY1" fmla="*/ 552450 h 1101726"/>
                  <a:gd name="connsiteX2" fmla="*/ 553244 w 1103314"/>
                  <a:gd name="connsiteY2" fmla="*/ 1047750 h 1101726"/>
                  <a:gd name="connsiteX3" fmla="*/ 1049338 w 1103314"/>
                  <a:gd name="connsiteY3" fmla="*/ 552450 h 1101726"/>
                  <a:gd name="connsiteX4" fmla="*/ 553244 w 1103314"/>
                  <a:gd name="connsiteY4" fmla="*/ 57150 h 1101726"/>
                  <a:gd name="connsiteX5" fmla="*/ 551657 w 1103314"/>
                  <a:gd name="connsiteY5" fmla="*/ 0 h 1101726"/>
                  <a:gd name="connsiteX6" fmla="*/ 1103314 w 1103314"/>
                  <a:gd name="connsiteY6" fmla="*/ 550863 h 1101726"/>
                  <a:gd name="connsiteX7" fmla="*/ 551657 w 1103314"/>
                  <a:gd name="connsiteY7" fmla="*/ 1101726 h 1101726"/>
                  <a:gd name="connsiteX8" fmla="*/ 0 w 1103314"/>
                  <a:gd name="connsiteY8" fmla="*/ 550863 h 1101726"/>
                  <a:gd name="connsiteX9" fmla="*/ 551657 w 1103314"/>
                  <a:gd name="connsiteY9" fmla="*/ 0 h 1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03314" h="1101726">
                    <a:moveTo>
                      <a:pt x="553244" y="57150"/>
                    </a:moveTo>
                    <a:cubicBezTo>
                      <a:pt x="279259" y="57150"/>
                      <a:pt x="57150" y="278903"/>
                      <a:pt x="57150" y="552450"/>
                    </a:cubicBezTo>
                    <a:cubicBezTo>
                      <a:pt x="57150" y="825997"/>
                      <a:pt x="279259" y="1047750"/>
                      <a:pt x="553244" y="1047750"/>
                    </a:cubicBezTo>
                    <a:cubicBezTo>
                      <a:pt x="827229" y="1047750"/>
                      <a:pt x="1049338" y="825997"/>
                      <a:pt x="1049338" y="552450"/>
                    </a:cubicBezTo>
                    <a:cubicBezTo>
                      <a:pt x="1049338" y="278903"/>
                      <a:pt x="827229" y="57150"/>
                      <a:pt x="553244" y="57150"/>
                    </a:cubicBezTo>
                    <a:close/>
                    <a:moveTo>
                      <a:pt x="551657" y="0"/>
                    </a:moveTo>
                    <a:cubicBezTo>
                      <a:pt x="856329" y="0"/>
                      <a:pt x="1103314" y="246630"/>
                      <a:pt x="1103314" y="550863"/>
                    </a:cubicBezTo>
                    <a:cubicBezTo>
                      <a:pt x="1103314" y="855096"/>
                      <a:pt x="856329" y="1101726"/>
                      <a:pt x="551657" y="1101726"/>
                    </a:cubicBezTo>
                    <a:cubicBezTo>
                      <a:pt x="246985" y="1101726"/>
                      <a:pt x="0" y="855096"/>
                      <a:pt x="0" y="550863"/>
                    </a:cubicBezTo>
                    <a:cubicBezTo>
                      <a:pt x="0" y="246630"/>
                      <a:pt x="246985" y="0"/>
                      <a:pt x="551657" y="0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64" name="Oval 47">
                <a:extLst>
                  <a:ext uri="{FF2B5EF4-FFF2-40B4-BE49-F238E27FC236}">
                    <a16:creationId xmlns:a16="http://schemas.microsoft.com/office/drawing/2014/main" id="{704DF05F-9D3D-42FB-B52D-E9F41A9D9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2316" y="5680075"/>
                <a:ext cx="252413" cy="250825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48">
                <a:extLst>
                  <a:ext uri="{FF2B5EF4-FFF2-40B4-BE49-F238E27FC236}">
                    <a16:creationId xmlns:a16="http://schemas.microsoft.com/office/drawing/2014/main" id="{7E940BD7-2ADC-4D47-80CA-EFF85507D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554" y="5394325"/>
                <a:ext cx="415925" cy="822325"/>
              </a:xfrm>
              <a:custGeom>
                <a:avLst/>
                <a:gdLst>
                  <a:gd name="T0" fmla="*/ 1 w 122"/>
                  <a:gd name="T1" fmla="*/ 242 h 242"/>
                  <a:gd name="T2" fmla="*/ 0 w 122"/>
                  <a:gd name="T3" fmla="*/ 242 h 242"/>
                  <a:gd name="T4" fmla="*/ 1 w 122"/>
                  <a:gd name="T5" fmla="*/ 241 h 242"/>
                  <a:gd name="T6" fmla="*/ 121 w 122"/>
                  <a:gd name="T7" fmla="*/ 121 h 242"/>
                  <a:gd name="T8" fmla="*/ 1 w 122"/>
                  <a:gd name="T9" fmla="*/ 2 h 242"/>
                  <a:gd name="T10" fmla="*/ 0 w 122"/>
                  <a:gd name="T11" fmla="*/ 1 h 242"/>
                  <a:gd name="T12" fmla="*/ 1 w 122"/>
                  <a:gd name="T13" fmla="*/ 0 h 242"/>
                  <a:gd name="T14" fmla="*/ 122 w 122"/>
                  <a:gd name="T15" fmla="*/ 121 h 242"/>
                  <a:gd name="T16" fmla="*/ 1 w 122"/>
                  <a:gd name="T17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2" h="242">
                    <a:moveTo>
                      <a:pt x="1" y="242"/>
                    </a:moveTo>
                    <a:cubicBezTo>
                      <a:pt x="1" y="242"/>
                      <a:pt x="0" y="242"/>
                      <a:pt x="0" y="242"/>
                    </a:cubicBezTo>
                    <a:cubicBezTo>
                      <a:pt x="0" y="241"/>
                      <a:pt x="1" y="241"/>
                      <a:pt x="1" y="241"/>
                    </a:cubicBezTo>
                    <a:cubicBezTo>
                      <a:pt x="67" y="241"/>
                      <a:pt x="121" y="187"/>
                      <a:pt x="121" y="121"/>
                    </a:cubicBezTo>
                    <a:cubicBezTo>
                      <a:pt x="121" y="56"/>
                      <a:pt x="67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8" y="0"/>
                      <a:pt x="122" y="55"/>
                      <a:pt x="122" y="121"/>
                    </a:cubicBezTo>
                    <a:cubicBezTo>
                      <a:pt x="122" y="188"/>
                      <a:pt x="68" y="242"/>
                      <a:pt x="1" y="242"/>
                    </a:cubicBezTo>
                    <a:close/>
                  </a:path>
                </a:pathLst>
              </a:custGeom>
              <a:solidFill>
                <a:srgbClr val="344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49">
                <a:extLst>
                  <a:ext uri="{FF2B5EF4-FFF2-40B4-BE49-F238E27FC236}">
                    <a16:creationId xmlns:a16="http://schemas.microsoft.com/office/drawing/2014/main" id="{61811E8D-563A-4BEC-9B56-9CF1933CC6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5829" y="5475288"/>
                <a:ext cx="336550" cy="660400"/>
              </a:xfrm>
              <a:custGeom>
                <a:avLst/>
                <a:gdLst>
                  <a:gd name="T0" fmla="*/ 1 w 99"/>
                  <a:gd name="T1" fmla="*/ 194 h 194"/>
                  <a:gd name="T2" fmla="*/ 0 w 99"/>
                  <a:gd name="T3" fmla="*/ 194 h 194"/>
                  <a:gd name="T4" fmla="*/ 1 w 99"/>
                  <a:gd name="T5" fmla="*/ 193 h 194"/>
                  <a:gd name="T6" fmla="*/ 97 w 99"/>
                  <a:gd name="T7" fmla="*/ 97 h 194"/>
                  <a:gd name="T8" fmla="*/ 1 w 99"/>
                  <a:gd name="T9" fmla="*/ 2 h 194"/>
                  <a:gd name="T10" fmla="*/ 0 w 99"/>
                  <a:gd name="T11" fmla="*/ 1 h 194"/>
                  <a:gd name="T12" fmla="*/ 1 w 99"/>
                  <a:gd name="T13" fmla="*/ 0 h 194"/>
                  <a:gd name="T14" fmla="*/ 99 w 99"/>
                  <a:gd name="T15" fmla="*/ 97 h 194"/>
                  <a:gd name="T16" fmla="*/ 1 w 99"/>
                  <a:gd name="T17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94">
                    <a:moveTo>
                      <a:pt x="1" y="194"/>
                    </a:moveTo>
                    <a:cubicBezTo>
                      <a:pt x="1" y="194"/>
                      <a:pt x="0" y="194"/>
                      <a:pt x="0" y="194"/>
                    </a:cubicBezTo>
                    <a:cubicBezTo>
                      <a:pt x="0" y="193"/>
                      <a:pt x="1" y="193"/>
                      <a:pt x="1" y="193"/>
                    </a:cubicBezTo>
                    <a:cubicBezTo>
                      <a:pt x="54" y="193"/>
                      <a:pt x="97" y="150"/>
                      <a:pt x="97" y="97"/>
                    </a:cubicBezTo>
                    <a:cubicBezTo>
                      <a:pt x="97" y="45"/>
                      <a:pt x="54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55" y="0"/>
                      <a:pt x="99" y="44"/>
                      <a:pt x="99" y="97"/>
                    </a:cubicBezTo>
                    <a:cubicBezTo>
                      <a:pt x="99" y="151"/>
                      <a:pt x="55" y="194"/>
                      <a:pt x="1" y="194"/>
                    </a:cubicBezTo>
                    <a:close/>
                  </a:path>
                </a:pathLst>
              </a:custGeom>
              <a:solidFill>
                <a:srgbClr val="344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: Shape 666">
                <a:extLst>
                  <a:ext uri="{FF2B5EF4-FFF2-40B4-BE49-F238E27FC236}">
                    <a16:creationId xmlns:a16="http://schemas.microsoft.com/office/drawing/2014/main" id="{F15A7CDC-F651-42DA-9A8F-9AD8A9E38E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9979" y="5254624"/>
                <a:ext cx="1100138" cy="1101726"/>
              </a:xfrm>
              <a:custGeom>
                <a:avLst/>
                <a:gdLst>
                  <a:gd name="connsiteX0" fmla="*/ 550862 w 1100138"/>
                  <a:gd name="connsiteY0" fmla="*/ 57150 h 1101726"/>
                  <a:gd name="connsiteX1" fmla="*/ 55562 w 1100138"/>
                  <a:gd name="connsiteY1" fmla="*/ 552450 h 1101726"/>
                  <a:gd name="connsiteX2" fmla="*/ 550862 w 1100138"/>
                  <a:gd name="connsiteY2" fmla="*/ 1047750 h 1101726"/>
                  <a:gd name="connsiteX3" fmla="*/ 1046162 w 1100138"/>
                  <a:gd name="connsiteY3" fmla="*/ 552450 h 1101726"/>
                  <a:gd name="connsiteX4" fmla="*/ 550862 w 1100138"/>
                  <a:gd name="connsiteY4" fmla="*/ 57150 h 1101726"/>
                  <a:gd name="connsiteX5" fmla="*/ 550069 w 1100138"/>
                  <a:gd name="connsiteY5" fmla="*/ 0 h 1101726"/>
                  <a:gd name="connsiteX6" fmla="*/ 1100138 w 1100138"/>
                  <a:gd name="connsiteY6" fmla="*/ 550863 h 1101726"/>
                  <a:gd name="connsiteX7" fmla="*/ 550069 w 1100138"/>
                  <a:gd name="connsiteY7" fmla="*/ 1101726 h 1101726"/>
                  <a:gd name="connsiteX8" fmla="*/ 0 w 1100138"/>
                  <a:gd name="connsiteY8" fmla="*/ 550863 h 1101726"/>
                  <a:gd name="connsiteX9" fmla="*/ 550069 w 1100138"/>
                  <a:gd name="connsiteY9" fmla="*/ 0 h 110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00138" h="1101726">
                    <a:moveTo>
                      <a:pt x="550862" y="57150"/>
                    </a:moveTo>
                    <a:cubicBezTo>
                      <a:pt x="277315" y="57150"/>
                      <a:pt x="55562" y="278903"/>
                      <a:pt x="55562" y="552450"/>
                    </a:cubicBezTo>
                    <a:cubicBezTo>
                      <a:pt x="55562" y="825997"/>
                      <a:pt x="277315" y="1047750"/>
                      <a:pt x="550862" y="1047750"/>
                    </a:cubicBezTo>
                    <a:cubicBezTo>
                      <a:pt x="824409" y="1047750"/>
                      <a:pt x="1046162" y="825997"/>
                      <a:pt x="1046162" y="552450"/>
                    </a:cubicBezTo>
                    <a:cubicBezTo>
                      <a:pt x="1046162" y="278903"/>
                      <a:pt x="824409" y="57150"/>
                      <a:pt x="550862" y="57150"/>
                    </a:cubicBezTo>
                    <a:close/>
                    <a:moveTo>
                      <a:pt x="550069" y="0"/>
                    </a:moveTo>
                    <a:cubicBezTo>
                      <a:pt x="853864" y="0"/>
                      <a:pt x="1100138" y="246630"/>
                      <a:pt x="1100138" y="550863"/>
                    </a:cubicBezTo>
                    <a:cubicBezTo>
                      <a:pt x="1100138" y="855096"/>
                      <a:pt x="853864" y="1101726"/>
                      <a:pt x="550069" y="1101726"/>
                    </a:cubicBezTo>
                    <a:cubicBezTo>
                      <a:pt x="246274" y="1101726"/>
                      <a:pt x="0" y="855096"/>
                      <a:pt x="0" y="550863"/>
                    </a:cubicBezTo>
                    <a:cubicBezTo>
                      <a:pt x="0" y="246630"/>
                      <a:pt x="246274" y="0"/>
                      <a:pt x="550069" y="0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68" name="Oval 52">
                <a:extLst>
                  <a:ext uri="{FF2B5EF4-FFF2-40B4-BE49-F238E27FC236}">
                    <a16:creationId xmlns:a16="http://schemas.microsoft.com/office/drawing/2014/main" id="{886C5114-67A7-424A-B92C-5336BEE1C3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2254" y="5680075"/>
                <a:ext cx="252413" cy="250825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53">
                <a:extLst>
                  <a:ext uri="{FF2B5EF4-FFF2-40B4-BE49-F238E27FC236}">
                    <a16:creationId xmlns:a16="http://schemas.microsoft.com/office/drawing/2014/main" id="{2D89AC40-20B5-4FED-A3CD-9F3806CD2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491" y="5394325"/>
                <a:ext cx="419100" cy="822325"/>
              </a:xfrm>
              <a:custGeom>
                <a:avLst/>
                <a:gdLst>
                  <a:gd name="T0" fmla="*/ 1 w 123"/>
                  <a:gd name="T1" fmla="*/ 242 h 242"/>
                  <a:gd name="T2" fmla="*/ 0 w 123"/>
                  <a:gd name="T3" fmla="*/ 242 h 242"/>
                  <a:gd name="T4" fmla="*/ 1 w 123"/>
                  <a:gd name="T5" fmla="*/ 241 h 242"/>
                  <a:gd name="T6" fmla="*/ 121 w 123"/>
                  <a:gd name="T7" fmla="*/ 121 h 242"/>
                  <a:gd name="T8" fmla="*/ 1 w 123"/>
                  <a:gd name="T9" fmla="*/ 2 h 242"/>
                  <a:gd name="T10" fmla="*/ 0 w 123"/>
                  <a:gd name="T11" fmla="*/ 1 h 242"/>
                  <a:gd name="T12" fmla="*/ 1 w 123"/>
                  <a:gd name="T13" fmla="*/ 0 h 242"/>
                  <a:gd name="T14" fmla="*/ 123 w 123"/>
                  <a:gd name="T15" fmla="*/ 121 h 242"/>
                  <a:gd name="T16" fmla="*/ 1 w 123"/>
                  <a:gd name="T17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3" h="242">
                    <a:moveTo>
                      <a:pt x="1" y="242"/>
                    </a:moveTo>
                    <a:cubicBezTo>
                      <a:pt x="1" y="242"/>
                      <a:pt x="0" y="242"/>
                      <a:pt x="0" y="242"/>
                    </a:cubicBezTo>
                    <a:cubicBezTo>
                      <a:pt x="0" y="241"/>
                      <a:pt x="1" y="241"/>
                      <a:pt x="1" y="241"/>
                    </a:cubicBezTo>
                    <a:cubicBezTo>
                      <a:pt x="67" y="241"/>
                      <a:pt x="121" y="187"/>
                      <a:pt x="121" y="121"/>
                    </a:cubicBezTo>
                    <a:cubicBezTo>
                      <a:pt x="121" y="56"/>
                      <a:pt x="67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8" y="0"/>
                      <a:pt x="123" y="55"/>
                      <a:pt x="123" y="121"/>
                    </a:cubicBezTo>
                    <a:cubicBezTo>
                      <a:pt x="123" y="188"/>
                      <a:pt x="68" y="242"/>
                      <a:pt x="1" y="242"/>
                    </a:cubicBezTo>
                    <a:close/>
                  </a:path>
                </a:pathLst>
              </a:custGeom>
              <a:solidFill>
                <a:srgbClr val="344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54">
                <a:extLst>
                  <a:ext uri="{FF2B5EF4-FFF2-40B4-BE49-F238E27FC236}">
                    <a16:creationId xmlns:a16="http://schemas.microsoft.com/office/drawing/2014/main" id="{4D8FD440-AEBD-465D-8357-A087C524D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5766" y="5475288"/>
                <a:ext cx="338138" cy="660400"/>
              </a:xfrm>
              <a:custGeom>
                <a:avLst/>
                <a:gdLst>
                  <a:gd name="T0" fmla="*/ 1 w 99"/>
                  <a:gd name="T1" fmla="*/ 194 h 194"/>
                  <a:gd name="T2" fmla="*/ 0 w 99"/>
                  <a:gd name="T3" fmla="*/ 194 h 194"/>
                  <a:gd name="T4" fmla="*/ 1 w 99"/>
                  <a:gd name="T5" fmla="*/ 193 h 194"/>
                  <a:gd name="T6" fmla="*/ 97 w 99"/>
                  <a:gd name="T7" fmla="*/ 97 h 194"/>
                  <a:gd name="T8" fmla="*/ 1 w 99"/>
                  <a:gd name="T9" fmla="*/ 2 h 194"/>
                  <a:gd name="T10" fmla="*/ 0 w 99"/>
                  <a:gd name="T11" fmla="*/ 1 h 194"/>
                  <a:gd name="T12" fmla="*/ 1 w 99"/>
                  <a:gd name="T13" fmla="*/ 0 h 194"/>
                  <a:gd name="T14" fmla="*/ 99 w 99"/>
                  <a:gd name="T15" fmla="*/ 97 h 194"/>
                  <a:gd name="T16" fmla="*/ 1 w 99"/>
                  <a:gd name="T17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94">
                    <a:moveTo>
                      <a:pt x="1" y="194"/>
                    </a:moveTo>
                    <a:cubicBezTo>
                      <a:pt x="1" y="194"/>
                      <a:pt x="0" y="194"/>
                      <a:pt x="0" y="194"/>
                    </a:cubicBezTo>
                    <a:cubicBezTo>
                      <a:pt x="0" y="193"/>
                      <a:pt x="1" y="193"/>
                      <a:pt x="1" y="193"/>
                    </a:cubicBezTo>
                    <a:cubicBezTo>
                      <a:pt x="54" y="193"/>
                      <a:pt x="97" y="150"/>
                      <a:pt x="97" y="97"/>
                    </a:cubicBezTo>
                    <a:cubicBezTo>
                      <a:pt x="97" y="45"/>
                      <a:pt x="54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55" y="0"/>
                      <a:pt x="99" y="44"/>
                      <a:pt x="99" y="97"/>
                    </a:cubicBezTo>
                    <a:cubicBezTo>
                      <a:pt x="99" y="151"/>
                      <a:pt x="55" y="194"/>
                      <a:pt x="1" y="194"/>
                    </a:cubicBezTo>
                    <a:close/>
                  </a:path>
                </a:pathLst>
              </a:custGeom>
              <a:solidFill>
                <a:srgbClr val="344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55">
                <a:extLst>
                  <a:ext uri="{FF2B5EF4-FFF2-40B4-BE49-F238E27FC236}">
                    <a16:creationId xmlns:a16="http://schemas.microsoft.com/office/drawing/2014/main" id="{CC21AA85-243F-4FA4-955D-B3B463C3A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3766" y="4645025"/>
                <a:ext cx="374650" cy="119063"/>
              </a:xfrm>
              <a:custGeom>
                <a:avLst/>
                <a:gdLst>
                  <a:gd name="T0" fmla="*/ 33 w 110"/>
                  <a:gd name="T1" fmla="*/ 12 h 35"/>
                  <a:gd name="T2" fmla="*/ 103 w 110"/>
                  <a:gd name="T3" fmla="*/ 7 h 35"/>
                  <a:gd name="T4" fmla="*/ 68 w 110"/>
                  <a:gd name="T5" fmla="*/ 35 h 35"/>
                  <a:gd name="T6" fmla="*/ 33 w 110"/>
                  <a:gd name="T7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0" h="35">
                    <a:moveTo>
                      <a:pt x="33" y="12"/>
                    </a:moveTo>
                    <a:cubicBezTo>
                      <a:pt x="33" y="12"/>
                      <a:pt x="96" y="0"/>
                      <a:pt x="103" y="7"/>
                    </a:cubicBezTo>
                    <a:cubicBezTo>
                      <a:pt x="110" y="14"/>
                      <a:pt x="82" y="35"/>
                      <a:pt x="68" y="35"/>
                    </a:cubicBezTo>
                    <a:cubicBezTo>
                      <a:pt x="54" y="35"/>
                      <a:pt x="0" y="30"/>
                      <a:pt x="33" y="1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56">
                <a:extLst>
                  <a:ext uri="{FF2B5EF4-FFF2-40B4-BE49-F238E27FC236}">
                    <a16:creationId xmlns:a16="http://schemas.microsoft.com/office/drawing/2014/main" id="{623A8F01-BC20-4225-B95B-CD9F416B09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241" y="3846513"/>
                <a:ext cx="403225" cy="247650"/>
              </a:xfrm>
              <a:custGeom>
                <a:avLst/>
                <a:gdLst>
                  <a:gd name="T0" fmla="*/ 17 w 118"/>
                  <a:gd name="T1" fmla="*/ 53 h 73"/>
                  <a:gd name="T2" fmla="*/ 42 w 118"/>
                  <a:gd name="T3" fmla="*/ 35 h 73"/>
                  <a:gd name="T4" fmla="*/ 106 w 118"/>
                  <a:gd name="T5" fmla="*/ 73 h 73"/>
                  <a:gd name="T6" fmla="*/ 108 w 118"/>
                  <a:gd name="T7" fmla="*/ 26 h 73"/>
                  <a:gd name="T8" fmla="*/ 35 w 118"/>
                  <a:gd name="T9" fmla="*/ 8 h 73"/>
                  <a:gd name="T10" fmla="*/ 17 w 118"/>
                  <a:gd name="T11" fmla="*/ 5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" h="73">
                    <a:moveTo>
                      <a:pt x="17" y="53"/>
                    </a:moveTo>
                    <a:cubicBezTo>
                      <a:pt x="17" y="53"/>
                      <a:pt x="28" y="39"/>
                      <a:pt x="42" y="35"/>
                    </a:cubicBezTo>
                    <a:cubicBezTo>
                      <a:pt x="55" y="30"/>
                      <a:pt x="95" y="55"/>
                      <a:pt x="106" y="73"/>
                    </a:cubicBezTo>
                    <a:cubicBezTo>
                      <a:pt x="106" y="73"/>
                      <a:pt x="118" y="50"/>
                      <a:pt x="108" y="26"/>
                    </a:cubicBezTo>
                    <a:cubicBezTo>
                      <a:pt x="97" y="1"/>
                      <a:pt x="52" y="0"/>
                      <a:pt x="35" y="8"/>
                    </a:cubicBezTo>
                    <a:cubicBezTo>
                      <a:pt x="17" y="17"/>
                      <a:pt x="0" y="48"/>
                      <a:pt x="17" y="53"/>
                    </a:cubicBezTo>
                    <a:close/>
                  </a:path>
                </a:pathLst>
              </a:custGeom>
              <a:solidFill>
                <a:srgbClr val="2026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57">
                <a:extLst>
                  <a:ext uri="{FF2B5EF4-FFF2-40B4-BE49-F238E27FC236}">
                    <a16:creationId xmlns:a16="http://schemas.microsoft.com/office/drawing/2014/main" id="{7BD6E353-3D17-4A03-999A-616CA1274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1754" y="4094163"/>
                <a:ext cx="228600" cy="176213"/>
              </a:xfrm>
              <a:custGeom>
                <a:avLst/>
                <a:gdLst>
                  <a:gd name="T0" fmla="*/ 92 w 144"/>
                  <a:gd name="T1" fmla="*/ 111 h 111"/>
                  <a:gd name="T2" fmla="*/ 0 w 144"/>
                  <a:gd name="T3" fmla="*/ 71 h 111"/>
                  <a:gd name="T4" fmla="*/ 45 w 144"/>
                  <a:gd name="T5" fmla="*/ 0 h 111"/>
                  <a:gd name="T6" fmla="*/ 144 w 144"/>
                  <a:gd name="T7" fmla="*/ 15 h 111"/>
                  <a:gd name="T8" fmla="*/ 92 w 144"/>
                  <a:gd name="T9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11">
                    <a:moveTo>
                      <a:pt x="92" y="111"/>
                    </a:moveTo>
                    <a:lnTo>
                      <a:pt x="0" y="71"/>
                    </a:lnTo>
                    <a:lnTo>
                      <a:pt x="45" y="0"/>
                    </a:lnTo>
                    <a:lnTo>
                      <a:pt x="144" y="15"/>
                    </a:lnTo>
                    <a:lnTo>
                      <a:pt x="92" y="111"/>
                    </a:lnTo>
                    <a:close/>
                  </a:path>
                </a:pathLst>
              </a:custGeom>
              <a:solidFill>
                <a:srgbClr val="FAA0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58">
                <a:extLst>
                  <a:ext uri="{FF2B5EF4-FFF2-40B4-BE49-F238E27FC236}">
                    <a16:creationId xmlns:a16="http://schemas.microsoft.com/office/drawing/2014/main" id="{292891AE-CBC4-4871-BD31-BEE93264B2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9741" y="4495800"/>
                <a:ext cx="668338" cy="398463"/>
              </a:xfrm>
              <a:custGeom>
                <a:avLst/>
                <a:gdLst>
                  <a:gd name="T0" fmla="*/ 174 w 196"/>
                  <a:gd name="T1" fmla="*/ 0 h 117"/>
                  <a:gd name="T2" fmla="*/ 0 w 196"/>
                  <a:gd name="T3" fmla="*/ 73 h 117"/>
                  <a:gd name="T4" fmla="*/ 33 w 196"/>
                  <a:gd name="T5" fmla="*/ 117 h 117"/>
                  <a:gd name="T6" fmla="*/ 179 w 196"/>
                  <a:gd name="T7" fmla="*/ 88 h 117"/>
                  <a:gd name="T8" fmla="*/ 174 w 196"/>
                  <a:gd name="T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117">
                    <a:moveTo>
                      <a:pt x="174" y="0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3"/>
                      <a:pt x="26" y="97"/>
                      <a:pt x="33" y="117"/>
                    </a:cubicBezTo>
                    <a:cubicBezTo>
                      <a:pt x="179" y="88"/>
                      <a:pt x="179" y="88"/>
                      <a:pt x="179" y="88"/>
                    </a:cubicBezTo>
                    <a:cubicBezTo>
                      <a:pt x="179" y="88"/>
                      <a:pt x="196" y="22"/>
                      <a:pt x="174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59">
                <a:extLst>
                  <a:ext uri="{FF2B5EF4-FFF2-40B4-BE49-F238E27FC236}">
                    <a16:creationId xmlns:a16="http://schemas.microsoft.com/office/drawing/2014/main" id="{4C9D85F1-C56F-47FF-801F-E07F8359F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4391" y="4835525"/>
                <a:ext cx="431800" cy="1003300"/>
              </a:xfrm>
              <a:custGeom>
                <a:avLst/>
                <a:gdLst>
                  <a:gd name="T0" fmla="*/ 10 w 127"/>
                  <a:gd name="T1" fmla="*/ 295 h 295"/>
                  <a:gd name="T2" fmla="*/ 7 w 127"/>
                  <a:gd name="T3" fmla="*/ 294 h 295"/>
                  <a:gd name="T4" fmla="*/ 2 w 127"/>
                  <a:gd name="T5" fmla="*/ 282 h 295"/>
                  <a:gd name="T6" fmla="*/ 108 w 127"/>
                  <a:gd name="T7" fmla="*/ 7 h 295"/>
                  <a:gd name="T8" fmla="*/ 119 w 127"/>
                  <a:gd name="T9" fmla="*/ 2 h 295"/>
                  <a:gd name="T10" fmla="*/ 125 w 127"/>
                  <a:gd name="T11" fmla="*/ 14 h 295"/>
                  <a:gd name="T12" fmla="*/ 19 w 127"/>
                  <a:gd name="T13" fmla="*/ 289 h 295"/>
                  <a:gd name="T14" fmla="*/ 10 w 127"/>
                  <a:gd name="T15" fmla="*/ 29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295">
                    <a:moveTo>
                      <a:pt x="10" y="295"/>
                    </a:moveTo>
                    <a:cubicBezTo>
                      <a:pt x="9" y="295"/>
                      <a:pt x="8" y="294"/>
                      <a:pt x="7" y="294"/>
                    </a:cubicBezTo>
                    <a:cubicBezTo>
                      <a:pt x="2" y="292"/>
                      <a:pt x="0" y="287"/>
                      <a:pt x="2" y="282"/>
                    </a:cubicBezTo>
                    <a:cubicBezTo>
                      <a:pt x="108" y="7"/>
                      <a:pt x="108" y="7"/>
                      <a:pt x="108" y="7"/>
                    </a:cubicBezTo>
                    <a:cubicBezTo>
                      <a:pt x="109" y="2"/>
                      <a:pt x="115" y="0"/>
                      <a:pt x="119" y="2"/>
                    </a:cubicBezTo>
                    <a:cubicBezTo>
                      <a:pt x="124" y="3"/>
                      <a:pt x="127" y="9"/>
                      <a:pt x="125" y="14"/>
                    </a:cubicBezTo>
                    <a:cubicBezTo>
                      <a:pt x="19" y="289"/>
                      <a:pt x="19" y="289"/>
                      <a:pt x="19" y="289"/>
                    </a:cubicBezTo>
                    <a:cubicBezTo>
                      <a:pt x="17" y="292"/>
                      <a:pt x="14" y="295"/>
                      <a:pt x="10" y="295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60">
                <a:extLst>
                  <a:ext uri="{FF2B5EF4-FFF2-40B4-BE49-F238E27FC236}">
                    <a16:creationId xmlns:a16="http://schemas.microsoft.com/office/drawing/2014/main" id="{2AF85F69-B21C-4B02-90C6-F2DC91AD4E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7441" y="5073650"/>
                <a:ext cx="1825625" cy="908050"/>
              </a:xfrm>
              <a:custGeom>
                <a:avLst/>
                <a:gdLst>
                  <a:gd name="T0" fmla="*/ 254 w 536"/>
                  <a:gd name="T1" fmla="*/ 267 h 267"/>
                  <a:gd name="T2" fmla="*/ 0 w 536"/>
                  <a:gd name="T3" fmla="*/ 19 h 267"/>
                  <a:gd name="T4" fmla="*/ 12 w 536"/>
                  <a:gd name="T5" fmla="*/ 6 h 267"/>
                  <a:gd name="T6" fmla="*/ 12 w 536"/>
                  <a:gd name="T7" fmla="*/ 3 h 267"/>
                  <a:gd name="T8" fmla="*/ 296 w 536"/>
                  <a:gd name="T9" fmla="*/ 0 h 267"/>
                  <a:gd name="T10" fmla="*/ 527 w 536"/>
                  <a:gd name="T11" fmla="*/ 201 h 267"/>
                  <a:gd name="T12" fmla="*/ 520 w 536"/>
                  <a:gd name="T13" fmla="*/ 226 h 267"/>
                  <a:gd name="T14" fmla="*/ 254 w 536"/>
                  <a:gd name="T15" fmla="*/ 267 h 267"/>
                  <a:gd name="T16" fmla="*/ 28 w 536"/>
                  <a:gd name="T17" fmla="*/ 21 h 267"/>
                  <a:gd name="T18" fmla="*/ 260 w 536"/>
                  <a:gd name="T19" fmla="*/ 247 h 267"/>
                  <a:gd name="T20" fmla="*/ 508 w 536"/>
                  <a:gd name="T21" fmla="*/ 209 h 267"/>
                  <a:gd name="T22" fmla="*/ 289 w 536"/>
                  <a:gd name="T23" fmla="*/ 19 h 267"/>
                  <a:gd name="T24" fmla="*/ 28 w 536"/>
                  <a:gd name="T25" fmla="*/ 21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6" h="267">
                    <a:moveTo>
                      <a:pt x="254" y="267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296" y="0"/>
                      <a:pt x="296" y="0"/>
                      <a:pt x="296" y="0"/>
                    </a:cubicBezTo>
                    <a:cubicBezTo>
                      <a:pt x="527" y="201"/>
                      <a:pt x="527" y="201"/>
                      <a:pt x="527" y="201"/>
                    </a:cubicBezTo>
                    <a:cubicBezTo>
                      <a:pt x="536" y="209"/>
                      <a:pt x="532" y="224"/>
                      <a:pt x="520" y="226"/>
                    </a:cubicBezTo>
                    <a:lnTo>
                      <a:pt x="254" y="267"/>
                    </a:lnTo>
                    <a:close/>
                    <a:moveTo>
                      <a:pt x="28" y="21"/>
                    </a:moveTo>
                    <a:cubicBezTo>
                      <a:pt x="260" y="247"/>
                      <a:pt x="260" y="247"/>
                      <a:pt x="260" y="247"/>
                    </a:cubicBezTo>
                    <a:cubicBezTo>
                      <a:pt x="508" y="209"/>
                      <a:pt x="508" y="209"/>
                      <a:pt x="508" y="209"/>
                    </a:cubicBezTo>
                    <a:cubicBezTo>
                      <a:pt x="289" y="19"/>
                      <a:pt x="289" y="19"/>
                      <a:pt x="289" y="19"/>
                    </a:cubicBez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Oval 61">
                <a:extLst>
                  <a:ext uri="{FF2B5EF4-FFF2-40B4-BE49-F238E27FC236}">
                    <a16:creationId xmlns:a16="http://schemas.microsoft.com/office/drawing/2014/main" id="{73E7F68D-B2B4-4EA6-9457-9395ED739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0879" y="5907088"/>
                <a:ext cx="82550" cy="85725"/>
              </a:xfrm>
              <a:prstGeom prst="ellipse">
                <a:avLst/>
              </a:prstGeom>
              <a:solidFill>
                <a:srgbClr val="3B3E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62">
                <a:extLst>
                  <a:ext uri="{FF2B5EF4-FFF2-40B4-BE49-F238E27FC236}">
                    <a16:creationId xmlns:a16="http://schemas.microsoft.com/office/drawing/2014/main" id="{D09A2A02-F013-4368-A1EC-0A3BEC808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341" y="5942013"/>
                <a:ext cx="85725" cy="325438"/>
              </a:xfrm>
              <a:custGeom>
                <a:avLst/>
                <a:gdLst>
                  <a:gd name="T0" fmla="*/ 18 w 25"/>
                  <a:gd name="T1" fmla="*/ 96 h 96"/>
                  <a:gd name="T2" fmla="*/ 12 w 25"/>
                  <a:gd name="T3" fmla="*/ 91 h 96"/>
                  <a:gd name="T4" fmla="*/ 1 w 25"/>
                  <a:gd name="T5" fmla="*/ 7 h 96"/>
                  <a:gd name="T6" fmla="*/ 6 w 25"/>
                  <a:gd name="T7" fmla="*/ 0 h 96"/>
                  <a:gd name="T8" fmla="*/ 13 w 25"/>
                  <a:gd name="T9" fmla="*/ 5 h 96"/>
                  <a:gd name="T10" fmla="*/ 24 w 25"/>
                  <a:gd name="T11" fmla="*/ 89 h 96"/>
                  <a:gd name="T12" fmla="*/ 19 w 25"/>
                  <a:gd name="T13" fmla="*/ 96 h 96"/>
                  <a:gd name="T14" fmla="*/ 18 w 25"/>
                  <a:gd name="T1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6">
                    <a:moveTo>
                      <a:pt x="18" y="96"/>
                    </a:moveTo>
                    <a:cubicBezTo>
                      <a:pt x="15" y="96"/>
                      <a:pt x="12" y="94"/>
                      <a:pt x="12" y="91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3" y="2"/>
                      <a:pt x="13" y="5"/>
                    </a:cubicBezTo>
                    <a:cubicBezTo>
                      <a:pt x="24" y="89"/>
                      <a:pt x="24" y="89"/>
                      <a:pt x="24" y="89"/>
                    </a:cubicBezTo>
                    <a:cubicBezTo>
                      <a:pt x="25" y="92"/>
                      <a:pt x="22" y="95"/>
                      <a:pt x="19" y="96"/>
                    </a:cubicBezTo>
                    <a:cubicBezTo>
                      <a:pt x="19" y="96"/>
                      <a:pt x="18" y="96"/>
                      <a:pt x="18" y="96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63">
                <a:extLst>
                  <a:ext uri="{FF2B5EF4-FFF2-40B4-BE49-F238E27FC236}">
                    <a16:creationId xmlns:a16="http://schemas.microsoft.com/office/drawing/2014/main" id="{6594F790-47B2-4056-B3F2-67F3897E5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1816" y="5043488"/>
                <a:ext cx="323850" cy="1173163"/>
              </a:xfrm>
              <a:custGeom>
                <a:avLst/>
                <a:gdLst>
                  <a:gd name="T0" fmla="*/ 42 w 95"/>
                  <a:gd name="T1" fmla="*/ 0 h 345"/>
                  <a:gd name="T2" fmla="*/ 6 w 95"/>
                  <a:gd name="T3" fmla="*/ 55 h 345"/>
                  <a:gd name="T4" fmla="*/ 57 w 95"/>
                  <a:gd name="T5" fmla="*/ 266 h 345"/>
                  <a:gd name="T6" fmla="*/ 26 w 95"/>
                  <a:gd name="T7" fmla="*/ 339 h 345"/>
                  <a:gd name="T8" fmla="*/ 44 w 95"/>
                  <a:gd name="T9" fmla="*/ 343 h 345"/>
                  <a:gd name="T10" fmla="*/ 69 w 95"/>
                  <a:gd name="T11" fmla="*/ 309 h 345"/>
                  <a:gd name="T12" fmla="*/ 87 w 95"/>
                  <a:gd name="T13" fmla="*/ 299 h 345"/>
                  <a:gd name="T14" fmla="*/ 80 w 95"/>
                  <a:gd name="T15" fmla="*/ 266 h 345"/>
                  <a:gd name="T16" fmla="*/ 73 w 95"/>
                  <a:gd name="T17" fmla="*/ 84 h 345"/>
                  <a:gd name="T18" fmla="*/ 66 w 95"/>
                  <a:gd name="T19" fmla="*/ 69 h 345"/>
                  <a:gd name="T20" fmla="*/ 83 w 95"/>
                  <a:gd name="T21" fmla="*/ 19 h 345"/>
                  <a:gd name="T22" fmla="*/ 42 w 95"/>
                  <a:gd name="T23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5" h="345">
                    <a:moveTo>
                      <a:pt x="42" y="0"/>
                    </a:moveTo>
                    <a:cubicBezTo>
                      <a:pt x="42" y="0"/>
                      <a:pt x="12" y="42"/>
                      <a:pt x="6" y="55"/>
                    </a:cubicBezTo>
                    <a:cubicBezTo>
                      <a:pt x="0" y="68"/>
                      <a:pt x="57" y="235"/>
                      <a:pt x="57" y="266"/>
                    </a:cubicBezTo>
                    <a:cubicBezTo>
                      <a:pt x="57" y="297"/>
                      <a:pt x="41" y="332"/>
                      <a:pt x="26" y="339"/>
                    </a:cubicBezTo>
                    <a:cubicBezTo>
                      <a:pt x="12" y="345"/>
                      <a:pt x="33" y="343"/>
                      <a:pt x="44" y="343"/>
                    </a:cubicBezTo>
                    <a:cubicBezTo>
                      <a:pt x="55" y="343"/>
                      <a:pt x="61" y="317"/>
                      <a:pt x="69" y="309"/>
                    </a:cubicBezTo>
                    <a:cubicBezTo>
                      <a:pt x="77" y="301"/>
                      <a:pt x="81" y="304"/>
                      <a:pt x="87" y="299"/>
                    </a:cubicBezTo>
                    <a:cubicBezTo>
                      <a:pt x="92" y="293"/>
                      <a:pt x="83" y="270"/>
                      <a:pt x="80" y="266"/>
                    </a:cubicBezTo>
                    <a:cubicBezTo>
                      <a:pt x="76" y="262"/>
                      <a:pt x="95" y="116"/>
                      <a:pt x="73" y="84"/>
                    </a:cubicBezTo>
                    <a:cubicBezTo>
                      <a:pt x="66" y="69"/>
                      <a:pt x="66" y="69"/>
                      <a:pt x="66" y="69"/>
                    </a:cubicBezTo>
                    <a:cubicBezTo>
                      <a:pt x="83" y="19"/>
                      <a:pt x="83" y="19"/>
                      <a:pt x="83" y="19"/>
                    </a:cubicBez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64">
                <a:extLst>
                  <a:ext uri="{FF2B5EF4-FFF2-40B4-BE49-F238E27FC236}">
                    <a16:creationId xmlns:a16="http://schemas.microsoft.com/office/drawing/2014/main" id="{9359550F-394D-469A-96A0-189398FE0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7441" y="4445000"/>
                <a:ext cx="20638" cy="0"/>
              </a:xfrm>
              <a:custGeom>
                <a:avLst/>
                <a:gdLst>
                  <a:gd name="T0" fmla="*/ 3 w 6"/>
                  <a:gd name="T1" fmla="*/ 3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</a:cxnLst>
                <a:rect l="0" t="0" r="r" b="b"/>
                <a:pathLst>
                  <a:path w="6">
                    <a:moveTo>
                      <a:pt x="3" y="0"/>
                    </a:moveTo>
                    <a:cubicBezTo>
                      <a:pt x="6" y="0"/>
                      <a:pt x="0" y="0"/>
                      <a:pt x="3" y="0"/>
                    </a:cubicBezTo>
                    <a:close/>
                  </a:path>
                </a:pathLst>
              </a:custGeom>
              <a:solidFill>
                <a:srgbClr val="5941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65">
                <a:extLst>
                  <a:ext uri="{FF2B5EF4-FFF2-40B4-BE49-F238E27FC236}">
                    <a16:creationId xmlns:a16="http://schemas.microsoft.com/office/drawing/2014/main" id="{B89B5C59-5DB9-451D-8127-E58E425A9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716" y="4441825"/>
                <a:ext cx="623888" cy="727075"/>
              </a:xfrm>
              <a:custGeom>
                <a:avLst/>
                <a:gdLst>
                  <a:gd name="T0" fmla="*/ 140 w 183"/>
                  <a:gd name="T1" fmla="*/ 1 h 214"/>
                  <a:gd name="T2" fmla="*/ 55 w 183"/>
                  <a:gd name="T3" fmla="*/ 57 h 214"/>
                  <a:gd name="T4" fmla="*/ 0 w 183"/>
                  <a:gd name="T5" fmla="*/ 188 h 214"/>
                  <a:gd name="T6" fmla="*/ 56 w 183"/>
                  <a:gd name="T7" fmla="*/ 214 h 214"/>
                  <a:gd name="T8" fmla="*/ 168 w 183"/>
                  <a:gd name="T9" fmla="*/ 58 h 214"/>
                  <a:gd name="T10" fmla="*/ 140 w 183"/>
                  <a:gd name="T11" fmla="*/ 1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3" h="214">
                    <a:moveTo>
                      <a:pt x="140" y="1"/>
                    </a:moveTo>
                    <a:cubicBezTo>
                      <a:pt x="103" y="0"/>
                      <a:pt x="69" y="23"/>
                      <a:pt x="55" y="57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56" y="214"/>
                      <a:pt x="56" y="214"/>
                      <a:pt x="56" y="214"/>
                    </a:cubicBezTo>
                    <a:cubicBezTo>
                      <a:pt x="168" y="58"/>
                      <a:pt x="168" y="58"/>
                      <a:pt x="168" y="58"/>
                    </a:cubicBezTo>
                    <a:cubicBezTo>
                      <a:pt x="168" y="58"/>
                      <a:pt x="183" y="7"/>
                      <a:pt x="140" y="1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66">
                <a:extLst>
                  <a:ext uri="{FF2B5EF4-FFF2-40B4-BE49-F238E27FC236}">
                    <a16:creationId xmlns:a16="http://schemas.microsoft.com/office/drawing/2014/main" id="{C10E3D0F-0E7B-434C-ADA6-9432D45756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8904" y="4019550"/>
                <a:ext cx="1123950" cy="574675"/>
              </a:xfrm>
              <a:custGeom>
                <a:avLst/>
                <a:gdLst>
                  <a:gd name="T0" fmla="*/ 330 w 330"/>
                  <a:gd name="T1" fmla="*/ 125 h 169"/>
                  <a:gd name="T2" fmla="*/ 177 w 330"/>
                  <a:gd name="T3" fmla="*/ 31 h 169"/>
                  <a:gd name="T4" fmla="*/ 32 w 330"/>
                  <a:gd name="T5" fmla="*/ 40 h 169"/>
                  <a:gd name="T6" fmla="*/ 32 w 330"/>
                  <a:gd name="T7" fmla="*/ 131 h 169"/>
                  <a:gd name="T8" fmla="*/ 153 w 330"/>
                  <a:gd name="T9" fmla="*/ 125 h 169"/>
                  <a:gd name="T10" fmla="*/ 219 w 330"/>
                  <a:gd name="T11" fmla="*/ 169 h 169"/>
                  <a:gd name="T12" fmla="*/ 330 w 330"/>
                  <a:gd name="T13" fmla="*/ 125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0" h="169">
                    <a:moveTo>
                      <a:pt x="330" y="125"/>
                    </a:moveTo>
                    <a:cubicBezTo>
                      <a:pt x="330" y="125"/>
                      <a:pt x="256" y="61"/>
                      <a:pt x="177" y="31"/>
                    </a:cubicBezTo>
                    <a:cubicBezTo>
                      <a:pt x="97" y="0"/>
                      <a:pt x="62" y="17"/>
                      <a:pt x="32" y="40"/>
                    </a:cubicBezTo>
                    <a:cubicBezTo>
                      <a:pt x="2" y="63"/>
                      <a:pt x="0" y="115"/>
                      <a:pt x="32" y="131"/>
                    </a:cubicBezTo>
                    <a:cubicBezTo>
                      <a:pt x="64" y="148"/>
                      <a:pt x="108" y="130"/>
                      <a:pt x="153" y="125"/>
                    </a:cubicBezTo>
                    <a:cubicBezTo>
                      <a:pt x="198" y="120"/>
                      <a:pt x="219" y="169"/>
                      <a:pt x="219" y="169"/>
                    </a:cubicBezTo>
                    <a:cubicBezTo>
                      <a:pt x="219" y="169"/>
                      <a:pt x="318" y="161"/>
                      <a:pt x="330" y="125"/>
                    </a:cubicBezTo>
                    <a:close/>
                  </a:path>
                </a:pathLst>
              </a:custGeom>
              <a:solidFill>
                <a:srgbClr val="4EC9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67">
                <a:extLst>
                  <a:ext uri="{FF2B5EF4-FFF2-40B4-BE49-F238E27FC236}">
                    <a16:creationId xmlns:a16="http://schemas.microsoft.com/office/drawing/2014/main" id="{DB914362-54F5-4C4A-A9D5-7EE788128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891" y="4192588"/>
                <a:ext cx="265113" cy="296863"/>
              </a:xfrm>
              <a:custGeom>
                <a:avLst/>
                <a:gdLst>
                  <a:gd name="T0" fmla="*/ 78 w 78"/>
                  <a:gd name="T1" fmla="*/ 79 h 87"/>
                  <a:gd name="T2" fmla="*/ 68 w 78"/>
                  <a:gd name="T3" fmla="*/ 55 h 87"/>
                  <a:gd name="T4" fmla="*/ 11 w 78"/>
                  <a:gd name="T5" fmla="*/ 0 h 87"/>
                  <a:gd name="T6" fmla="*/ 0 w 78"/>
                  <a:gd name="T7" fmla="*/ 4 h 87"/>
                  <a:gd name="T8" fmla="*/ 22 w 78"/>
                  <a:gd name="T9" fmla="*/ 87 h 87"/>
                  <a:gd name="T10" fmla="*/ 78 w 78"/>
                  <a:gd name="T11" fmla="*/ 7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" h="87">
                    <a:moveTo>
                      <a:pt x="78" y="79"/>
                    </a:moveTo>
                    <a:cubicBezTo>
                      <a:pt x="76" y="71"/>
                      <a:pt x="73" y="63"/>
                      <a:pt x="68" y="55"/>
                    </a:cubicBezTo>
                    <a:cubicBezTo>
                      <a:pt x="52" y="28"/>
                      <a:pt x="11" y="0"/>
                      <a:pt x="11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2" y="87"/>
                      <a:pt x="22" y="87"/>
                      <a:pt x="22" y="87"/>
                    </a:cubicBezTo>
                    <a:cubicBezTo>
                      <a:pt x="40" y="87"/>
                      <a:pt x="59" y="83"/>
                      <a:pt x="78" y="79"/>
                    </a:cubicBezTo>
                    <a:close/>
                  </a:path>
                </a:pathLst>
              </a:custGeom>
              <a:solidFill>
                <a:srgbClr val="2BBFE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68">
                <a:extLst>
                  <a:ext uri="{FF2B5EF4-FFF2-40B4-BE49-F238E27FC236}">
                    <a16:creationId xmlns:a16="http://schemas.microsoft.com/office/drawing/2014/main" id="{801E84AE-2002-4BBD-B3C0-306016F330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354" y="4183063"/>
                <a:ext cx="282575" cy="396875"/>
              </a:xfrm>
              <a:custGeom>
                <a:avLst/>
                <a:gdLst>
                  <a:gd name="T0" fmla="*/ 32 w 83"/>
                  <a:gd name="T1" fmla="*/ 2 h 117"/>
                  <a:gd name="T2" fmla="*/ 72 w 83"/>
                  <a:gd name="T3" fmla="*/ 44 h 117"/>
                  <a:gd name="T4" fmla="*/ 79 w 83"/>
                  <a:gd name="T5" fmla="*/ 92 h 117"/>
                  <a:gd name="T6" fmla="*/ 19 w 83"/>
                  <a:gd name="T7" fmla="*/ 117 h 117"/>
                  <a:gd name="T8" fmla="*/ 10 w 83"/>
                  <a:gd name="T9" fmla="*/ 77 h 117"/>
                  <a:gd name="T10" fmla="*/ 0 w 83"/>
                  <a:gd name="T11" fmla="*/ 39 h 117"/>
                  <a:gd name="T12" fmla="*/ 32 w 83"/>
                  <a:gd name="T13" fmla="*/ 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117">
                    <a:moveTo>
                      <a:pt x="32" y="2"/>
                    </a:moveTo>
                    <a:cubicBezTo>
                      <a:pt x="55" y="0"/>
                      <a:pt x="65" y="22"/>
                      <a:pt x="72" y="44"/>
                    </a:cubicBezTo>
                    <a:cubicBezTo>
                      <a:pt x="83" y="75"/>
                      <a:pt x="79" y="92"/>
                      <a:pt x="79" y="92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9" y="117"/>
                      <a:pt x="18" y="96"/>
                      <a:pt x="10" y="77"/>
                    </a:cubicBezTo>
                    <a:cubicBezTo>
                      <a:pt x="6" y="65"/>
                      <a:pt x="0" y="52"/>
                      <a:pt x="0" y="39"/>
                    </a:cubicBezTo>
                    <a:cubicBezTo>
                      <a:pt x="0" y="21"/>
                      <a:pt x="16" y="4"/>
                      <a:pt x="32" y="2"/>
                    </a:cubicBezTo>
                    <a:close/>
                  </a:path>
                </a:pathLst>
              </a:custGeom>
              <a:solidFill>
                <a:srgbClr val="D941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69">
                <a:extLst>
                  <a:ext uri="{FF2B5EF4-FFF2-40B4-BE49-F238E27FC236}">
                    <a16:creationId xmlns:a16="http://schemas.microsoft.com/office/drawing/2014/main" id="{74590E42-689E-444E-AB99-B75232014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0616" y="4508500"/>
                <a:ext cx="603250" cy="395288"/>
              </a:xfrm>
              <a:custGeom>
                <a:avLst/>
                <a:gdLst>
                  <a:gd name="T0" fmla="*/ 7 w 177"/>
                  <a:gd name="T1" fmla="*/ 83 h 116"/>
                  <a:gd name="T2" fmla="*/ 92 w 177"/>
                  <a:gd name="T3" fmla="*/ 54 h 116"/>
                  <a:gd name="T4" fmla="*/ 129 w 177"/>
                  <a:gd name="T5" fmla="*/ 37 h 116"/>
                  <a:gd name="T6" fmla="*/ 120 w 177"/>
                  <a:gd name="T7" fmla="*/ 17 h 116"/>
                  <a:gd name="T8" fmla="*/ 162 w 177"/>
                  <a:gd name="T9" fmla="*/ 0 h 116"/>
                  <a:gd name="T10" fmla="*/ 168 w 177"/>
                  <a:gd name="T11" fmla="*/ 63 h 116"/>
                  <a:gd name="T12" fmla="*/ 35 w 177"/>
                  <a:gd name="T13" fmla="*/ 106 h 116"/>
                  <a:gd name="T14" fmla="*/ 0 w 177"/>
                  <a:gd name="T15" fmla="*/ 116 h 116"/>
                  <a:gd name="T16" fmla="*/ 7 w 177"/>
                  <a:gd name="T17" fmla="*/ 8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7" h="116">
                    <a:moveTo>
                      <a:pt x="7" y="83"/>
                    </a:moveTo>
                    <a:cubicBezTo>
                      <a:pt x="7" y="83"/>
                      <a:pt x="63" y="61"/>
                      <a:pt x="92" y="54"/>
                    </a:cubicBezTo>
                    <a:cubicBezTo>
                      <a:pt x="122" y="48"/>
                      <a:pt x="129" y="37"/>
                      <a:pt x="129" y="37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2" y="0"/>
                      <a:pt x="177" y="54"/>
                      <a:pt x="168" y="63"/>
                    </a:cubicBezTo>
                    <a:cubicBezTo>
                      <a:pt x="159" y="72"/>
                      <a:pt x="64" y="102"/>
                      <a:pt x="35" y="106"/>
                    </a:cubicBezTo>
                    <a:cubicBezTo>
                      <a:pt x="7" y="110"/>
                      <a:pt x="0" y="116"/>
                      <a:pt x="0" y="116"/>
                    </a:cubicBezTo>
                    <a:lnTo>
                      <a:pt x="7" y="83"/>
                    </a:ln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70">
                <a:extLst>
                  <a:ext uri="{FF2B5EF4-FFF2-40B4-BE49-F238E27FC236}">
                    <a16:creationId xmlns:a16="http://schemas.microsoft.com/office/drawing/2014/main" id="{FB3F1C55-FB33-43AB-AFD6-505243C78E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241" y="4713288"/>
                <a:ext cx="180975" cy="282575"/>
              </a:xfrm>
              <a:custGeom>
                <a:avLst/>
                <a:gdLst>
                  <a:gd name="T0" fmla="*/ 42 w 53"/>
                  <a:gd name="T1" fmla="*/ 15 h 83"/>
                  <a:gd name="T2" fmla="*/ 23 w 53"/>
                  <a:gd name="T3" fmla="*/ 5 h 83"/>
                  <a:gd name="T4" fmla="*/ 0 w 53"/>
                  <a:gd name="T5" fmla="*/ 50 h 83"/>
                  <a:gd name="T6" fmla="*/ 37 w 53"/>
                  <a:gd name="T7" fmla="*/ 83 h 83"/>
                  <a:gd name="T8" fmla="*/ 42 w 53"/>
                  <a:gd name="T9" fmla="*/ 66 h 83"/>
                  <a:gd name="T10" fmla="*/ 46 w 53"/>
                  <a:gd name="T11" fmla="*/ 61 h 83"/>
                  <a:gd name="T12" fmla="*/ 46 w 53"/>
                  <a:gd name="T13" fmla="*/ 39 h 83"/>
                  <a:gd name="T14" fmla="*/ 42 w 53"/>
                  <a:gd name="T15" fmla="*/ 15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83">
                    <a:moveTo>
                      <a:pt x="42" y="15"/>
                    </a:moveTo>
                    <a:cubicBezTo>
                      <a:pt x="42" y="15"/>
                      <a:pt x="37" y="0"/>
                      <a:pt x="23" y="5"/>
                    </a:cubicBezTo>
                    <a:cubicBezTo>
                      <a:pt x="9" y="9"/>
                      <a:pt x="0" y="36"/>
                      <a:pt x="0" y="50"/>
                    </a:cubicBezTo>
                    <a:cubicBezTo>
                      <a:pt x="0" y="65"/>
                      <a:pt x="29" y="83"/>
                      <a:pt x="37" y="83"/>
                    </a:cubicBezTo>
                    <a:cubicBezTo>
                      <a:pt x="45" y="83"/>
                      <a:pt x="47" y="71"/>
                      <a:pt x="42" y="66"/>
                    </a:cubicBezTo>
                    <a:cubicBezTo>
                      <a:pt x="37" y="61"/>
                      <a:pt x="39" y="61"/>
                      <a:pt x="46" y="61"/>
                    </a:cubicBezTo>
                    <a:cubicBezTo>
                      <a:pt x="53" y="61"/>
                      <a:pt x="46" y="51"/>
                      <a:pt x="46" y="39"/>
                    </a:cubicBezTo>
                    <a:cubicBezTo>
                      <a:pt x="46" y="27"/>
                      <a:pt x="42" y="15"/>
                      <a:pt x="42" y="15"/>
                    </a:cubicBez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71">
                <a:extLst>
                  <a:ext uri="{FF2B5EF4-FFF2-40B4-BE49-F238E27FC236}">
                    <a16:creationId xmlns:a16="http://schemas.microsoft.com/office/drawing/2014/main" id="{59E1F007-7675-4047-ACF5-B5BB706675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1816" y="5945188"/>
                <a:ext cx="395288" cy="295275"/>
              </a:xfrm>
              <a:custGeom>
                <a:avLst/>
                <a:gdLst>
                  <a:gd name="T0" fmla="*/ 115 w 116"/>
                  <a:gd name="T1" fmla="*/ 43 h 87"/>
                  <a:gd name="T2" fmla="*/ 82 w 116"/>
                  <a:gd name="T3" fmla="*/ 60 h 87"/>
                  <a:gd name="T4" fmla="*/ 41 w 116"/>
                  <a:gd name="T5" fmla="*/ 84 h 87"/>
                  <a:gd name="T6" fmla="*/ 1 w 116"/>
                  <a:gd name="T7" fmla="*/ 78 h 87"/>
                  <a:gd name="T8" fmla="*/ 31 w 116"/>
                  <a:gd name="T9" fmla="*/ 50 h 87"/>
                  <a:gd name="T10" fmla="*/ 55 w 116"/>
                  <a:gd name="T11" fmla="*/ 10 h 87"/>
                  <a:gd name="T12" fmla="*/ 83 w 116"/>
                  <a:gd name="T13" fmla="*/ 2 h 87"/>
                  <a:gd name="T14" fmla="*/ 115 w 116"/>
                  <a:gd name="T15" fmla="*/ 4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6" h="87">
                    <a:moveTo>
                      <a:pt x="115" y="43"/>
                    </a:moveTo>
                    <a:cubicBezTo>
                      <a:pt x="115" y="43"/>
                      <a:pt x="95" y="53"/>
                      <a:pt x="82" y="60"/>
                    </a:cubicBezTo>
                    <a:cubicBezTo>
                      <a:pt x="69" y="67"/>
                      <a:pt x="48" y="80"/>
                      <a:pt x="41" y="84"/>
                    </a:cubicBezTo>
                    <a:cubicBezTo>
                      <a:pt x="34" y="87"/>
                      <a:pt x="2" y="84"/>
                      <a:pt x="1" y="78"/>
                    </a:cubicBezTo>
                    <a:cubicBezTo>
                      <a:pt x="0" y="72"/>
                      <a:pt x="22" y="62"/>
                      <a:pt x="31" y="50"/>
                    </a:cubicBezTo>
                    <a:cubicBezTo>
                      <a:pt x="39" y="38"/>
                      <a:pt x="51" y="9"/>
                      <a:pt x="55" y="10"/>
                    </a:cubicBezTo>
                    <a:cubicBezTo>
                      <a:pt x="60" y="12"/>
                      <a:pt x="77" y="0"/>
                      <a:pt x="83" y="2"/>
                    </a:cubicBezTo>
                    <a:cubicBezTo>
                      <a:pt x="89" y="3"/>
                      <a:pt x="116" y="38"/>
                      <a:pt x="115" y="43"/>
                    </a:cubicBezTo>
                    <a:close/>
                  </a:path>
                </a:pathLst>
              </a:custGeom>
              <a:solidFill>
                <a:srgbClr val="7274C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72">
                <a:extLst>
                  <a:ext uri="{FF2B5EF4-FFF2-40B4-BE49-F238E27FC236}">
                    <a16:creationId xmlns:a16="http://schemas.microsoft.com/office/drawing/2014/main" id="{363D02D0-1D18-46AA-9A24-07B36D45A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9916" y="6070600"/>
                <a:ext cx="319088" cy="139700"/>
              </a:xfrm>
              <a:custGeom>
                <a:avLst/>
                <a:gdLst>
                  <a:gd name="T0" fmla="*/ 94 w 94"/>
                  <a:gd name="T1" fmla="*/ 0 h 41"/>
                  <a:gd name="T2" fmla="*/ 0 w 94"/>
                  <a:gd name="T3" fmla="*/ 41 h 41"/>
                  <a:gd name="T4" fmla="*/ 49 w 94"/>
                  <a:gd name="T5" fmla="*/ 24 h 41"/>
                  <a:gd name="T6" fmla="*/ 71 w 94"/>
                  <a:gd name="T7" fmla="*/ 11 h 41"/>
                  <a:gd name="T8" fmla="*/ 94 w 94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41">
                    <a:moveTo>
                      <a:pt x="94" y="0"/>
                    </a:moveTo>
                    <a:cubicBezTo>
                      <a:pt x="36" y="19"/>
                      <a:pt x="60" y="28"/>
                      <a:pt x="0" y="41"/>
                    </a:cubicBezTo>
                    <a:cubicBezTo>
                      <a:pt x="15" y="39"/>
                      <a:pt x="37" y="34"/>
                      <a:pt x="49" y="24"/>
                    </a:cubicBezTo>
                    <a:cubicBezTo>
                      <a:pt x="56" y="19"/>
                      <a:pt x="63" y="15"/>
                      <a:pt x="71" y="11"/>
                    </a:cubicBezTo>
                    <a:cubicBezTo>
                      <a:pt x="79" y="7"/>
                      <a:pt x="86" y="3"/>
                      <a:pt x="94" y="0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73">
                <a:extLst>
                  <a:ext uri="{FF2B5EF4-FFF2-40B4-BE49-F238E27FC236}">
                    <a16:creationId xmlns:a16="http://schemas.microsoft.com/office/drawing/2014/main" id="{0A0199CE-F029-47BD-8F1C-40B756185A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8816" y="6067425"/>
                <a:ext cx="84138" cy="23813"/>
              </a:xfrm>
              <a:custGeom>
                <a:avLst/>
                <a:gdLst>
                  <a:gd name="T0" fmla="*/ 25 w 25"/>
                  <a:gd name="T1" fmla="*/ 5 h 7"/>
                  <a:gd name="T2" fmla="*/ 22 w 25"/>
                  <a:gd name="T3" fmla="*/ 7 h 7"/>
                  <a:gd name="T4" fmla="*/ 0 w 25"/>
                  <a:gd name="T5" fmla="*/ 4 h 7"/>
                  <a:gd name="T6" fmla="*/ 2 w 25"/>
                  <a:gd name="T7" fmla="*/ 0 h 7"/>
                  <a:gd name="T8" fmla="*/ 23 w 25"/>
                  <a:gd name="T9" fmla="*/ 3 h 7"/>
                  <a:gd name="T10" fmla="*/ 25 w 25"/>
                  <a:gd name="T1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7">
                    <a:moveTo>
                      <a:pt x="25" y="5"/>
                    </a:moveTo>
                    <a:cubicBezTo>
                      <a:pt x="24" y="7"/>
                      <a:pt x="23" y="7"/>
                      <a:pt x="22" y="7"/>
                    </a:cubicBezTo>
                    <a:cubicBezTo>
                      <a:pt x="17" y="6"/>
                      <a:pt x="8" y="5"/>
                      <a:pt x="0" y="4"/>
                    </a:cubicBezTo>
                    <a:cubicBezTo>
                      <a:pt x="1" y="3"/>
                      <a:pt x="1" y="1"/>
                      <a:pt x="2" y="0"/>
                    </a:cubicBezTo>
                    <a:cubicBezTo>
                      <a:pt x="12" y="0"/>
                      <a:pt x="22" y="2"/>
                      <a:pt x="23" y="3"/>
                    </a:cubicBezTo>
                    <a:cubicBezTo>
                      <a:pt x="24" y="3"/>
                      <a:pt x="25" y="4"/>
                      <a:pt x="25" y="5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74">
                <a:extLst>
                  <a:ext uri="{FF2B5EF4-FFF2-40B4-BE49-F238E27FC236}">
                    <a16:creationId xmlns:a16="http://schemas.microsoft.com/office/drawing/2014/main" id="{6876F56B-D67E-493A-975B-D3E9D52BF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629" y="6019800"/>
                <a:ext cx="57150" cy="36513"/>
              </a:xfrm>
              <a:custGeom>
                <a:avLst/>
                <a:gdLst>
                  <a:gd name="T0" fmla="*/ 16 w 17"/>
                  <a:gd name="T1" fmla="*/ 9 h 11"/>
                  <a:gd name="T2" fmla="*/ 13 w 17"/>
                  <a:gd name="T3" fmla="*/ 10 h 11"/>
                  <a:gd name="T4" fmla="*/ 0 w 17"/>
                  <a:gd name="T5" fmla="*/ 4 h 11"/>
                  <a:gd name="T6" fmla="*/ 2 w 17"/>
                  <a:gd name="T7" fmla="*/ 0 h 11"/>
                  <a:gd name="T8" fmla="*/ 16 w 17"/>
                  <a:gd name="T9" fmla="*/ 6 h 11"/>
                  <a:gd name="T10" fmla="*/ 16 w 17"/>
                  <a:gd name="T11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11">
                    <a:moveTo>
                      <a:pt x="16" y="9"/>
                    </a:moveTo>
                    <a:cubicBezTo>
                      <a:pt x="16" y="10"/>
                      <a:pt x="14" y="11"/>
                      <a:pt x="13" y="10"/>
                    </a:cubicBezTo>
                    <a:cubicBezTo>
                      <a:pt x="13" y="10"/>
                      <a:pt x="7" y="6"/>
                      <a:pt x="0" y="4"/>
                    </a:cubicBezTo>
                    <a:cubicBezTo>
                      <a:pt x="1" y="3"/>
                      <a:pt x="2" y="1"/>
                      <a:pt x="2" y="0"/>
                    </a:cubicBezTo>
                    <a:cubicBezTo>
                      <a:pt x="10" y="2"/>
                      <a:pt x="15" y="6"/>
                      <a:pt x="16" y="6"/>
                    </a:cubicBezTo>
                    <a:cubicBezTo>
                      <a:pt x="17" y="7"/>
                      <a:pt x="17" y="8"/>
                      <a:pt x="16" y="9"/>
                    </a:cubicBez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75">
                <a:extLst>
                  <a:ext uri="{FF2B5EF4-FFF2-40B4-BE49-F238E27FC236}">
                    <a16:creationId xmlns:a16="http://schemas.microsoft.com/office/drawing/2014/main" id="{C6D4CA4C-476B-4C1D-BB4E-342F015D8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8804" y="6203950"/>
                <a:ext cx="187325" cy="77788"/>
              </a:xfrm>
              <a:custGeom>
                <a:avLst/>
                <a:gdLst>
                  <a:gd name="T0" fmla="*/ 118 w 118"/>
                  <a:gd name="T1" fmla="*/ 27 h 49"/>
                  <a:gd name="T2" fmla="*/ 7 w 118"/>
                  <a:gd name="T3" fmla="*/ 49 h 49"/>
                  <a:gd name="T4" fmla="*/ 0 w 118"/>
                  <a:gd name="T5" fmla="*/ 23 h 49"/>
                  <a:gd name="T6" fmla="*/ 112 w 118"/>
                  <a:gd name="T7" fmla="*/ 0 h 49"/>
                  <a:gd name="T8" fmla="*/ 118 w 118"/>
                  <a:gd name="T9" fmla="*/ 2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49">
                    <a:moveTo>
                      <a:pt x="118" y="27"/>
                    </a:moveTo>
                    <a:lnTo>
                      <a:pt x="7" y="49"/>
                    </a:lnTo>
                    <a:lnTo>
                      <a:pt x="0" y="23"/>
                    </a:lnTo>
                    <a:lnTo>
                      <a:pt x="112" y="0"/>
                    </a:lnTo>
                    <a:lnTo>
                      <a:pt x="118" y="27"/>
                    </a:lnTo>
                    <a:close/>
                  </a:path>
                </a:pathLst>
              </a:cu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76">
                <a:extLst>
                  <a:ext uri="{FF2B5EF4-FFF2-40B4-BE49-F238E27FC236}">
                    <a16:creationId xmlns:a16="http://schemas.microsoft.com/office/drawing/2014/main" id="{8A37F106-B378-4C9D-A4BB-3CDEB2F508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604" y="4314825"/>
                <a:ext cx="565150" cy="273050"/>
              </a:xfrm>
              <a:custGeom>
                <a:avLst/>
                <a:gdLst>
                  <a:gd name="T0" fmla="*/ 113 w 166"/>
                  <a:gd name="T1" fmla="*/ 13 h 80"/>
                  <a:gd name="T2" fmla="*/ 0 w 166"/>
                  <a:gd name="T3" fmla="*/ 9 h 80"/>
                  <a:gd name="T4" fmla="*/ 1 w 166"/>
                  <a:gd name="T5" fmla="*/ 12 h 80"/>
                  <a:gd name="T6" fmla="*/ 112 w 166"/>
                  <a:gd name="T7" fmla="*/ 16 h 80"/>
                  <a:gd name="T8" fmla="*/ 163 w 166"/>
                  <a:gd name="T9" fmla="*/ 80 h 80"/>
                  <a:gd name="T10" fmla="*/ 166 w 166"/>
                  <a:gd name="T11" fmla="*/ 79 h 80"/>
                  <a:gd name="T12" fmla="*/ 113 w 166"/>
                  <a:gd name="T13" fmla="*/ 1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80">
                    <a:moveTo>
                      <a:pt x="113" y="13"/>
                    </a:moveTo>
                    <a:cubicBezTo>
                      <a:pt x="88" y="0"/>
                      <a:pt x="4" y="8"/>
                      <a:pt x="0" y="9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2" y="12"/>
                      <a:pt x="87" y="3"/>
                      <a:pt x="112" y="16"/>
                    </a:cubicBezTo>
                    <a:cubicBezTo>
                      <a:pt x="128" y="23"/>
                      <a:pt x="149" y="56"/>
                      <a:pt x="163" y="80"/>
                    </a:cubicBezTo>
                    <a:cubicBezTo>
                      <a:pt x="164" y="80"/>
                      <a:pt x="165" y="79"/>
                      <a:pt x="166" y="79"/>
                    </a:cubicBezTo>
                    <a:cubicBezTo>
                      <a:pt x="152" y="55"/>
                      <a:pt x="130" y="21"/>
                      <a:pt x="113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77">
                <a:extLst>
                  <a:ext uri="{FF2B5EF4-FFF2-40B4-BE49-F238E27FC236}">
                    <a16:creationId xmlns:a16="http://schemas.microsoft.com/office/drawing/2014/main" id="{D787606A-FBA3-49F3-9651-63DDCD40B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791" y="4267200"/>
                <a:ext cx="642938" cy="309563"/>
              </a:xfrm>
              <a:custGeom>
                <a:avLst/>
                <a:gdLst>
                  <a:gd name="T0" fmla="*/ 122 w 189"/>
                  <a:gd name="T1" fmla="*/ 13 h 91"/>
                  <a:gd name="T2" fmla="*/ 0 w 189"/>
                  <a:gd name="T3" fmla="*/ 10 h 91"/>
                  <a:gd name="T4" fmla="*/ 0 w 189"/>
                  <a:gd name="T5" fmla="*/ 13 h 91"/>
                  <a:gd name="T6" fmla="*/ 121 w 189"/>
                  <a:gd name="T7" fmla="*/ 16 h 91"/>
                  <a:gd name="T8" fmla="*/ 185 w 189"/>
                  <a:gd name="T9" fmla="*/ 91 h 91"/>
                  <a:gd name="T10" fmla="*/ 189 w 189"/>
                  <a:gd name="T11" fmla="*/ 90 h 91"/>
                  <a:gd name="T12" fmla="*/ 122 w 189"/>
                  <a:gd name="T13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9" h="91">
                    <a:moveTo>
                      <a:pt x="122" y="13"/>
                    </a:moveTo>
                    <a:cubicBezTo>
                      <a:pt x="90" y="0"/>
                      <a:pt x="4" y="10"/>
                      <a:pt x="0" y="1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" y="13"/>
                      <a:pt x="90" y="3"/>
                      <a:pt x="121" y="16"/>
                    </a:cubicBezTo>
                    <a:cubicBezTo>
                      <a:pt x="140" y="24"/>
                      <a:pt x="168" y="63"/>
                      <a:pt x="185" y="91"/>
                    </a:cubicBezTo>
                    <a:cubicBezTo>
                      <a:pt x="186" y="91"/>
                      <a:pt x="188" y="90"/>
                      <a:pt x="189" y="90"/>
                    </a:cubicBezTo>
                    <a:cubicBezTo>
                      <a:pt x="171" y="62"/>
                      <a:pt x="143" y="22"/>
                      <a:pt x="122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78">
                <a:extLst>
                  <a:ext uri="{FF2B5EF4-FFF2-40B4-BE49-F238E27FC236}">
                    <a16:creationId xmlns:a16="http://schemas.microsoft.com/office/drawing/2014/main" id="{3DCA8A6A-0124-49A7-8316-95F0DD4E3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1791" y="4294188"/>
                <a:ext cx="84138" cy="17463"/>
              </a:xfrm>
              <a:custGeom>
                <a:avLst/>
                <a:gdLst>
                  <a:gd name="T0" fmla="*/ 22 w 25"/>
                  <a:gd name="T1" fmla="*/ 0 h 5"/>
                  <a:gd name="T2" fmla="*/ 0 w 25"/>
                  <a:gd name="T3" fmla="*/ 2 h 5"/>
                  <a:gd name="T4" fmla="*/ 0 w 25"/>
                  <a:gd name="T5" fmla="*/ 5 h 5"/>
                  <a:gd name="T6" fmla="*/ 25 w 25"/>
                  <a:gd name="T7" fmla="*/ 3 h 5"/>
                  <a:gd name="T8" fmla="*/ 22 w 2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2" y="0"/>
                    </a:moveTo>
                    <a:cubicBezTo>
                      <a:pt x="10" y="1"/>
                      <a:pt x="1" y="2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11" y="4"/>
                      <a:pt x="25" y="3"/>
                    </a:cubicBezTo>
                    <a:cubicBezTo>
                      <a:pt x="24" y="2"/>
                      <a:pt x="23" y="1"/>
                      <a:pt x="22" y="0"/>
                    </a:cubicBezTo>
                    <a:close/>
                  </a:path>
                </a:pathLst>
              </a:custGeom>
              <a:solidFill>
                <a:srgbClr val="C6C3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79">
                <a:extLst>
                  <a:ext uri="{FF2B5EF4-FFF2-40B4-BE49-F238E27FC236}">
                    <a16:creationId xmlns:a16="http://schemas.microsoft.com/office/drawing/2014/main" id="{5808DF6B-3EB0-498B-8050-6BDAFD081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604" y="4338638"/>
                <a:ext cx="98425" cy="17463"/>
              </a:xfrm>
              <a:custGeom>
                <a:avLst/>
                <a:gdLst>
                  <a:gd name="T0" fmla="*/ 0 w 29"/>
                  <a:gd name="T1" fmla="*/ 2 h 5"/>
                  <a:gd name="T2" fmla="*/ 1 w 29"/>
                  <a:gd name="T3" fmla="*/ 5 h 5"/>
                  <a:gd name="T4" fmla="*/ 29 w 29"/>
                  <a:gd name="T5" fmla="*/ 3 h 5"/>
                  <a:gd name="T6" fmla="*/ 27 w 29"/>
                  <a:gd name="T7" fmla="*/ 0 h 5"/>
                  <a:gd name="T8" fmla="*/ 0 w 29"/>
                  <a:gd name="T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5">
                    <a:moveTo>
                      <a:pt x="0" y="2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13" y="4"/>
                      <a:pt x="29" y="3"/>
                    </a:cubicBezTo>
                    <a:cubicBezTo>
                      <a:pt x="28" y="2"/>
                      <a:pt x="27" y="1"/>
                      <a:pt x="27" y="0"/>
                    </a:cubicBezTo>
                    <a:cubicBezTo>
                      <a:pt x="12" y="0"/>
                      <a:pt x="2" y="1"/>
                      <a:pt x="0" y="2"/>
                    </a:cubicBezTo>
                    <a:close/>
                  </a:path>
                </a:pathLst>
              </a:custGeom>
              <a:solidFill>
                <a:srgbClr val="C6C3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80">
                <a:extLst>
                  <a:ext uri="{FF2B5EF4-FFF2-40B4-BE49-F238E27FC236}">
                    <a16:creationId xmlns:a16="http://schemas.microsoft.com/office/drawing/2014/main" id="{7ABC1E40-BE51-4B6B-86D4-C3A5E6D33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354" y="4183063"/>
                <a:ext cx="282575" cy="396875"/>
              </a:xfrm>
              <a:custGeom>
                <a:avLst/>
                <a:gdLst>
                  <a:gd name="T0" fmla="*/ 32 w 83"/>
                  <a:gd name="T1" fmla="*/ 2 h 117"/>
                  <a:gd name="T2" fmla="*/ 72 w 83"/>
                  <a:gd name="T3" fmla="*/ 44 h 117"/>
                  <a:gd name="T4" fmla="*/ 79 w 83"/>
                  <a:gd name="T5" fmla="*/ 92 h 117"/>
                  <a:gd name="T6" fmla="*/ 19 w 83"/>
                  <a:gd name="T7" fmla="*/ 117 h 117"/>
                  <a:gd name="T8" fmla="*/ 10 w 83"/>
                  <a:gd name="T9" fmla="*/ 77 h 117"/>
                  <a:gd name="T10" fmla="*/ 0 w 83"/>
                  <a:gd name="T11" fmla="*/ 39 h 117"/>
                  <a:gd name="T12" fmla="*/ 32 w 83"/>
                  <a:gd name="T13" fmla="*/ 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117">
                    <a:moveTo>
                      <a:pt x="32" y="2"/>
                    </a:moveTo>
                    <a:cubicBezTo>
                      <a:pt x="55" y="0"/>
                      <a:pt x="65" y="22"/>
                      <a:pt x="72" y="44"/>
                    </a:cubicBezTo>
                    <a:cubicBezTo>
                      <a:pt x="83" y="75"/>
                      <a:pt x="79" y="92"/>
                      <a:pt x="79" y="92"/>
                    </a:cubicBezTo>
                    <a:cubicBezTo>
                      <a:pt x="19" y="117"/>
                      <a:pt x="19" y="117"/>
                      <a:pt x="19" y="117"/>
                    </a:cubicBezTo>
                    <a:cubicBezTo>
                      <a:pt x="19" y="117"/>
                      <a:pt x="18" y="96"/>
                      <a:pt x="10" y="77"/>
                    </a:cubicBezTo>
                    <a:cubicBezTo>
                      <a:pt x="6" y="65"/>
                      <a:pt x="0" y="52"/>
                      <a:pt x="0" y="39"/>
                    </a:cubicBezTo>
                    <a:cubicBezTo>
                      <a:pt x="0" y="21"/>
                      <a:pt x="16" y="4"/>
                      <a:pt x="32" y="2"/>
                    </a:cubicBezTo>
                    <a:close/>
                  </a:path>
                </a:pathLst>
              </a:custGeom>
              <a:solidFill>
                <a:srgbClr val="14B4E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82">
                <a:extLst>
                  <a:ext uri="{FF2B5EF4-FFF2-40B4-BE49-F238E27FC236}">
                    <a16:creationId xmlns:a16="http://schemas.microsoft.com/office/drawing/2014/main" id="{931C8644-BE58-41FA-9B3F-319EFD13D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2054" y="3957638"/>
                <a:ext cx="163513" cy="115888"/>
              </a:xfrm>
              <a:custGeom>
                <a:avLst/>
                <a:gdLst>
                  <a:gd name="T0" fmla="*/ 0 w 103"/>
                  <a:gd name="T1" fmla="*/ 67 h 73"/>
                  <a:gd name="T2" fmla="*/ 88 w 103"/>
                  <a:gd name="T3" fmla="*/ 0 h 73"/>
                  <a:gd name="T4" fmla="*/ 103 w 103"/>
                  <a:gd name="T5" fmla="*/ 5 h 73"/>
                  <a:gd name="T6" fmla="*/ 4 w 103"/>
                  <a:gd name="T7" fmla="*/ 73 h 73"/>
                  <a:gd name="T8" fmla="*/ 0 w 103"/>
                  <a:gd name="T9" fmla="*/ 67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73">
                    <a:moveTo>
                      <a:pt x="0" y="67"/>
                    </a:moveTo>
                    <a:lnTo>
                      <a:pt x="88" y="0"/>
                    </a:lnTo>
                    <a:lnTo>
                      <a:pt x="103" y="5"/>
                    </a:lnTo>
                    <a:lnTo>
                      <a:pt x="4" y="73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3842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83">
                <a:extLst>
                  <a:ext uri="{FF2B5EF4-FFF2-40B4-BE49-F238E27FC236}">
                    <a16:creationId xmlns:a16="http://schemas.microsoft.com/office/drawing/2014/main" id="{8B90A299-6998-4140-8724-E861424FA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0004" y="3927475"/>
                <a:ext cx="55563" cy="449263"/>
              </a:xfrm>
              <a:custGeom>
                <a:avLst/>
                <a:gdLst>
                  <a:gd name="T0" fmla="*/ 8 w 16"/>
                  <a:gd name="T1" fmla="*/ 0 h 132"/>
                  <a:gd name="T2" fmla="*/ 12 w 16"/>
                  <a:gd name="T3" fmla="*/ 115 h 132"/>
                  <a:gd name="T4" fmla="*/ 5 w 16"/>
                  <a:gd name="T5" fmla="*/ 126 h 132"/>
                  <a:gd name="T6" fmla="*/ 0 w 16"/>
                  <a:gd name="T7" fmla="*/ 124 h 132"/>
                  <a:gd name="T8" fmla="*/ 2 w 16"/>
                  <a:gd name="T9" fmla="*/ 122 h 132"/>
                  <a:gd name="T10" fmla="*/ 9 w 16"/>
                  <a:gd name="T11" fmla="*/ 66 h 132"/>
                  <a:gd name="T12" fmla="*/ 3 w 16"/>
                  <a:gd name="T13" fmla="*/ 1 h 132"/>
                  <a:gd name="T14" fmla="*/ 8 w 16"/>
                  <a:gd name="T1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32">
                    <a:moveTo>
                      <a:pt x="8" y="0"/>
                    </a:moveTo>
                    <a:cubicBezTo>
                      <a:pt x="11" y="26"/>
                      <a:pt x="16" y="89"/>
                      <a:pt x="12" y="115"/>
                    </a:cubicBezTo>
                    <a:cubicBezTo>
                      <a:pt x="11" y="119"/>
                      <a:pt x="10" y="125"/>
                      <a:pt x="5" y="126"/>
                    </a:cubicBezTo>
                    <a:cubicBezTo>
                      <a:pt x="3" y="127"/>
                      <a:pt x="1" y="125"/>
                      <a:pt x="0" y="124"/>
                    </a:cubicBezTo>
                    <a:cubicBezTo>
                      <a:pt x="2" y="122"/>
                      <a:pt x="2" y="122"/>
                      <a:pt x="2" y="122"/>
                    </a:cubicBezTo>
                    <a:cubicBezTo>
                      <a:pt x="12" y="132"/>
                      <a:pt x="9" y="78"/>
                      <a:pt x="9" y="66"/>
                    </a:cubicBezTo>
                    <a:cubicBezTo>
                      <a:pt x="7" y="44"/>
                      <a:pt x="5" y="23"/>
                      <a:pt x="3" y="1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2B32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84">
                <a:extLst>
                  <a:ext uri="{FF2B5EF4-FFF2-40B4-BE49-F238E27FC236}">
                    <a16:creationId xmlns:a16="http://schemas.microsoft.com/office/drawing/2014/main" id="{C196EA3E-7490-494E-919B-A06D0884F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9004" y="3679825"/>
                <a:ext cx="568325" cy="360363"/>
              </a:xfrm>
              <a:custGeom>
                <a:avLst/>
                <a:gdLst>
                  <a:gd name="T0" fmla="*/ 22 w 167"/>
                  <a:gd name="T1" fmla="*/ 105 h 106"/>
                  <a:gd name="T2" fmla="*/ 48 w 167"/>
                  <a:gd name="T3" fmla="*/ 102 h 106"/>
                  <a:gd name="T4" fmla="*/ 120 w 167"/>
                  <a:gd name="T5" fmla="*/ 85 h 106"/>
                  <a:gd name="T6" fmla="*/ 149 w 167"/>
                  <a:gd name="T7" fmla="*/ 83 h 106"/>
                  <a:gd name="T8" fmla="*/ 158 w 167"/>
                  <a:gd name="T9" fmla="*/ 17 h 106"/>
                  <a:gd name="T10" fmla="*/ 56 w 167"/>
                  <a:gd name="T11" fmla="*/ 24 h 106"/>
                  <a:gd name="T12" fmla="*/ 22 w 167"/>
                  <a:gd name="T13" fmla="*/ 10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7" h="106">
                    <a:moveTo>
                      <a:pt x="22" y="105"/>
                    </a:moveTo>
                    <a:cubicBezTo>
                      <a:pt x="22" y="105"/>
                      <a:pt x="23" y="106"/>
                      <a:pt x="48" y="102"/>
                    </a:cubicBezTo>
                    <a:cubicBezTo>
                      <a:pt x="73" y="99"/>
                      <a:pt x="110" y="83"/>
                      <a:pt x="120" y="85"/>
                    </a:cubicBezTo>
                    <a:cubicBezTo>
                      <a:pt x="130" y="86"/>
                      <a:pt x="142" y="86"/>
                      <a:pt x="149" y="83"/>
                    </a:cubicBezTo>
                    <a:cubicBezTo>
                      <a:pt x="157" y="79"/>
                      <a:pt x="167" y="27"/>
                      <a:pt x="158" y="17"/>
                    </a:cubicBezTo>
                    <a:cubicBezTo>
                      <a:pt x="149" y="8"/>
                      <a:pt x="90" y="0"/>
                      <a:pt x="56" y="24"/>
                    </a:cubicBezTo>
                    <a:cubicBezTo>
                      <a:pt x="22" y="49"/>
                      <a:pt x="0" y="90"/>
                      <a:pt x="22" y="105"/>
                    </a:cubicBezTo>
                    <a:close/>
                  </a:path>
                </a:pathLst>
              </a:custGeom>
              <a:solidFill>
                <a:srgbClr val="4EC9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85">
                <a:extLst>
                  <a:ext uri="{FF2B5EF4-FFF2-40B4-BE49-F238E27FC236}">
                    <a16:creationId xmlns:a16="http://schemas.microsoft.com/office/drawing/2014/main" id="{793FF1B3-83B1-4458-90A7-FEA4E8675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441" y="3775075"/>
                <a:ext cx="481013" cy="261938"/>
              </a:xfrm>
              <a:custGeom>
                <a:avLst/>
                <a:gdLst>
                  <a:gd name="T0" fmla="*/ 37 w 141"/>
                  <a:gd name="T1" fmla="*/ 29 h 77"/>
                  <a:gd name="T2" fmla="*/ 0 w 141"/>
                  <a:gd name="T3" fmla="*/ 76 h 77"/>
                  <a:gd name="T4" fmla="*/ 1 w 141"/>
                  <a:gd name="T5" fmla="*/ 77 h 77"/>
                  <a:gd name="T6" fmla="*/ 7 w 141"/>
                  <a:gd name="T7" fmla="*/ 77 h 77"/>
                  <a:gd name="T8" fmla="*/ 41 w 141"/>
                  <a:gd name="T9" fmla="*/ 34 h 77"/>
                  <a:gd name="T10" fmla="*/ 141 w 141"/>
                  <a:gd name="T11" fmla="*/ 10 h 77"/>
                  <a:gd name="T12" fmla="*/ 141 w 141"/>
                  <a:gd name="T13" fmla="*/ 3 h 77"/>
                  <a:gd name="T14" fmla="*/ 37 w 141"/>
                  <a:gd name="T15" fmla="*/ 29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1" h="77">
                    <a:moveTo>
                      <a:pt x="37" y="29"/>
                    </a:moveTo>
                    <a:cubicBezTo>
                      <a:pt x="10" y="47"/>
                      <a:pt x="2" y="68"/>
                      <a:pt x="0" y="76"/>
                    </a:cubicBezTo>
                    <a:cubicBezTo>
                      <a:pt x="0" y="76"/>
                      <a:pt x="1" y="76"/>
                      <a:pt x="1" y="77"/>
                    </a:cubicBezTo>
                    <a:cubicBezTo>
                      <a:pt x="1" y="77"/>
                      <a:pt x="2" y="77"/>
                      <a:pt x="7" y="77"/>
                    </a:cubicBezTo>
                    <a:cubicBezTo>
                      <a:pt x="8" y="70"/>
                      <a:pt x="16" y="51"/>
                      <a:pt x="41" y="34"/>
                    </a:cubicBezTo>
                    <a:cubicBezTo>
                      <a:pt x="69" y="14"/>
                      <a:pt x="114" y="6"/>
                      <a:pt x="141" y="10"/>
                    </a:cubicBezTo>
                    <a:cubicBezTo>
                      <a:pt x="141" y="8"/>
                      <a:pt x="141" y="6"/>
                      <a:pt x="141" y="3"/>
                    </a:cubicBezTo>
                    <a:cubicBezTo>
                      <a:pt x="112" y="0"/>
                      <a:pt x="67" y="8"/>
                      <a:pt x="37" y="29"/>
                    </a:cubicBezTo>
                    <a:close/>
                  </a:path>
                </a:pathLst>
              </a:custGeom>
              <a:solidFill>
                <a:srgbClr val="2026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86">
                <a:extLst>
                  <a:ext uri="{FF2B5EF4-FFF2-40B4-BE49-F238E27FC236}">
                    <a16:creationId xmlns:a16="http://schemas.microsoft.com/office/drawing/2014/main" id="{44BBFBC9-2CEE-4306-B33F-AF28FCAFE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454" y="3730625"/>
                <a:ext cx="504825" cy="277813"/>
              </a:xfrm>
              <a:custGeom>
                <a:avLst/>
                <a:gdLst>
                  <a:gd name="T0" fmla="*/ 41 w 148"/>
                  <a:gd name="T1" fmla="*/ 35 h 82"/>
                  <a:gd name="T2" fmla="*/ 148 w 148"/>
                  <a:gd name="T3" fmla="*/ 9 h 82"/>
                  <a:gd name="T4" fmla="*/ 146 w 148"/>
                  <a:gd name="T5" fmla="*/ 3 h 82"/>
                  <a:gd name="T6" fmla="*/ 38 w 148"/>
                  <a:gd name="T7" fmla="*/ 31 h 82"/>
                  <a:gd name="T8" fmla="*/ 0 w 148"/>
                  <a:gd name="T9" fmla="*/ 74 h 82"/>
                  <a:gd name="T10" fmla="*/ 3 w 148"/>
                  <a:gd name="T11" fmla="*/ 82 h 82"/>
                  <a:gd name="T12" fmla="*/ 41 w 148"/>
                  <a:gd name="T13" fmla="*/ 35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8" h="82">
                    <a:moveTo>
                      <a:pt x="41" y="35"/>
                    </a:moveTo>
                    <a:cubicBezTo>
                      <a:pt x="72" y="14"/>
                      <a:pt x="118" y="5"/>
                      <a:pt x="148" y="9"/>
                    </a:cubicBezTo>
                    <a:cubicBezTo>
                      <a:pt x="148" y="6"/>
                      <a:pt x="147" y="5"/>
                      <a:pt x="146" y="3"/>
                    </a:cubicBezTo>
                    <a:cubicBezTo>
                      <a:pt x="115" y="0"/>
                      <a:pt x="70" y="9"/>
                      <a:pt x="38" y="31"/>
                    </a:cubicBezTo>
                    <a:cubicBezTo>
                      <a:pt x="18" y="45"/>
                      <a:pt x="6" y="60"/>
                      <a:pt x="0" y="74"/>
                    </a:cubicBezTo>
                    <a:cubicBezTo>
                      <a:pt x="1" y="77"/>
                      <a:pt x="1" y="79"/>
                      <a:pt x="3" y="82"/>
                    </a:cubicBezTo>
                    <a:cubicBezTo>
                      <a:pt x="7" y="70"/>
                      <a:pt x="18" y="51"/>
                      <a:pt x="41" y="35"/>
                    </a:cubicBezTo>
                    <a:close/>
                  </a:path>
                </a:pathLst>
              </a:custGeom>
              <a:solidFill>
                <a:srgbClr val="2026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87">
                <a:extLst>
                  <a:ext uri="{FF2B5EF4-FFF2-40B4-BE49-F238E27FC236}">
                    <a16:creationId xmlns:a16="http://schemas.microsoft.com/office/drawing/2014/main" id="{94577ED2-73D7-4CF8-B5B9-D1B0AF06B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7441" y="4049713"/>
                <a:ext cx="98425" cy="88900"/>
              </a:xfrm>
              <a:custGeom>
                <a:avLst/>
                <a:gdLst>
                  <a:gd name="T0" fmla="*/ 9 w 29"/>
                  <a:gd name="T1" fmla="*/ 2 h 26"/>
                  <a:gd name="T2" fmla="*/ 1 w 29"/>
                  <a:gd name="T3" fmla="*/ 6 h 26"/>
                  <a:gd name="T4" fmla="*/ 9 w 29"/>
                  <a:gd name="T5" fmla="*/ 20 h 26"/>
                  <a:gd name="T6" fmla="*/ 28 w 29"/>
                  <a:gd name="T7" fmla="*/ 8 h 26"/>
                  <a:gd name="T8" fmla="*/ 9 w 29"/>
                  <a:gd name="T9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6">
                    <a:moveTo>
                      <a:pt x="9" y="2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0" y="14"/>
                      <a:pt x="9" y="20"/>
                    </a:cubicBezTo>
                    <a:cubicBezTo>
                      <a:pt x="19" y="26"/>
                      <a:pt x="29" y="13"/>
                      <a:pt x="28" y="8"/>
                    </a:cubicBezTo>
                    <a:cubicBezTo>
                      <a:pt x="26" y="4"/>
                      <a:pt x="15" y="0"/>
                      <a:pt x="9" y="2"/>
                    </a:cubicBezTo>
                    <a:close/>
                  </a:path>
                </a:pathLst>
              </a:custGeom>
              <a:solidFill>
                <a:srgbClr val="2026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88">
                <a:extLst>
                  <a:ext uri="{FF2B5EF4-FFF2-40B4-BE49-F238E27FC236}">
                    <a16:creationId xmlns:a16="http://schemas.microsoft.com/office/drawing/2014/main" id="{04FB0640-4B02-4D5E-8592-883666470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316" y="4070350"/>
                <a:ext cx="41275" cy="41275"/>
              </a:xfrm>
              <a:custGeom>
                <a:avLst/>
                <a:gdLst>
                  <a:gd name="T0" fmla="*/ 2 w 12"/>
                  <a:gd name="T1" fmla="*/ 0 h 12"/>
                  <a:gd name="T2" fmla="*/ 3 w 12"/>
                  <a:gd name="T3" fmla="*/ 8 h 12"/>
                  <a:gd name="T4" fmla="*/ 12 w 12"/>
                  <a:gd name="T5" fmla="*/ 12 h 12"/>
                  <a:gd name="T6" fmla="*/ 2 w 12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2">
                    <a:moveTo>
                      <a:pt x="2" y="0"/>
                    </a:moveTo>
                    <a:cubicBezTo>
                      <a:pt x="2" y="0"/>
                      <a:pt x="0" y="4"/>
                      <a:pt x="3" y="8"/>
                    </a:cubicBezTo>
                    <a:cubicBezTo>
                      <a:pt x="6" y="12"/>
                      <a:pt x="12" y="12"/>
                      <a:pt x="12" y="12"/>
                    </a:cubicBezTo>
                    <a:cubicBezTo>
                      <a:pt x="12" y="12"/>
                      <a:pt x="3" y="10"/>
                      <a:pt x="2" y="0"/>
                    </a:cubicBezTo>
                    <a:close/>
                  </a:path>
                </a:pathLst>
              </a:custGeom>
              <a:solidFill>
                <a:srgbClr val="3842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8FA8E1B-274B-4C04-8BE4-42967C646C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6096" t="3973" r="6340" b="6031"/>
            <a:stretch/>
          </p:blipFill>
          <p:spPr>
            <a:xfrm>
              <a:off x="10020270" y="3926714"/>
              <a:ext cx="875161" cy="837699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</p:pic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DF23420D-9071-4395-B6F3-C8188D133E88}"/>
                </a:ext>
              </a:extLst>
            </p:cNvPr>
            <p:cNvSpPr txBox="1"/>
            <p:nvPr/>
          </p:nvSpPr>
          <p:spPr>
            <a:xfrm>
              <a:off x="9753767" y="3181037"/>
              <a:ext cx="151951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>
                  <a:solidFill>
                    <a:srgbClr val="EF4B35"/>
                  </a:solidFill>
                  <a:latin typeface="Century Gothic" panose="020B0502020202020204" pitchFamily="34" charset="0"/>
                </a:rPr>
                <a:t>Matej </a:t>
              </a:r>
              <a:r>
                <a:rPr lang="en-US" b="1" err="1">
                  <a:solidFill>
                    <a:srgbClr val="EF4B35"/>
                  </a:solidFill>
                  <a:latin typeface="Century Gothic" panose="020B0502020202020204" pitchFamily="34" charset="0"/>
                </a:rPr>
                <a:t>Gardos</a:t>
              </a:r>
              <a:endParaRPr lang="en-US" b="1">
                <a:solidFill>
                  <a:srgbClr val="EF4B35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5950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AD82B158-7108-4753-92B2-0981D3424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211504"/>
            <a:ext cx="11059886" cy="810532"/>
          </a:xfrm>
        </p:spPr>
        <p:txBody>
          <a:bodyPr/>
          <a:lstStyle/>
          <a:p>
            <a:r>
              <a:rPr lang="en-US"/>
              <a:t>Line Plot of Combined Predictor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9BAF4A-92B4-4B0C-AB11-EF39D3F39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028F87-8C59-4E26-9F93-E64350B7D8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85" y="1034278"/>
            <a:ext cx="7865811" cy="2756229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5428109-A8A7-44A8-B3A2-087EF93CECA6}"/>
              </a:ext>
            </a:extLst>
          </p:cNvPr>
          <p:cNvGrpSpPr/>
          <p:nvPr/>
        </p:nvGrpSpPr>
        <p:grpSpPr>
          <a:xfrm>
            <a:off x="5898131" y="5134306"/>
            <a:ext cx="4730272" cy="488952"/>
            <a:chOff x="1513172" y="1941415"/>
            <a:chExt cx="4730272" cy="488952"/>
          </a:xfrm>
        </p:grpSpPr>
        <p:sp>
          <p:nvSpPr>
            <p:cNvPr id="8" name="Rectangle: Top Corners Rounded 7">
              <a:extLst>
                <a:ext uri="{FF2B5EF4-FFF2-40B4-BE49-F238E27FC236}">
                  <a16:creationId xmlns:a16="http://schemas.microsoft.com/office/drawing/2014/main" id="{15DF6D70-1E9E-47A8-8DFB-B862A6D408A8}"/>
                </a:ext>
              </a:extLst>
            </p:cNvPr>
            <p:cNvSpPr/>
            <p:nvPr/>
          </p:nvSpPr>
          <p:spPr>
            <a:xfrm rot="5400000">
              <a:off x="3633832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8B03E9B-4058-4421-9624-970CDCAC6EF1}"/>
                </a:ext>
              </a:extLst>
            </p:cNvPr>
            <p:cNvSpPr/>
            <p:nvPr/>
          </p:nvSpPr>
          <p:spPr>
            <a:xfrm>
              <a:off x="2367301" y="2012141"/>
              <a:ext cx="3190145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e at rush hours on Workdays</a:t>
              </a:r>
            </a:p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e at afternoon on Weekends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CB256ED5-0C1C-43D2-BCC5-D4B6AC7D92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82" r="15489"/>
          <a:stretch/>
        </p:blipFill>
        <p:spPr>
          <a:xfrm>
            <a:off x="7494004" y="1408908"/>
            <a:ext cx="3869183" cy="274715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19B5313-7B55-49DE-85E0-0736AB253C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3498" y="4106080"/>
            <a:ext cx="4229562" cy="2545643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36FC42A-646D-4EF9-8BBD-49F6800F7121}"/>
              </a:ext>
            </a:extLst>
          </p:cNvPr>
          <p:cNvGrpSpPr/>
          <p:nvPr/>
        </p:nvGrpSpPr>
        <p:grpSpPr>
          <a:xfrm flipH="1">
            <a:off x="2703497" y="3620410"/>
            <a:ext cx="4730272" cy="488952"/>
            <a:chOff x="1704126" y="1941415"/>
            <a:chExt cx="4730272" cy="488952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BC679B96-B579-43CB-89DC-2E2AA37200EE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72A5D4-F139-455F-AF77-D6CF1A8A5E57}"/>
                </a:ext>
              </a:extLst>
            </p:cNvPr>
            <p:cNvSpPr/>
            <p:nvPr/>
          </p:nvSpPr>
          <p:spPr>
            <a:xfrm>
              <a:off x="2084339" y="1975855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e at 8AM and 5PM – every month</a:t>
              </a:r>
            </a:p>
            <a:p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e along Spring and Summer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FDB3355C-AA0E-4B40-ADAE-C36AB8340B3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4163090-02B0-4625-89C3-7442F00A9255}"/>
              </a:ext>
            </a:extLst>
          </p:cNvPr>
          <p:cNvSpPr txBox="1"/>
          <p:nvPr/>
        </p:nvSpPr>
        <p:spPr>
          <a:xfrm>
            <a:off x="379185" y="569684"/>
            <a:ext cx="83820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200" b="1">
                <a:solidFill>
                  <a:srgbClr val="EF4B35"/>
                </a:solidFill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D25E25-59E2-4E69-860F-434530BB1F09}"/>
              </a:ext>
            </a:extLst>
          </p:cNvPr>
          <p:cNvSpPr txBox="1"/>
          <p:nvPr/>
        </p:nvSpPr>
        <p:spPr>
          <a:xfrm>
            <a:off x="9294132" y="930273"/>
            <a:ext cx="702128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200" b="1">
                <a:solidFill>
                  <a:srgbClr val="EF4B35"/>
                </a:solidFill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A8865F-6A46-4D6C-BE29-CCCE4E45E6DA}"/>
              </a:ext>
            </a:extLst>
          </p:cNvPr>
          <p:cNvSpPr txBox="1"/>
          <p:nvPr/>
        </p:nvSpPr>
        <p:spPr>
          <a:xfrm>
            <a:off x="1100364" y="3994149"/>
            <a:ext cx="493485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200" b="1">
                <a:solidFill>
                  <a:srgbClr val="EF4B35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090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5134DA9-094B-4D14-A55F-88058E854E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016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5134DA9-094B-4D14-A55F-88058E854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F550DD-3FA4-4645-B44A-91AF43C65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309160"/>
            <a:ext cx="11059886" cy="810532"/>
          </a:xfrm>
        </p:spPr>
        <p:txBody>
          <a:bodyPr vert="horz"/>
          <a:lstStyle/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Encode Categorical Valu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132102-FA62-4CC0-8FDE-26737DA75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3396FDF-3E18-4407-98EF-9416455681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295" y="1649650"/>
            <a:ext cx="11215410" cy="298967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33BF377-0250-4EB4-AD74-075984C408B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F2A0B85-EF35-4F95-9B53-F28D7340586C}"/>
              </a:ext>
            </a:extLst>
          </p:cNvPr>
          <p:cNvGrpSpPr/>
          <p:nvPr/>
        </p:nvGrpSpPr>
        <p:grpSpPr>
          <a:xfrm flipH="1">
            <a:off x="9507984" y="1815919"/>
            <a:ext cx="2195721" cy="488952"/>
            <a:chOff x="1704125" y="1941415"/>
            <a:chExt cx="4730272" cy="488952"/>
          </a:xfrm>
        </p:grpSpPr>
        <p:sp>
          <p:nvSpPr>
            <p:cNvPr id="11" name="Rectangle: Top Corners Rounded 10">
              <a:extLst>
                <a:ext uri="{FF2B5EF4-FFF2-40B4-BE49-F238E27FC236}">
                  <a16:creationId xmlns:a16="http://schemas.microsoft.com/office/drawing/2014/main" id="{3C0A1A62-C653-4596-B689-36533447625E}"/>
                </a:ext>
              </a:extLst>
            </p:cNvPr>
            <p:cNvSpPr/>
            <p:nvPr/>
          </p:nvSpPr>
          <p:spPr>
            <a:xfrm rot="5400000">
              <a:off x="3824785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D97249-BCF1-4F67-A9B8-423AD881E0B4}"/>
                </a:ext>
              </a:extLst>
            </p:cNvPr>
            <p:cNvSpPr/>
            <p:nvPr/>
          </p:nvSpPr>
          <p:spPr>
            <a:xfrm>
              <a:off x="1966412" y="2109574"/>
              <a:ext cx="3921018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Applied to both models</a:t>
              </a:r>
              <a:endParaRPr lang="en-ID" sz="1100" b="1" dirty="0">
                <a:highlight>
                  <a:srgbClr val="FFFF00"/>
                </a:highlight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5326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Rectangle: Top Corners Rounded 448">
            <a:extLst>
              <a:ext uri="{FF2B5EF4-FFF2-40B4-BE49-F238E27FC236}">
                <a16:creationId xmlns:a16="http://schemas.microsoft.com/office/drawing/2014/main" id="{F0A72A91-71B8-4330-9431-CFC5345CF644}"/>
              </a:ext>
            </a:extLst>
          </p:cNvPr>
          <p:cNvSpPr/>
          <p:nvPr/>
        </p:nvSpPr>
        <p:spPr>
          <a:xfrm rot="5400000">
            <a:off x="5944458" y="1433533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9478E8FF-2CA4-4398-938A-3E083092F105}"/>
              </a:ext>
            </a:extLst>
          </p:cNvPr>
          <p:cNvSpPr/>
          <p:nvPr/>
        </p:nvSpPr>
        <p:spPr>
          <a:xfrm>
            <a:off x="6114712" y="1626417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8FEB64E1-71A1-4822-B799-2E6A2499DAA2}"/>
              </a:ext>
            </a:extLst>
          </p:cNvPr>
          <p:cNvGrpSpPr/>
          <p:nvPr/>
        </p:nvGrpSpPr>
        <p:grpSpPr>
          <a:xfrm>
            <a:off x="7037359" y="1697540"/>
            <a:ext cx="2088133" cy="586943"/>
            <a:chOff x="6864635" y="1867646"/>
            <a:chExt cx="1123664" cy="586943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88064A65-B8EE-4CC5-8777-5171834A8C73}"/>
                </a:ext>
              </a:extLst>
            </p:cNvPr>
            <p:cNvSpPr/>
            <p:nvPr/>
          </p:nvSpPr>
          <p:spPr>
            <a:xfrm>
              <a:off x="6864635" y="1867646"/>
              <a:ext cx="1030511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Industry Overview</a:t>
              </a:r>
            </a:p>
          </p:txBody>
        </p: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A2759C93-BB28-4B20-94CD-28652EBB04B2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9" name="Rectangle: Top Corners Rounded 358">
            <a:extLst>
              <a:ext uri="{FF2B5EF4-FFF2-40B4-BE49-F238E27FC236}">
                <a16:creationId xmlns:a16="http://schemas.microsoft.com/office/drawing/2014/main" id="{BBF48C2A-F9B9-4BBE-BA74-BF672CEACAE2}"/>
              </a:ext>
            </a:extLst>
          </p:cNvPr>
          <p:cNvSpPr/>
          <p:nvPr/>
        </p:nvSpPr>
        <p:spPr>
          <a:xfrm rot="5400000">
            <a:off x="5944458" y="2755772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ACA6185D-B34E-4C3E-A227-ACEA8A8583C4}"/>
              </a:ext>
            </a:extLst>
          </p:cNvPr>
          <p:cNvSpPr/>
          <p:nvPr/>
        </p:nvSpPr>
        <p:spPr>
          <a:xfrm>
            <a:off x="6114712" y="2948656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CE88883D-BC7E-40F7-90B4-891CA313F71E}"/>
              </a:ext>
            </a:extLst>
          </p:cNvPr>
          <p:cNvGrpSpPr/>
          <p:nvPr/>
        </p:nvGrpSpPr>
        <p:grpSpPr>
          <a:xfrm>
            <a:off x="6745601" y="2969259"/>
            <a:ext cx="2379900" cy="584795"/>
            <a:chOff x="6572876" y="1869794"/>
            <a:chExt cx="1415423" cy="584795"/>
          </a:xfrm>
        </p:grpSpPr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02C0EC0E-FDCE-4FCA-A649-30984C3ED4C7}"/>
                </a:ext>
              </a:extLst>
            </p:cNvPr>
            <p:cNvSpPr/>
            <p:nvPr/>
          </p:nvSpPr>
          <p:spPr>
            <a:xfrm>
              <a:off x="6572876" y="1885191"/>
              <a:ext cx="1363494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Data Exploration</a:t>
              </a:r>
            </a:p>
          </p:txBody>
        </p: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5D1C800E-D713-4132-B007-4A9DF10A51AA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6" name="Rectangle: Top Corners Rounded 365">
            <a:extLst>
              <a:ext uri="{FF2B5EF4-FFF2-40B4-BE49-F238E27FC236}">
                <a16:creationId xmlns:a16="http://schemas.microsoft.com/office/drawing/2014/main" id="{D2883F3D-FD2E-4B07-92D2-F9E789B98961}"/>
              </a:ext>
            </a:extLst>
          </p:cNvPr>
          <p:cNvSpPr/>
          <p:nvPr/>
        </p:nvSpPr>
        <p:spPr>
          <a:xfrm rot="5400000">
            <a:off x="5944458" y="407801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DC9ED136-03DE-4F8A-85B9-8B31FC6C4A86}"/>
              </a:ext>
            </a:extLst>
          </p:cNvPr>
          <p:cNvSpPr/>
          <p:nvPr/>
        </p:nvSpPr>
        <p:spPr>
          <a:xfrm>
            <a:off x="6114712" y="427089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78978E55-D75C-4FD8-A0D9-1DEEAC14E76E}"/>
              </a:ext>
            </a:extLst>
          </p:cNvPr>
          <p:cNvGrpSpPr/>
          <p:nvPr/>
        </p:nvGrpSpPr>
        <p:grpSpPr>
          <a:xfrm>
            <a:off x="7006343" y="4300871"/>
            <a:ext cx="2119159" cy="584795"/>
            <a:chOff x="6794056" y="1869794"/>
            <a:chExt cx="1194243" cy="584795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426002F4-9E30-458E-8558-CF6EDD4F5275}"/>
                </a:ext>
              </a:extLst>
            </p:cNvPr>
            <p:cNvSpPr/>
            <p:nvPr/>
          </p:nvSpPr>
          <p:spPr>
            <a:xfrm>
              <a:off x="6794056" y="2023690"/>
              <a:ext cx="112112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rgbClr val="F1604D"/>
                  </a:solidFill>
                  <a:latin typeface="+mj-lt"/>
                </a:rPr>
                <a:t>Model and Evaluation </a:t>
              </a: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27CCFB0E-2D49-4634-9ED4-876225D7CC34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3" name="Rectangle: Top Corners Rounded 372">
            <a:extLst>
              <a:ext uri="{FF2B5EF4-FFF2-40B4-BE49-F238E27FC236}">
                <a16:creationId xmlns:a16="http://schemas.microsoft.com/office/drawing/2014/main" id="{E2675A36-160D-4276-A956-3D2CDEEE94D0}"/>
              </a:ext>
            </a:extLst>
          </p:cNvPr>
          <p:cNvSpPr/>
          <p:nvPr/>
        </p:nvSpPr>
        <p:spPr>
          <a:xfrm rot="5400000">
            <a:off x="5944458" y="540025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B1B29EBC-F878-4532-9F29-E9A5A0C8CA33}"/>
              </a:ext>
            </a:extLst>
          </p:cNvPr>
          <p:cNvSpPr/>
          <p:nvPr/>
        </p:nvSpPr>
        <p:spPr>
          <a:xfrm>
            <a:off x="6114712" y="559313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359D68F8-9693-495F-9AB8-49F23A1B2B99}"/>
              </a:ext>
            </a:extLst>
          </p:cNvPr>
          <p:cNvGrpSpPr/>
          <p:nvPr/>
        </p:nvGrpSpPr>
        <p:grpSpPr>
          <a:xfrm>
            <a:off x="7128345" y="5606641"/>
            <a:ext cx="1997162" cy="584795"/>
            <a:chOff x="7108737" y="1862971"/>
            <a:chExt cx="1997162" cy="584795"/>
          </a:xfrm>
        </p:grpSpPr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90208D9B-C9C0-427E-A4E0-C20D7D9EB228}"/>
                </a:ext>
              </a:extLst>
            </p:cNvPr>
            <p:cNvSpPr/>
            <p:nvPr/>
          </p:nvSpPr>
          <p:spPr>
            <a:xfrm>
              <a:off x="7108737" y="2008303"/>
              <a:ext cx="1893016" cy="3077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2000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Recommendations</a:t>
              </a:r>
            </a:p>
          </p:txBody>
        </p: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69903CAF-2DAE-409F-B9D3-A1FACC4F44EA}"/>
                </a:ext>
              </a:extLst>
            </p:cNvPr>
            <p:cNvCxnSpPr/>
            <p:nvPr/>
          </p:nvCxnSpPr>
          <p:spPr>
            <a:xfrm>
              <a:off x="9105899" y="1862971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BEA7A9-CC5F-4A6F-A837-874D69AEACC3}"/>
              </a:ext>
            </a:extLst>
          </p:cNvPr>
          <p:cNvGrpSpPr/>
          <p:nvPr/>
        </p:nvGrpSpPr>
        <p:grpSpPr>
          <a:xfrm>
            <a:off x="0" y="942492"/>
            <a:ext cx="6034133" cy="5498253"/>
            <a:chOff x="0" y="685800"/>
            <a:chExt cx="6034133" cy="549825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ACCEDB7-69C5-4F03-A857-AF2DB03AFF66}"/>
                </a:ext>
              </a:extLst>
            </p:cNvPr>
            <p:cNvSpPr/>
            <p:nvPr/>
          </p:nvSpPr>
          <p:spPr>
            <a:xfrm rot="5400000">
              <a:off x="3546537" y="3696457"/>
              <a:ext cx="4739714" cy="23547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553DA69-AACC-4F2E-9733-3B488AC56CB7}"/>
                </a:ext>
              </a:extLst>
            </p:cNvPr>
            <p:cNvSpPr/>
            <p:nvPr/>
          </p:nvSpPr>
          <p:spPr>
            <a:xfrm>
              <a:off x="0" y="685800"/>
              <a:ext cx="5921829" cy="5486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448" name="Picture 447" descr="A picture containing sitting&#10;&#10;Description automatically generated">
            <a:extLst>
              <a:ext uri="{FF2B5EF4-FFF2-40B4-BE49-F238E27FC236}">
                <a16:creationId xmlns:a16="http://schemas.microsoft.com/office/drawing/2014/main" id="{21ED10EA-DB44-416E-9EBA-AC64F409DF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14"/>
          <a:stretch/>
        </p:blipFill>
        <p:spPr>
          <a:xfrm>
            <a:off x="242977" y="1817148"/>
            <a:ext cx="5243421" cy="374894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9A629FB9-C7FE-47A9-AB98-FE5447343A18}"/>
              </a:ext>
            </a:extLst>
          </p:cNvPr>
          <p:cNvGrpSpPr/>
          <p:nvPr/>
        </p:nvGrpSpPr>
        <p:grpSpPr>
          <a:xfrm>
            <a:off x="692378" y="2711762"/>
            <a:ext cx="4489450" cy="2854326"/>
            <a:chOff x="779463" y="2263775"/>
            <a:chExt cx="4489450" cy="2854326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F9E24B0-8FA3-4A13-A99C-FC2999FE7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6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5" y="18"/>
                    <a:pt x="19" y="115"/>
                    <a:pt x="19" y="233"/>
                  </a:cubicBezTo>
                  <a:cubicBezTo>
                    <a:pt x="19" y="352"/>
                    <a:pt x="115" y="448"/>
                    <a:pt x="234" y="448"/>
                  </a:cubicBezTo>
                  <a:cubicBezTo>
                    <a:pt x="352" y="448"/>
                    <a:pt x="449" y="352"/>
                    <a:pt x="449" y="233"/>
                  </a:cubicBezTo>
                  <a:cubicBezTo>
                    <a:pt x="449" y="115"/>
                    <a:pt x="352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0BF4FEB-3922-48E8-A16F-CC91EDA4E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5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F573261-FA4E-43DE-B185-BFAE721C9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61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6" y="18"/>
                    <a:pt x="19" y="115"/>
                    <a:pt x="19" y="233"/>
                  </a:cubicBezTo>
                  <a:cubicBezTo>
                    <a:pt x="19" y="352"/>
                    <a:pt x="116" y="448"/>
                    <a:pt x="234" y="448"/>
                  </a:cubicBezTo>
                  <a:cubicBezTo>
                    <a:pt x="353" y="448"/>
                    <a:pt x="449" y="352"/>
                    <a:pt x="449" y="233"/>
                  </a:cubicBezTo>
                  <a:cubicBezTo>
                    <a:pt x="449" y="115"/>
                    <a:pt x="353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7250F5C-1FFB-4363-9089-F793FB372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410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E1DC1D4-BA14-4476-B63C-D42C63631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488" y="2428875"/>
              <a:ext cx="2824163" cy="1963738"/>
            </a:xfrm>
            <a:custGeom>
              <a:avLst/>
              <a:gdLst>
                <a:gd name="T0" fmla="*/ 253 w 749"/>
                <a:gd name="T1" fmla="*/ 167 h 520"/>
                <a:gd name="T2" fmla="*/ 601 w 749"/>
                <a:gd name="T3" fmla="*/ 184 h 520"/>
                <a:gd name="T4" fmla="*/ 231 w 749"/>
                <a:gd name="T5" fmla="*/ 187 h 520"/>
                <a:gd name="T6" fmla="*/ 35 w 749"/>
                <a:gd name="T7" fmla="*/ 468 h 520"/>
                <a:gd name="T8" fmla="*/ 744 w 749"/>
                <a:gd name="T9" fmla="*/ 469 h 520"/>
                <a:gd name="T10" fmla="*/ 591 w 749"/>
                <a:gd name="T11" fmla="*/ 30 h 520"/>
                <a:gd name="T12" fmla="*/ 668 w 749"/>
                <a:gd name="T13" fmla="*/ 18 h 520"/>
                <a:gd name="T14" fmla="*/ 576 w 749"/>
                <a:gd name="T15" fmla="*/ 5 h 520"/>
                <a:gd name="T16" fmla="*/ 563 w 749"/>
                <a:gd name="T17" fmla="*/ 20 h 520"/>
                <a:gd name="T18" fmla="*/ 247 w 749"/>
                <a:gd name="T19" fmla="*/ 142 h 520"/>
                <a:gd name="T20" fmla="*/ 203 w 749"/>
                <a:gd name="T21" fmla="*/ 2 h 520"/>
                <a:gd name="T22" fmla="*/ 224 w 749"/>
                <a:gd name="T23" fmla="*/ 153 h 520"/>
                <a:gd name="T24" fmla="*/ 2 w 749"/>
                <a:gd name="T25" fmla="*/ 472 h 520"/>
                <a:gd name="T26" fmla="*/ 1 w 749"/>
                <a:gd name="T27" fmla="*/ 474 h 520"/>
                <a:gd name="T28" fmla="*/ 1 w 749"/>
                <a:gd name="T29" fmla="*/ 476 h 520"/>
                <a:gd name="T30" fmla="*/ 1 w 749"/>
                <a:gd name="T31" fmla="*/ 477 h 520"/>
                <a:gd name="T32" fmla="*/ 1 w 749"/>
                <a:gd name="T33" fmla="*/ 480 h 520"/>
                <a:gd name="T34" fmla="*/ 1 w 749"/>
                <a:gd name="T35" fmla="*/ 482 h 520"/>
                <a:gd name="T36" fmla="*/ 2 w 749"/>
                <a:gd name="T37" fmla="*/ 485 h 520"/>
                <a:gd name="T38" fmla="*/ 4 w 749"/>
                <a:gd name="T39" fmla="*/ 486 h 520"/>
                <a:gd name="T40" fmla="*/ 5 w 749"/>
                <a:gd name="T41" fmla="*/ 488 h 520"/>
                <a:gd name="T42" fmla="*/ 7 w 749"/>
                <a:gd name="T43" fmla="*/ 489 h 520"/>
                <a:gd name="T44" fmla="*/ 9 w 749"/>
                <a:gd name="T45" fmla="*/ 490 h 520"/>
                <a:gd name="T46" fmla="*/ 12 w 749"/>
                <a:gd name="T47" fmla="*/ 491 h 520"/>
                <a:gd name="T48" fmla="*/ 315 w 749"/>
                <a:gd name="T49" fmla="*/ 520 h 520"/>
                <a:gd name="T50" fmla="*/ 316 w 749"/>
                <a:gd name="T51" fmla="*/ 520 h 520"/>
                <a:gd name="T52" fmla="*/ 316 w 749"/>
                <a:gd name="T53" fmla="*/ 520 h 520"/>
                <a:gd name="T54" fmla="*/ 319 w 749"/>
                <a:gd name="T55" fmla="*/ 520 h 520"/>
                <a:gd name="T56" fmla="*/ 320 w 749"/>
                <a:gd name="T57" fmla="*/ 520 h 520"/>
                <a:gd name="T58" fmla="*/ 321 w 749"/>
                <a:gd name="T59" fmla="*/ 519 h 520"/>
                <a:gd name="T60" fmla="*/ 323 w 749"/>
                <a:gd name="T61" fmla="*/ 518 h 520"/>
                <a:gd name="T62" fmla="*/ 324 w 749"/>
                <a:gd name="T63" fmla="*/ 518 h 520"/>
                <a:gd name="T64" fmla="*/ 325 w 749"/>
                <a:gd name="T65" fmla="*/ 516 h 520"/>
                <a:gd name="T66" fmla="*/ 608 w 749"/>
                <a:gd name="T67" fmla="*/ 213 h 520"/>
                <a:gd name="T68" fmla="*/ 632 w 749"/>
                <a:gd name="T69" fmla="*/ 321 h 520"/>
                <a:gd name="T70" fmla="*/ 735 w 749"/>
                <a:gd name="T71" fmla="*/ 491 h 520"/>
                <a:gd name="T72" fmla="*/ 744 w 749"/>
                <a:gd name="T73" fmla="*/ 469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9" h="520">
                  <a:moveTo>
                    <a:pt x="323" y="482"/>
                  </a:moveTo>
                  <a:cubicBezTo>
                    <a:pt x="253" y="167"/>
                    <a:pt x="253" y="167"/>
                    <a:pt x="253" y="167"/>
                  </a:cubicBezTo>
                  <a:cubicBezTo>
                    <a:pt x="589" y="130"/>
                    <a:pt x="589" y="130"/>
                    <a:pt x="589" y="130"/>
                  </a:cubicBezTo>
                  <a:cubicBezTo>
                    <a:pt x="601" y="184"/>
                    <a:pt x="601" y="184"/>
                    <a:pt x="601" y="184"/>
                  </a:cubicBezTo>
                  <a:cubicBezTo>
                    <a:pt x="323" y="482"/>
                    <a:pt x="323" y="482"/>
                    <a:pt x="323" y="482"/>
                  </a:cubicBezTo>
                  <a:close/>
                  <a:moveTo>
                    <a:pt x="231" y="187"/>
                  </a:moveTo>
                  <a:cubicBezTo>
                    <a:pt x="300" y="494"/>
                    <a:pt x="300" y="494"/>
                    <a:pt x="300" y="494"/>
                  </a:cubicBezTo>
                  <a:cubicBezTo>
                    <a:pt x="35" y="468"/>
                    <a:pt x="35" y="468"/>
                    <a:pt x="35" y="468"/>
                  </a:cubicBezTo>
                  <a:cubicBezTo>
                    <a:pt x="231" y="187"/>
                    <a:pt x="231" y="187"/>
                    <a:pt x="231" y="187"/>
                  </a:cubicBezTo>
                  <a:close/>
                  <a:moveTo>
                    <a:pt x="744" y="469"/>
                  </a:moveTo>
                  <a:cubicBezTo>
                    <a:pt x="686" y="413"/>
                    <a:pt x="658" y="320"/>
                    <a:pt x="657" y="314"/>
                  </a:cubicBezTo>
                  <a:cubicBezTo>
                    <a:pt x="591" y="30"/>
                    <a:pt x="591" y="30"/>
                    <a:pt x="591" y="30"/>
                  </a:cubicBezTo>
                  <a:cubicBezTo>
                    <a:pt x="655" y="30"/>
                    <a:pt x="655" y="30"/>
                    <a:pt x="655" y="30"/>
                  </a:cubicBezTo>
                  <a:cubicBezTo>
                    <a:pt x="662" y="30"/>
                    <a:pt x="668" y="25"/>
                    <a:pt x="668" y="18"/>
                  </a:cubicBezTo>
                  <a:cubicBezTo>
                    <a:pt x="668" y="11"/>
                    <a:pt x="662" y="5"/>
                    <a:pt x="655" y="5"/>
                  </a:cubicBezTo>
                  <a:cubicBezTo>
                    <a:pt x="576" y="5"/>
                    <a:pt x="576" y="5"/>
                    <a:pt x="576" y="5"/>
                  </a:cubicBezTo>
                  <a:cubicBezTo>
                    <a:pt x="572" y="5"/>
                    <a:pt x="568" y="7"/>
                    <a:pt x="566" y="10"/>
                  </a:cubicBezTo>
                  <a:cubicBezTo>
                    <a:pt x="563" y="13"/>
                    <a:pt x="563" y="17"/>
                    <a:pt x="563" y="20"/>
                  </a:cubicBezTo>
                  <a:cubicBezTo>
                    <a:pt x="583" y="105"/>
                    <a:pt x="583" y="105"/>
                    <a:pt x="583" y="105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16" y="5"/>
                    <a:pt x="210" y="0"/>
                    <a:pt x="203" y="2"/>
                  </a:cubicBezTo>
                  <a:cubicBezTo>
                    <a:pt x="196" y="3"/>
                    <a:pt x="192" y="10"/>
                    <a:pt x="193" y="1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3" y="471"/>
                    <a:pt x="2" y="471"/>
                    <a:pt x="2" y="472"/>
                  </a:cubicBezTo>
                  <a:cubicBezTo>
                    <a:pt x="2" y="472"/>
                    <a:pt x="2" y="472"/>
                    <a:pt x="2" y="473"/>
                  </a:cubicBezTo>
                  <a:cubicBezTo>
                    <a:pt x="2" y="473"/>
                    <a:pt x="1" y="474"/>
                    <a:pt x="1" y="474"/>
                  </a:cubicBezTo>
                  <a:cubicBezTo>
                    <a:pt x="1" y="474"/>
                    <a:pt x="1" y="475"/>
                    <a:pt x="1" y="475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0" y="478"/>
                    <a:pt x="1" y="478"/>
                    <a:pt x="1" y="479"/>
                  </a:cubicBezTo>
                  <a:cubicBezTo>
                    <a:pt x="1" y="479"/>
                    <a:pt x="1" y="480"/>
                    <a:pt x="1" y="480"/>
                  </a:cubicBezTo>
                  <a:cubicBezTo>
                    <a:pt x="1" y="480"/>
                    <a:pt x="1" y="481"/>
                    <a:pt x="1" y="481"/>
                  </a:cubicBezTo>
                  <a:cubicBezTo>
                    <a:pt x="1" y="482"/>
                    <a:pt x="1" y="482"/>
                    <a:pt x="1" y="482"/>
                  </a:cubicBezTo>
                  <a:cubicBezTo>
                    <a:pt x="1" y="483"/>
                    <a:pt x="1" y="483"/>
                    <a:pt x="2" y="483"/>
                  </a:cubicBezTo>
                  <a:cubicBezTo>
                    <a:pt x="2" y="484"/>
                    <a:pt x="2" y="484"/>
                    <a:pt x="2" y="485"/>
                  </a:cubicBezTo>
                  <a:cubicBezTo>
                    <a:pt x="2" y="485"/>
                    <a:pt x="3" y="485"/>
                    <a:pt x="3" y="486"/>
                  </a:cubicBezTo>
                  <a:cubicBezTo>
                    <a:pt x="3" y="486"/>
                    <a:pt x="3" y="486"/>
                    <a:pt x="4" y="486"/>
                  </a:cubicBezTo>
                  <a:cubicBezTo>
                    <a:pt x="4" y="487"/>
                    <a:pt x="4" y="487"/>
                    <a:pt x="4" y="487"/>
                  </a:cubicBezTo>
                  <a:cubicBezTo>
                    <a:pt x="5" y="488"/>
                    <a:pt x="5" y="488"/>
                    <a:pt x="5" y="488"/>
                  </a:cubicBezTo>
                  <a:cubicBezTo>
                    <a:pt x="6" y="488"/>
                    <a:pt x="6" y="488"/>
                    <a:pt x="6" y="488"/>
                  </a:cubicBezTo>
                  <a:cubicBezTo>
                    <a:pt x="6" y="489"/>
                    <a:pt x="6" y="489"/>
                    <a:pt x="7" y="489"/>
                  </a:cubicBezTo>
                  <a:cubicBezTo>
                    <a:pt x="7" y="489"/>
                    <a:pt x="7" y="489"/>
                    <a:pt x="7" y="489"/>
                  </a:cubicBezTo>
                  <a:cubicBezTo>
                    <a:pt x="8" y="490"/>
                    <a:pt x="9" y="490"/>
                    <a:pt x="9" y="490"/>
                  </a:cubicBezTo>
                  <a:cubicBezTo>
                    <a:pt x="9" y="490"/>
                    <a:pt x="9" y="490"/>
                    <a:pt x="9" y="490"/>
                  </a:cubicBezTo>
                  <a:cubicBezTo>
                    <a:pt x="10" y="490"/>
                    <a:pt x="11" y="491"/>
                    <a:pt x="12" y="491"/>
                  </a:cubicBezTo>
                  <a:cubicBezTo>
                    <a:pt x="12" y="491"/>
                    <a:pt x="12" y="491"/>
                    <a:pt x="12" y="491"/>
                  </a:cubicBezTo>
                  <a:cubicBezTo>
                    <a:pt x="315" y="520"/>
                    <a:pt x="315" y="520"/>
                    <a:pt x="315" y="520"/>
                  </a:cubicBezTo>
                  <a:cubicBezTo>
                    <a:pt x="315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7" y="520"/>
                    <a:pt x="318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20" y="520"/>
                  </a:cubicBezTo>
                  <a:cubicBezTo>
                    <a:pt x="320" y="520"/>
                    <a:pt x="320" y="520"/>
                    <a:pt x="321" y="519"/>
                  </a:cubicBezTo>
                  <a:cubicBezTo>
                    <a:pt x="321" y="519"/>
                    <a:pt x="321" y="519"/>
                    <a:pt x="321" y="519"/>
                  </a:cubicBezTo>
                  <a:cubicBezTo>
                    <a:pt x="321" y="519"/>
                    <a:pt x="322" y="519"/>
                    <a:pt x="322" y="519"/>
                  </a:cubicBezTo>
                  <a:cubicBezTo>
                    <a:pt x="322" y="519"/>
                    <a:pt x="323" y="519"/>
                    <a:pt x="323" y="518"/>
                  </a:cubicBezTo>
                  <a:cubicBezTo>
                    <a:pt x="323" y="518"/>
                    <a:pt x="323" y="518"/>
                    <a:pt x="323" y="518"/>
                  </a:cubicBezTo>
                  <a:cubicBezTo>
                    <a:pt x="324" y="518"/>
                    <a:pt x="324" y="518"/>
                    <a:pt x="324" y="518"/>
                  </a:cubicBezTo>
                  <a:cubicBezTo>
                    <a:pt x="324" y="517"/>
                    <a:pt x="325" y="517"/>
                    <a:pt x="325" y="517"/>
                  </a:cubicBezTo>
                  <a:cubicBezTo>
                    <a:pt x="325" y="517"/>
                    <a:pt x="325" y="517"/>
                    <a:pt x="325" y="516"/>
                  </a:cubicBezTo>
                  <a:cubicBezTo>
                    <a:pt x="325" y="516"/>
                    <a:pt x="325" y="516"/>
                    <a:pt x="325" y="516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32" y="320"/>
                    <a:pt x="632" y="320"/>
                    <a:pt x="632" y="320"/>
                  </a:cubicBezTo>
                  <a:cubicBezTo>
                    <a:pt x="632" y="320"/>
                    <a:pt x="632" y="320"/>
                    <a:pt x="632" y="321"/>
                  </a:cubicBezTo>
                  <a:cubicBezTo>
                    <a:pt x="634" y="325"/>
                    <a:pt x="662" y="425"/>
                    <a:pt x="726" y="487"/>
                  </a:cubicBezTo>
                  <a:cubicBezTo>
                    <a:pt x="729" y="490"/>
                    <a:pt x="732" y="491"/>
                    <a:pt x="735" y="491"/>
                  </a:cubicBezTo>
                  <a:cubicBezTo>
                    <a:pt x="738" y="491"/>
                    <a:pt x="742" y="489"/>
                    <a:pt x="744" y="487"/>
                  </a:cubicBezTo>
                  <a:cubicBezTo>
                    <a:pt x="749" y="482"/>
                    <a:pt x="749" y="474"/>
                    <a:pt x="744" y="469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CA80894-7178-403A-9288-DE955354A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2433638"/>
              <a:ext cx="608013" cy="573088"/>
            </a:xfrm>
            <a:custGeom>
              <a:avLst/>
              <a:gdLst>
                <a:gd name="T0" fmla="*/ 64 w 161"/>
                <a:gd name="T1" fmla="*/ 152 h 152"/>
                <a:gd name="T2" fmla="*/ 40 w 161"/>
                <a:gd name="T3" fmla="*/ 151 h 152"/>
                <a:gd name="T4" fmla="*/ 26 w 161"/>
                <a:gd name="T5" fmla="*/ 133 h 152"/>
                <a:gd name="T6" fmla="*/ 44 w 161"/>
                <a:gd name="T7" fmla="*/ 120 h 152"/>
                <a:gd name="T8" fmla="*/ 119 w 161"/>
                <a:gd name="T9" fmla="*/ 106 h 152"/>
                <a:gd name="T10" fmla="*/ 129 w 161"/>
                <a:gd name="T11" fmla="*/ 81 h 152"/>
                <a:gd name="T12" fmla="*/ 117 w 161"/>
                <a:gd name="T13" fmla="*/ 50 h 152"/>
                <a:gd name="T14" fmla="*/ 58 w 161"/>
                <a:gd name="T15" fmla="*/ 32 h 152"/>
                <a:gd name="T16" fmla="*/ 58 w 161"/>
                <a:gd name="T17" fmla="*/ 32 h 152"/>
                <a:gd name="T18" fmla="*/ 15 w 161"/>
                <a:gd name="T19" fmla="*/ 32 h 152"/>
                <a:gd name="T20" fmla="*/ 0 w 161"/>
                <a:gd name="T21" fmla="*/ 17 h 152"/>
                <a:gd name="T22" fmla="*/ 15 w 161"/>
                <a:gd name="T23" fmla="*/ 1 h 152"/>
                <a:gd name="T24" fmla="*/ 57 w 161"/>
                <a:gd name="T25" fmla="*/ 1 h 152"/>
                <a:gd name="T26" fmla="*/ 139 w 161"/>
                <a:gd name="T27" fmla="*/ 27 h 152"/>
                <a:gd name="T28" fmla="*/ 161 w 161"/>
                <a:gd name="T29" fmla="*/ 81 h 152"/>
                <a:gd name="T30" fmla="*/ 139 w 161"/>
                <a:gd name="T31" fmla="*/ 130 h 152"/>
                <a:gd name="T32" fmla="*/ 64 w 161"/>
                <a:gd name="T33" fmla="*/ 152 h 152"/>
                <a:gd name="T34" fmla="*/ 64 w 161"/>
                <a:gd name="T3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52">
                  <a:moveTo>
                    <a:pt x="64" y="152"/>
                  </a:moveTo>
                  <a:cubicBezTo>
                    <a:pt x="51" y="152"/>
                    <a:pt x="42" y="151"/>
                    <a:pt x="40" y="151"/>
                  </a:cubicBezTo>
                  <a:cubicBezTo>
                    <a:pt x="31" y="150"/>
                    <a:pt x="25" y="142"/>
                    <a:pt x="26" y="133"/>
                  </a:cubicBezTo>
                  <a:cubicBezTo>
                    <a:pt x="28" y="125"/>
                    <a:pt x="36" y="119"/>
                    <a:pt x="44" y="120"/>
                  </a:cubicBezTo>
                  <a:cubicBezTo>
                    <a:pt x="58" y="122"/>
                    <a:pt x="100" y="123"/>
                    <a:pt x="119" y="106"/>
                  </a:cubicBezTo>
                  <a:cubicBezTo>
                    <a:pt x="126" y="100"/>
                    <a:pt x="129" y="92"/>
                    <a:pt x="129" y="81"/>
                  </a:cubicBezTo>
                  <a:cubicBezTo>
                    <a:pt x="129" y="68"/>
                    <a:pt x="126" y="57"/>
                    <a:pt x="117" y="50"/>
                  </a:cubicBezTo>
                  <a:cubicBezTo>
                    <a:pt x="97" y="31"/>
                    <a:pt x="59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3" y="1"/>
                    <a:pt x="110" y="0"/>
                    <a:pt x="139" y="27"/>
                  </a:cubicBezTo>
                  <a:cubicBezTo>
                    <a:pt x="153" y="41"/>
                    <a:pt x="161" y="59"/>
                    <a:pt x="161" y="81"/>
                  </a:cubicBezTo>
                  <a:cubicBezTo>
                    <a:pt x="161" y="101"/>
                    <a:pt x="153" y="118"/>
                    <a:pt x="139" y="130"/>
                  </a:cubicBezTo>
                  <a:cubicBezTo>
                    <a:pt x="118" y="149"/>
                    <a:pt x="86" y="152"/>
                    <a:pt x="64" y="152"/>
                  </a:cubicBezTo>
                  <a:cubicBezTo>
                    <a:pt x="64" y="152"/>
                    <a:pt x="64" y="152"/>
                    <a:pt x="64" y="15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D45C3AAA-D8E9-443F-AA6C-F696B9AEA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826" y="2263775"/>
              <a:ext cx="731838" cy="241300"/>
            </a:xfrm>
            <a:custGeom>
              <a:avLst/>
              <a:gdLst>
                <a:gd name="T0" fmla="*/ 178 w 194"/>
                <a:gd name="T1" fmla="*/ 64 h 64"/>
                <a:gd name="T2" fmla="*/ 73 w 194"/>
                <a:gd name="T3" fmla="*/ 64 h 64"/>
                <a:gd name="T4" fmla="*/ 5 w 194"/>
                <a:gd name="T5" fmla="*/ 26 h 64"/>
                <a:gd name="T6" fmla="*/ 9 w 194"/>
                <a:gd name="T7" fmla="*/ 4 h 64"/>
                <a:gd name="T8" fmla="*/ 31 w 194"/>
                <a:gd name="T9" fmla="*/ 9 h 64"/>
                <a:gd name="T10" fmla="*/ 73 w 194"/>
                <a:gd name="T11" fmla="*/ 33 h 64"/>
                <a:gd name="T12" fmla="*/ 178 w 194"/>
                <a:gd name="T13" fmla="*/ 33 h 64"/>
                <a:gd name="T14" fmla="*/ 194 w 194"/>
                <a:gd name="T15" fmla="*/ 49 h 64"/>
                <a:gd name="T16" fmla="*/ 178 w 194"/>
                <a:gd name="T17" fmla="*/ 64 h 64"/>
                <a:gd name="T18" fmla="*/ 178 w 194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64">
                  <a:moveTo>
                    <a:pt x="178" y="64"/>
                  </a:moveTo>
                  <a:cubicBezTo>
                    <a:pt x="73" y="64"/>
                    <a:pt x="73" y="64"/>
                    <a:pt x="73" y="64"/>
                  </a:cubicBezTo>
                  <a:cubicBezTo>
                    <a:pt x="32" y="64"/>
                    <a:pt x="6" y="28"/>
                    <a:pt x="5" y="26"/>
                  </a:cubicBezTo>
                  <a:cubicBezTo>
                    <a:pt x="0" y="19"/>
                    <a:pt x="2" y="9"/>
                    <a:pt x="9" y="4"/>
                  </a:cubicBezTo>
                  <a:cubicBezTo>
                    <a:pt x="17" y="0"/>
                    <a:pt x="26" y="1"/>
                    <a:pt x="31" y="9"/>
                  </a:cubicBezTo>
                  <a:cubicBezTo>
                    <a:pt x="31" y="9"/>
                    <a:pt x="49" y="33"/>
                    <a:pt x="73" y="33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87" y="33"/>
                    <a:pt x="194" y="40"/>
                    <a:pt x="194" y="49"/>
                  </a:cubicBezTo>
                  <a:cubicBezTo>
                    <a:pt x="194" y="57"/>
                    <a:pt x="187" y="64"/>
                    <a:pt x="178" y="64"/>
                  </a:cubicBezTo>
                  <a:cubicBezTo>
                    <a:pt x="178" y="64"/>
                    <a:pt x="178" y="64"/>
                    <a:pt x="178" y="64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624C129-3417-4746-8A48-296F86079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913188"/>
              <a:ext cx="328613" cy="868363"/>
            </a:xfrm>
            <a:custGeom>
              <a:avLst/>
              <a:gdLst>
                <a:gd name="T0" fmla="*/ 62 w 87"/>
                <a:gd name="T1" fmla="*/ 86 h 230"/>
                <a:gd name="T2" fmla="*/ 87 w 87"/>
                <a:gd name="T3" fmla="*/ 5 h 230"/>
                <a:gd name="T4" fmla="*/ 69 w 87"/>
                <a:gd name="T5" fmla="*/ 0 h 230"/>
                <a:gd name="T6" fmla="*/ 44 w 87"/>
                <a:gd name="T7" fmla="*/ 80 h 230"/>
                <a:gd name="T8" fmla="*/ 43 w 87"/>
                <a:gd name="T9" fmla="*/ 80 h 230"/>
                <a:gd name="T10" fmla="*/ 9 w 87"/>
                <a:gd name="T11" fmla="*/ 115 h 230"/>
                <a:gd name="T12" fmla="*/ 24 w 87"/>
                <a:gd name="T13" fmla="*/ 144 h 230"/>
                <a:gd name="T14" fmla="*/ 0 w 87"/>
                <a:gd name="T15" fmla="*/ 225 h 230"/>
                <a:gd name="T16" fmla="*/ 18 w 87"/>
                <a:gd name="T17" fmla="*/ 230 h 230"/>
                <a:gd name="T18" fmla="*/ 42 w 87"/>
                <a:gd name="T19" fmla="*/ 149 h 230"/>
                <a:gd name="T20" fmla="*/ 43 w 87"/>
                <a:gd name="T21" fmla="*/ 149 h 230"/>
                <a:gd name="T22" fmla="*/ 78 w 87"/>
                <a:gd name="T23" fmla="*/ 115 h 230"/>
                <a:gd name="T24" fmla="*/ 62 w 87"/>
                <a:gd name="T25" fmla="*/ 8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230">
                  <a:moveTo>
                    <a:pt x="62" y="86"/>
                  </a:moveTo>
                  <a:cubicBezTo>
                    <a:pt x="87" y="5"/>
                    <a:pt x="87" y="5"/>
                    <a:pt x="87" y="5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3" y="80"/>
                    <a:pt x="43" y="80"/>
                  </a:cubicBezTo>
                  <a:cubicBezTo>
                    <a:pt x="24" y="80"/>
                    <a:pt x="9" y="96"/>
                    <a:pt x="9" y="115"/>
                  </a:cubicBezTo>
                  <a:cubicBezTo>
                    <a:pt x="9" y="127"/>
                    <a:pt x="15" y="138"/>
                    <a:pt x="24" y="144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18" y="230"/>
                    <a:pt x="18" y="230"/>
                    <a:pt x="18" y="230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2" y="149"/>
                    <a:pt x="78" y="134"/>
                    <a:pt x="78" y="115"/>
                  </a:cubicBezTo>
                  <a:cubicBezTo>
                    <a:pt x="78" y="103"/>
                    <a:pt x="71" y="92"/>
                    <a:pt x="62" y="86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42CF7327-246A-4439-98A3-2518B01D3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879850"/>
              <a:ext cx="315913" cy="82550"/>
            </a:xfrm>
            <a:custGeom>
              <a:avLst/>
              <a:gdLst>
                <a:gd name="T0" fmla="*/ 73 w 84"/>
                <a:gd name="T1" fmla="*/ 22 h 22"/>
                <a:gd name="T2" fmla="*/ 11 w 84"/>
                <a:gd name="T3" fmla="*/ 22 h 22"/>
                <a:gd name="T4" fmla="*/ 0 w 84"/>
                <a:gd name="T5" fmla="*/ 11 h 22"/>
                <a:gd name="T6" fmla="*/ 11 w 84"/>
                <a:gd name="T7" fmla="*/ 0 h 22"/>
                <a:gd name="T8" fmla="*/ 73 w 84"/>
                <a:gd name="T9" fmla="*/ 0 h 22"/>
                <a:gd name="T10" fmla="*/ 84 w 84"/>
                <a:gd name="T11" fmla="*/ 11 h 22"/>
                <a:gd name="T12" fmla="*/ 73 w 84"/>
                <a:gd name="T13" fmla="*/ 22 h 22"/>
                <a:gd name="T14" fmla="*/ 73 w 8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2">
                  <a:moveTo>
                    <a:pt x="73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5"/>
                    <a:pt x="84" y="11"/>
                  </a:cubicBezTo>
                  <a:cubicBezTo>
                    <a:pt x="84" y="17"/>
                    <a:pt x="79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D4B108AC-76F0-49A5-A766-5C72E3210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363" y="4732338"/>
              <a:ext cx="315913" cy="79375"/>
            </a:xfrm>
            <a:custGeom>
              <a:avLst/>
              <a:gdLst>
                <a:gd name="T0" fmla="*/ 73 w 84"/>
                <a:gd name="T1" fmla="*/ 21 h 21"/>
                <a:gd name="T2" fmla="*/ 11 w 84"/>
                <a:gd name="T3" fmla="*/ 21 h 21"/>
                <a:gd name="T4" fmla="*/ 0 w 84"/>
                <a:gd name="T5" fmla="*/ 10 h 21"/>
                <a:gd name="T6" fmla="*/ 11 w 84"/>
                <a:gd name="T7" fmla="*/ 0 h 21"/>
                <a:gd name="T8" fmla="*/ 73 w 84"/>
                <a:gd name="T9" fmla="*/ 0 h 21"/>
                <a:gd name="T10" fmla="*/ 84 w 84"/>
                <a:gd name="T11" fmla="*/ 10 h 21"/>
                <a:gd name="T12" fmla="*/ 73 w 84"/>
                <a:gd name="T13" fmla="*/ 21 h 21"/>
                <a:gd name="T14" fmla="*/ 73 w 8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1">
                  <a:moveTo>
                    <a:pt x="73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4" y="21"/>
                    <a:pt x="0" y="17"/>
                    <a:pt x="0" y="10"/>
                  </a:cubicBezTo>
                  <a:cubicBezTo>
                    <a:pt x="0" y="4"/>
                    <a:pt x="4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4"/>
                    <a:pt x="84" y="10"/>
                  </a:cubicBezTo>
                  <a:cubicBezTo>
                    <a:pt x="84" y="17"/>
                    <a:pt x="79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7DFE14C0-C03B-4CB0-ABC6-255F9BC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1588" y="4083050"/>
              <a:ext cx="531813" cy="528638"/>
            </a:xfrm>
            <a:custGeom>
              <a:avLst/>
              <a:gdLst>
                <a:gd name="T0" fmla="*/ 70 w 141"/>
                <a:gd name="T1" fmla="*/ 9 h 140"/>
                <a:gd name="T2" fmla="*/ 9 w 141"/>
                <a:gd name="T3" fmla="*/ 70 h 140"/>
                <a:gd name="T4" fmla="*/ 70 w 141"/>
                <a:gd name="T5" fmla="*/ 131 h 140"/>
                <a:gd name="T6" fmla="*/ 131 w 141"/>
                <a:gd name="T7" fmla="*/ 70 h 140"/>
                <a:gd name="T8" fmla="*/ 70 w 141"/>
                <a:gd name="T9" fmla="*/ 9 h 140"/>
                <a:gd name="T10" fmla="*/ 70 w 141"/>
                <a:gd name="T11" fmla="*/ 9 h 140"/>
                <a:gd name="T12" fmla="*/ 70 w 141"/>
                <a:gd name="T13" fmla="*/ 140 h 140"/>
                <a:gd name="T14" fmla="*/ 0 w 141"/>
                <a:gd name="T15" fmla="*/ 70 h 140"/>
                <a:gd name="T16" fmla="*/ 70 w 141"/>
                <a:gd name="T17" fmla="*/ 0 h 140"/>
                <a:gd name="T18" fmla="*/ 141 w 141"/>
                <a:gd name="T19" fmla="*/ 70 h 140"/>
                <a:gd name="T20" fmla="*/ 70 w 141"/>
                <a:gd name="T21" fmla="*/ 140 h 140"/>
                <a:gd name="T22" fmla="*/ 70 w 141"/>
                <a:gd name="T2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" h="140">
                  <a:moveTo>
                    <a:pt x="70" y="9"/>
                  </a:moveTo>
                  <a:cubicBezTo>
                    <a:pt x="37" y="9"/>
                    <a:pt x="9" y="36"/>
                    <a:pt x="9" y="70"/>
                  </a:cubicBezTo>
                  <a:cubicBezTo>
                    <a:pt x="9" y="104"/>
                    <a:pt x="37" y="131"/>
                    <a:pt x="70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6"/>
                    <a:pt x="104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lose/>
                  <a:moveTo>
                    <a:pt x="70" y="140"/>
                  </a:moveTo>
                  <a:cubicBezTo>
                    <a:pt x="31" y="140"/>
                    <a:pt x="0" y="109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9" y="0"/>
                    <a:pt x="141" y="31"/>
                    <a:pt x="141" y="70"/>
                  </a:cubicBezTo>
                  <a:cubicBezTo>
                    <a:pt x="141" y="109"/>
                    <a:pt x="109" y="140"/>
                    <a:pt x="70" y="140"/>
                  </a:cubicBezTo>
                  <a:cubicBezTo>
                    <a:pt x="70" y="140"/>
                    <a:pt x="70" y="140"/>
                    <a:pt x="70" y="14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D4D00511-82D3-442E-84C4-6AF197FE1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6" y="4083050"/>
              <a:ext cx="1157288" cy="38100"/>
            </a:xfrm>
            <a:custGeom>
              <a:avLst/>
              <a:gdLst>
                <a:gd name="T0" fmla="*/ 4 w 307"/>
                <a:gd name="T1" fmla="*/ 10 h 10"/>
                <a:gd name="T2" fmla="*/ 0 w 307"/>
                <a:gd name="T3" fmla="*/ 6 h 10"/>
                <a:gd name="T4" fmla="*/ 4 w 307"/>
                <a:gd name="T5" fmla="*/ 1 h 10"/>
                <a:gd name="T6" fmla="*/ 302 w 307"/>
                <a:gd name="T7" fmla="*/ 0 h 10"/>
                <a:gd name="T8" fmla="*/ 302 w 307"/>
                <a:gd name="T9" fmla="*/ 0 h 10"/>
                <a:gd name="T10" fmla="*/ 307 w 307"/>
                <a:gd name="T11" fmla="*/ 4 h 10"/>
                <a:gd name="T12" fmla="*/ 302 w 307"/>
                <a:gd name="T13" fmla="*/ 9 h 10"/>
                <a:gd name="T14" fmla="*/ 4 w 307"/>
                <a:gd name="T15" fmla="*/ 10 h 10"/>
                <a:gd name="T16" fmla="*/ 4 w 307"/>
                <a:gd name="T17" fmla="*/ 10 h 10"/>
                <a:gd name="T18" fmla="*/ 4 w 30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10">
                  <a:moveTo>
                    <a:pt x="4" y="10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5" y="0"/>
                    <a:pt x="307" y="2"/>
                    <a:pt x="307" y="4"/>
                  </a:cubicBezTo>
                  <a:cubicBezTo>
                    <a:pt x="307" y="7"/>
                    <a:pt x="305" y="9"/>
                    <a:pt x="302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B9D9F72A-F995-45DB-B0BB-4F2E6003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51" y="4310063"/>
              <a:ext cx="1120775" cy="290513"/>
            </a:xfrm>
            <a:custGeom>
              <a:avLst/>
              <a:gdLst>
                <a:gd name="T0" fmla="*/ 292 w 297"/>
                <a:gd name="T1" fmla="*/ 77 h 77"/>
                <a:gd name="T2" fmla="*/ 291 w 297"/>
                <a:gd name="T3" fmla="*/ 77 h 77"/>
                <a:gd name="T4" fmla="*/ 4 w 297"/>
                <a:gd name="T5" fmla="*/ 9 h 77"/>
                <a:gd name="T6" fmla="*/ 1 w 297"/>
                <a:gd name="T7" fmla="*/ 4 h 77"/>
                <a:gd name="T8" fmla="*/ 6 w 297"/>
                <a:gd name="T9" fmla="*/ 0 h 77"/>
                <a:gd name="T10" fmla="*/ 293 w 297"/>
                <a:gd name="T11" fmla="*/ 68 h 77"/>
                <a:gd name="T12" fmla="*/ 296 w 297"/>
                <a:gd name="T13" fmla="*/ 74 h 77"/>
                <a:gd name="T14" fmla="*/ 292 w 297"/>
                <a:gd name="T15" fmla="*/ 77 h 77"/>
                <a:gd name="T16" fmla="*/ 292 w 297"/>
                <a:gd name="T1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77">
                  <a:moveTo>
                    <a:pt x="292" y="77"/>
                  </a:moveTo>
                  <a:cubicBezTo>
                    <a:pt x="292" y="77"/>
                    <a:pt x="291" y="77"/>
                    <a:pt x="291" y="7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1" y="1"/>
                    <a:pt x="4" y="0"/>
                    <a:pt x="6" y="0"/>
                  </a:cubicBezTo>
                  <a:cubicBezTo>
                    <a:pt x="293" y="68"/>
                    <a:pt x="293" y="68"/>
                    <a:pt x="293" y="68"/>
                  </a:cubicBezTo>
                  <a:cubicBezTo>
                    <a:pt x="296" y="69"/>
                    <a:pt x="297" y="71"/>
                    <a:pt x="296" y="74"/>
                  </a:cubicBezTo>
                  <a:cubicBezTo>
                    <a:pt x="296" y="76"/>
                    <a:pt x="294" y="77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369D0E3D-CDB5-4A80-B41F-63D78CF59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26" y="4087813"/>
              <a:ext cx="260350" cy="260350"/>
            </a:xfrm>
            <a:prstGeom prst="ellipse">
              <a:avLst/>
            </a:pr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18F18F9-A0D7-43D0-A395-7875E4E241A8}"/>
              </a:ext>
            </a:extLst>
          </p:cNvPr>
          <p:cNvGrpSpPr/>
          <p:nvPr/>
        </p:nvGrpSpPr>
        <p:grpSpPr>
          <a:xfrm>
            <a:off x="6287519" y="1799224"/>
            <a:ext cx="299132" cy="299132"/>
            <a:chOff x="3390900" y="1803400"/>
            <a:chExt cx="361950" cy="361950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1" name="Freeform 30">
              <a:extLst>
                <a:ext uri="{FF2B5EF4-FFF2-40B4-BE49-F238E27FC236}">
                  <a16:creationId xmlns:a16="http://schemas.microsoft.com/office/drawing/2014/main" id="{31A23FF9-0E47-45EA-9178-F287ECC42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2" name="Freeform 31">
              <a:extLst>
                <a:ext uri="{FF2B5EF4-FFF2-40B4-BE49-F238E27FC236}">
                  <a16:creationId xmlns:a16="http://schemas.microsoft.com/office/drawing/2014/main" id="{415730EB-0EC6-4647-A8C7-689853E9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9 w 76"/>
                <a:gd name="T27" fmla="*/ 8 h 36"/>
                <a:gd name="T28" fmla="*/ 28 w 76"/>
                <a:gd name="T29" fmla="*/ 8 h 36"/>
                <a:gd name="T30" fmla="*/ 27 w 76"/>
                <a:gd name="T31" fmla="*/ 7 h 36"/>
                <a:gd name="T32" fmla="*/ 10 w 76"/>
                <a:gd name="T33" fmla="*/ 0 h 36"/>
                <a:gd name="T34" fmla="*/ 2 w 76"/>
                <a:gd name="T35" fmla="*/ 0 h 36"/>
                <a:gd name="T36" fmla="*/ 0 w 76"/>
                <a:gd name="T37" fmla="*/ 2 h 36"/>
                <a:gd name="T38" fmla="*/ 0 w 76"/>
                <a:gd name="T39" fmla="*/ 24 h 36"/>
                <a:gd name="T40" fmla="*/ 1 w 76"/>
                <a:gd name="T41" fmla="*/ 26 h 36"/>
                <a:gd name="T42" fmla="*/ 17 w 76"/>
                <a:gd name="T43" fmla="*/ 31 h 36"/>
                <a:gd name="T44" fmla="*/ 33 w 76"/>
                <a:gd name="T45" fmla="*/ 36 h 36"/>
                <a:gd name="T46" fmla="*/ 51 w 76"/>
                <a:gd name="T47" fmla="*/ 29 h 36"/>
                <a:gd name="T48" fmla="*/ 75 w 76"/>
                <a:gd name="T49" fmla="*/ 16 h 36"/>
                <a:gd name="T50" fmla="*/ 76 w 76"/>
                <a:gd name="T51" fmla="*/ 14 h 36"/>
                <a:gd name="T52" fmla="*/ 75 w 76"/>
                <a:gd name="T53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3" name="Freeform 32">
              <a:extLst>
                <a:ext uri="{FF2B5EF4-FFF2-40B4-BE49-F238E27FC236}">
                  <a16:creationId xmlns:a16="http://schemas.microsoft.com/office/drawing/2014/main" id="{0A62A17B-2909-4F8F-990A-2CF6F7AF6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1803400"/>
              <a:ext cx="273050" cy="233363"/>
            </a:xfrm>
            <a:custGeom>
              <a:avLst/>
              <a:gdLst>
                <a:gd name="T0" fmla="*/ 21 w 73"/>
                <a:gd name="T1" fmla="*/ 45 h 62"/>
                <a:gd name="T2" fmla="*/ 29 w 73"/>
                <a:gd name="T3" fmla="*/ 40 h 62"/>
                <a:gd name="T4" fmla="*/ 36 w 73"/>
                <a:gd name="T5" fmla="*/ 59 h 62"/>
                <a:gd name="T6" fmla="*/ 40 w 73"/>
                <a:gd name="T7" fmla="*/ 62 h 62"/>
                <a:gd name="T8" fmla="*/ 44 w 73"/>
                <a:gd name="T9" fmla="*/ 59 h 62"/>
                <a:gd name="T10" fmla="*/ 49 w 73"/>
                <a:gd name="T11" fmla="*/ 49 h 62"/>
                <a:gd name="T12" fmla="*/ 56 w 73"/>
                <a:gd name="T13" fmla="*/ 53 h 62"/>
                <a:gd name="T14" fmla="*/ 56 w 73"/>
                <a:gd name="T15" fmla="*/ 53 h 62"/>
                <a:gd name="T16" fmla="*/ 65 w 73"/>
                <a:gd name="T17" fmla="*/ 48 h 62"/>
                <a:gd name="T18" fmla="*/ 69 w 73"/>
                <a:gd name="T19" fmla="*/ 21 h 62"/>
                <a:gd name="T20" fmla="*/ 68 w 73"/>
                <a:gd name="T21" fmla="*/ 20 h 62"/>
                <a:gd name="T22" fmla="*/ 66 w 73"/>
                <a:gd name="T23" fmla="*/ 20 h 62"/>
                <a:gd name="T24" fmla="*/ 56 w 73"/>
                <a:gd name="T25" fmla="*/ 24 h 62"/>
                <a:gd name="T26" fmla="*/ 47 w 73"/>
                <a:gd name="T27" fmla="*/ 28 h 62"/>
                <a:gd name="T28" fmla="*/ 41 w 73"/>
                <a:gd name="T29" fmla="*/ 37 h 62"/>
                <a:gd name="T30" fmla="*/ 44 w 73"/>
                <a:gd name="T31" fmla="*/ 43 h 62"/>
                <a:gd name="T32" fmla="*/ 41 w 73"/>
                <a:gd name="T33" fmla="*/ 47 h 62"/>
                <a:gd name="T34" fmla="*/ 35 w 73"/>
                <a:gd name="T35" fmla="*/ 35 h 62"/>
                <a:gd name="T36" fmla="*/ 40 w 73"/>
                <a:gd name="T37" fmla="*/ 27 h 62"/>
                <a:gd name="T38" fmla="*/ 36 w 73"/>
                <a:gd name="T39" fmla="*/ 14 h 62"/>
                <a:gd name="T40" fmla="*/ 22 w 73"/>
                <a:gd name="T41" fmla="*/ 7 h 62"/>
                <a:gd name="T42" fmla="*/ 8 w 73"/>
                <a:gd name="T43" fmla="*/ 0 h 62"/>
                <a:gd name="T44" fmla="*/ 6 w 73"/>
                <a:gd name="T45" fmla="*/ 0 h 62"/>
                <a:gd name="T46" fmla="*/ 5 w 73"/>
                <a:gd name="T47" fmla="*/ 1 h 62"/>
                <a:gd name="T48" fmla="*/ 8 w 73"/>
                <a:gd name="T49" fmla="*/ 38 h 62"/>
                <a:gd name="T50" fmla="*/ 21 w 73"/>
                <a:gd name="T51" fmla="*/ 45 h 62"/>
                <a:gd name="T52" fmla="*/ 14 w 73"/>
                <a:gd name="T53" fmla="*/ 15 h 62"/>
                <a:gd name="T54" fmla="*/ 17 w 73"/>
                <a:gd name="T55" fmla="*/ 15 h 62"/>
                <a:gd name="T56" fmla="*/ 33 w 73"/>
                <a:gd name="T57" fmla="*/ 36 h 62"/>
                <a:gd name="T58" fmla="*/ 33 w 73"/>
                <a:gd name="T59" fmla="*/ 36 h 62"/>
                <a:gd name="T60" fmla="*/ 40 w 73"/>
                <a:gd name="T61" fmla="*/ 52 h 62"/>
                <a:gd name="T62" fmla="*/ 57 w 73"/>
                <a:gd name="T63" fmla="*/ 34 h 62"/>
                <a:gd name="T64" fmla="*/ 60 w 73"/>
                <a:gd name="T65" fmla="*/ 35 h 62"/>
                <a:gd name="T66" fmla="*/ 59 w 73"/>
                <a:gd name="T67" fmla="*/ 38 h 62"/>
                <a:gd name="T68" fmla="*/ 42 w 73"/>
                <a:gd name="T69" fmla="*/ 58 h 62"/>
                <a:gd name="T70" fmla="*/ 42 w 73"/>
                <a:gd name="T71" fmla="*/ 58 h 62"/>
                <a:gd name="T72" fmla="*/ 38 w 73"/>
                <a:gd name="T73" fmla="*/ 58 h 62"/>
                <a:gd name="T74" fmla="*/ 30 w 73"/>
                <a:gd name="T75" fmla="*/ 39 h 62"/>
                <a:gd name="T76" fmla="*/ 30 w 73"/>
                <a:gd name="T77" fmla="*/ 39 h 62"/>
                <a:gd name="T78" fmla="*/ 14 w 73"/>
                <a:gd name="T79" fmla="*/ 18 h 62"/>
                <a:gd name="T80" fmla="*/ 14 w 73"/>
                <a:gd name="T81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" h="62">
                  <a:moveTo>
                    <a:pt x="21" y="45"/>
                  </a:moveTo>
                  <a:cubicBezTo>
                    <a:pt x="24" y="45"/>
                    <a:pt x="27" y="43"/>
                    <a:pt x="29" y="40"/>
                  </a:cubicBezTo>
                  <a:cubicBezTo>
                    <a:pt x="34" y="50"/>
                    <a:pt x="36" y="58"/>
                    <a:pt x="36" y="59"/>
                  </a:cubicBezTo>
                  <a:cubicBezTo>
                    <a:pt x="36" y="60"/>
                    <a:pt x="38" y="62"/>
                    <a:pt x="40" y="62"/>
                  </a:cubicBezTo>
                  <a:cubicBezTo>
                    <a:pt x="42" y="62"/>
                    <a:pt x="43" y="61"/>
                    <a:pt x="44" y="59"/>
                  </a:cubicBezTo>
                  <a:cubicBezTo>
                    <a:pt x="44" y="59"/>
                    <a:pt x="46" y="54"/>
                    <a:pt x="49" y="49"/>
                  </a:cubicBezTo>
                  <a:cubicBezTo>
                    <a:pt x="51" y="52"/>
                    <a:pt x="54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3"/>
                    <a:pt x="62" y="51"/>
                    <a:pt x="65" y="48"/>
                  </a:cubicBezTo>
                  <a:cubicBezTo>
                    <a:pt x="70" y="43"/>
                    <a:pt x="73" y="29"/>
                    <a:pt x="69" y="21"/>
                  </a:cubicBezTo>
                  <a:cubicBezTo>
                    <a:pt x="69" y="20"/>
                    <a:pt x="68" y="20"/>
                    <a:pt x="68" y="20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3" y="23"/>
                    <a:pt x="59" y="24"/>
                    <a:pt x="56" y="24"/>
                  </a:cubicBezTo>
                  <a:cubicBezTo>
                    <a:pt x="53" y="25"/>
                    <a:pt x="50" y="26"/>
                    <a:pt x="47" y="28"/>
                  </a:cubicBezTo>
                  <a:cubicBezTo>
                    <a:pt x="43" y="30"/>
                    <a:pt x="41" y="34"/>
                    <a:pt x="41" y="37"/>
                  </a:cubicBezTo>
                  <a:cubicBezTo>
                    <a:pt x="41" y="38"/>
                    <a:pt x="42" y="41"/>
                    <a:pt x="44" y="43"/>
                  </a:cubicBezTo>
                  <a:cubicBezTo>
                    <a:pt x="43" y="44"/>
                    <a:pt x="42" y="46"/>
                    <a:pt x="41" y="47"/>
                  </a:cubicBezTo>
                  <a:cubicBezTo>
                    <a:pt x="39" y="43"/>
                    <a:pt x="37" y="39"/>
                    <a:pt x="35" y="35"/>
                  </a:cubicBezTo>
                  <a:cubicBezTo>
                    <a:pt x="38" y="33"/>
                    <a:pt x="40" y="30"/>
                    <a:pt x="40" y="27"/>
                  </a:cubicBezTo>
                  <a:cubicBezTo>
                    <a:pt x="41" y="23"/>
                    <a:pt x="40" y="19"/>
                    <a:pt x="36" y="14"/>
                  </a:cubicBezTo>
                  <a:cubicBezTo>
                    <a:pt x="32" y="10"/>
                    <a:pt x="27" y="8"/>
                    <a:pt x="22" y="7"/>
                  </a:cubicBezTo>
                  <a:cubicBezTo>
                    <a:pt x="17" y="5"/>
                    <a:pt x="12" y="4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0" y="12"/>
                    <a:pt x="2" y="30"/>
                    <a:pt x="8" y="38"/>
                  </a:cubicBezTo>
                  <a:cubicBezTo>
                    <a:pt x="11" y="41"/>
                    <a:pt x="16" y="45"/>
                    <a:pt x="21" y="45"/>
                  </a:cubicBezTo>
                  <a:close/>
                  <a:moveTo>
                    <a:pt x="14" y="15"/>
                  </a:moveTo>
                  <a:cubicBezTo>
                    <a:pt x="14" y="14"/>
                    <a:pt x="15" y="14"/>
                    <a:pt x="17" y="15"/>
                  </a:cubicBezTo>
                  <a:cubicBezTo>
                    <a:pt x="23" y="21"/>
                    <a:pt x="29" y="28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7" y="42"/>
                    <a:pt x="39" y="47"/>
                    <a:pt x="40" y="52"/>
                  </a:cubicBezTo>
                  <a:cubicBezTo>
                    <a:pt x="45" y="45"/>
                    <a:pt x="50" y="38"/>
                    <a:pt x="57" y="34"/>
                  </a:cubicBezTo>
                  <a:cubicBezTo>
                    <a:pt x="58" y="33"/>
                    <a:pt x="59" y="34"/>
                    <a:pt x="60" y="35"/>
                  </a:cubicBezTo>
                  <a:cubicBezTo>
                    <a:pt x="60" y="36"/>
                    <a:pt x="60" y="37"/>
                    <a:pt x="59" y="38"/>
                  </a:cubicBezTo>
                  <a:cubicBezTo>
                    <a:pt x="50" y="42"/>
                    <a:pt x="44" y="53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60"/>
                    <a:pt x="39" y="60"/>
                    <a:pt x="38" y="58"/>
                  </a:cubicBezTo>
                  <a:cubicBezTo>
                    <a:pt x="37" y="54"/>
                    <a:pt x="36" y="4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6" y="32"/>
                    <a:pt x="21" y="24"/>
                    <a:pt x="14" y="18"/>
                  </a:cubicBezTo>
                  <a:cubicBezTo>
                    <a:pt x="13" y="17"/>
                    <a:pt x="13" y="16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23A6693E-A12F-4DEF-861F-5BCC3E67249A}"/>
              </a:ext>
            </a:extLst>
          </p:cNvPr>
          <p:cNvGrpSpPr/>
          <p:nvPr/>
        </p:nvGrpSpPr>
        <p:grpSpPr>
          <a:xfrm>
            <a:off x="6288175" y="3133927"/>
            <a:ext cx="297821" cy="274205"/>
            <a:chOff x="6680200" y="6508750"/>
            <a:chExt cx="360363" cy="33178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5" name="Freeform 5">
              <a:extLst>
                <a:ext uri="{FF2B5EF4-FFF2-40B4-BE49-F238E27FC236}">
                  <a16:creationId xmlns:a16="http://schemas.microsoft.com/office/drawing/2014/main" id="{283B7E35-7167-4855-9917-6159F8D17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508750"/>
              <a:ext cx="360363" cy="331788"/>
            </a:xfrm>
            <a:custGeom>
              <a:avLst/>
              <a:gdLst>
                <a:gd name="T0" fmla="*/ 95 w 96"/>
                <a:gd name="T1" fmla="*/ 36 h 88"/>
                <a:gd name="T2" fmla="*/ 95 w 96"/>
                <a:gd name="T3" fmla="*/ 33 h 88"/>
                <a:gd name="T4" fmla="*/ 93 w 96"/>
                <a:gd name="T5" fmla="*/ 33 h 88"/>
                <a:gd name="T6" fmla="*/ 80 w 96"/>
                <a:gd name="T7" fmla="*/ 48 h 88"/>
                <a:gd name="T8" fmla="*/ 80 w 96"/>
                <a:gd name="T9" fmla="*/ 54 h 88"/>
                <a:gd name="T10" fmla="*/ 80 w 96"/>
                <a:gd name="T11" fmla="*/ 66 h 88"/>
                <a:gd name="T12" fmla="*/ 80 w 96"/>
                <a:gd name="T13" fmla="*/ 78 h 88"/>
                <a:gd name="T14" fmla="*/ 74 w 96"/>
                <a:gd name="T15" fmla="*/ 84 h 88"/>
                <a:gd name="T16" fmla="*/ 68 w 96"/>
                <a:gd name="T17" fmla="*/ 78 h 88"/>
                <a:gd name="T18" fmla="*/ 68 w 96"/>
                <a:gd name="T19" fmla="*/ 24 h 88"/>
                <a:gd name="T20" fmla="*/ 60 w 96"/>
                <a:gd name="T21" fmla="*/ 16 h 88"/>
                <a:gd name="T22" fmla="*/ 56 w 96"/>
                <a:gd name="T23" fmla="*/ 16 h 88"/>
                <a:gd name="T24" fmla="*/ 56 w 96"/>
                <a:gd name="T25" fmla="*/ 2 h 88"/>
                <a:gd name="T26" fmla="*/ 54 w 96"/>
                <a:gd name="T27" fmla="*/ 0 h 88"/>
                <a:gd name="T28" fmla="*/ 2 w 96"/>
                <a:gd name="T29" fmla="*/ 0 h 88"/>
                <a:gd name="T30" fmla="*/ 0 w 96"/>
                <a:gd name="T31" fmla="*/ 2 h 88"/>
                <a:gd name="T32" fmla="*/ 0 w 96"/>
                <a:gd name="T33" fmla="*/ 32 h 88"/>
                <a:gd name="T34" fmla="*/ 56 w 96"/>
                <a:gd name="T35" fmla="*/ 32 h 88"/>
                <a:gd name="T36" fmla="*/ 56 w 96"/>
                <a:gd name="T37" fmla="*/ 20 h 88"/>
                <a:gd name="T38" fmla="*/ 60 w 96"/>
                <a:gd name="T39" fmla="*/ 20 h 88"/>
                <a:gd name="T40" fmla="*/ 64 w 96"/>
                <a:gd name="T41" fmla="*/ 24 h 88"/>
                <a:gd name="T42" fmla="*/ 64 w 96"/>
                <a:gd name="T43" fmla="*/ 78 h 88"/>
                <a:gd name="T44" fmla="*/ 74 w 96"/>
                <a:gd name="T45" fmla="*/ 88 h 88"/>
                <a:gd name="T46" fmla="*/ 84 w 96"/>
                <a:gd name="T47" fmla="*/ 78 h 88"/>
                <a:gd name="T48" fmla="*/ 84 w 96"/>
                <a:gd name="T49" fmla="*/ 67 h 88"/>
                <a:gd name="T50" fmla="*/ 91 w 96"/>
                <a:gd name="T51" fmla="*/ 64 h 88"/>
                <a:gd name="T52" fmla="*/ 92 w 96"/>
                <a:gd name="T53" fmla="*/ 62 h 88"/>
                <a:gd name="T54" fmla="*/ 92 w 96"/>
                <a:gd name="T55" fmla="*/ 54 h 88"/>
                <a:gd name="T56" fmla="*/ 90 w 96"/>
                <a:gd name="T57" fmla="*/ 52 h 88"/>
                <a:gd name="T58" fmla="*/ 84 w 96"/>
                <a:gd name="T59" fmla="*/ 52 h 88"/>
                <a:gd name="T60" fmla="*/ 84 w 96"/>
                <a:gd name="T61" fmla="*/ 48 h 88"/>
                <a:gd name="T62" fmla="*/ 95 w 96"/>
                <a:gd name="T63" fmla="*/ 36 h 88"/>
                <a:gd name="T64" fmla="*/ 48 w 96"/>
                <a:gd name="T65" fmla="*/ 26 h 88"/>
                <a:gd name="T66" fmla="*/ 46 w 96"/>
                <a:gd name="T67" fmla="*/ 28 h 88"/>
                <a:gd name="T68" fmla="*/ 10 w 96"/>
                <a:gd name="T69" fmla="*/ 28 h 88"/>
                <a:gd name="T70" fmla="*/ 8 w 96"/>
                <a:gd name="T71" fmla="*/ 26 h 88"/>
                <a:gd name="T72" fmla="*/ 8 w 96"/>
                <a:gd name="T73" fmla="*/ 10 h 88"/>
                <a:gd name="T74" fmla="*/ 10 w 96"/>
                <a:gd name="T75" fmla="*/ 8 h 88"/>
                <a:gd name="T76" fmla="*/ 46 w 96"/>
                <a:gd name="T77" fmla="*/ 8 h 88"/>
                <a:gd name="T78" fmla="*/ 48 w 96"/>
                <a:gd name="T79" fmla="*/ 10 h 88"/>
                <a:gd name="T80" fmla="*/ 48 w 96"/>
                <a:gd name="T81" fmla="*/ 2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88">
                  <a:moveTo>
                    <a:pt x="95" y="36"/>
                  </a:moveTo>
                  <a:cubicBezTo>
                    <a:pt x="96" y="35"/>
                    <a:pt x="96" y="34"/>
                    <a:pt x="95" y="33"/>
                  </a:cubicBezTo>
                  <a:cubicBezTo>
                    <a:pt x="95" y="32"/>
                    <a:pt x="93" y="32"/>
                    <a:pt x="93" y="33"/>
                  </a:cubicBezTo>
                  <a:cubicBezTo>
                    <a:pt x="88" y="37"/>
                    <a:pt x="80" y="44"/>
                    <a:pt x="80" y="48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81"/>
                    <a:pt x="77" y="84"/>
                    <a:pt x="74" y="84"/>
                  </a:cubicBezTo>
                  <a:cubicBezTo>
                    <a:pt x="71" y="84"/>
                    <a:pt x="68" y="81"/>
                    <a:pt x="68" y="78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0"/>
                    <a:pt x="64" y="16"/>
                    <a:pt x="60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2" y="20"/>
                    <a:pt x="64" y="22"/>
                    <a:pt x="64" y="24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84"/>
                    <a:pt x="68" y="88"/>
                    <a:pt x="74" y="88"/>
                  </a:cubicBezTo>
                  <a:cubicBezTo>
                    <a:pt x="80" y="88"/>
                    <a:pt x="84" y="84"/>
                    <a:pt x="84" y="78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2" y="63"/>
                    <a:pt x="92" y="63"/>
                    <a:pt x="92" y="62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6"/>
                    <a:pt x="90" y="40"/>
                    <a:pt x="95" y="36"/>
                  </a:cubicBezTo>
                  <a:close/>
                  <a:moveTo>
                    <a:pt x="48" y="26"/>
                  </a:moveTo>
                  <a:cubicBezTo>
                    <a:pt x="48" y="27"/>
                    <a:pt x="47" y="28"/>
                    <a:pt x="46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lnTo>
                    <a:pt x="48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6" name="Freeform 6">
              <a:extLst>
                <a:ext uri="{FF2B5EF4-FFF2-40B4-BE49-F238E27FC236}">
                  <a16:creationId xmlns:a16="http://schemas.microsoft.com/office/drawing/2014/main" id="{263443A7-EF4B-4B84-A373-3DA3DFC11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645275"/>
              <a:ext cx="211138" cy="195263"/>
            </a:xfrm>
            <a:custGeom>
              <a:avLst/>
              <a:gdLst>
                <a:gd name="T0" fmla="*/ 0 w 56"/>
                <a:gd name="T1" fmla="*/ 50 h 52"/>
                <a:gd name="T2" fmla="*/ 2 w 56"/>
                <a:gd name="T3" fmla="*/ 52 h 52"/>
                <a:gd name="T4" fmla="*/ 54 w 56"/>
                <a:gd name="T5" fmla="*/ 52 h 52"/>
                <a:gd name="T6" fmla="*/ 56 w 56"/>
                <a:gd name="T7" fmla="*/ 50 h 52"/>
                <a:gd name="T8" fmla="*/ 56 w 56"/>
                <a:gd name="T9" fmla="*/ 0 h 52"/>
                <a:gd name="T10" fmla="*/ 0 w 56"/>
                <a:gd name="T11" fmla="*/ 0 h 52"/>
                <a:gd name="T12" fmla="*/ 0 w 56"/>
                <a:gd name="T13" fmla="*/ 50 h 52"/>
                <a:gd name="T14" fmla="*/ 32 w 56"/>
                <a:gd name="T15" fmla="*/ 14 h 52"/>
                <a:gd name="T16" fmla="*/ 34 w 56"/>
                <a:gd name="T17" fmla="*/ 12 h 52"/>
                <a:gd name="T18" fmla="*/ 42 w 56"/>
                <a:gd name="T19" fmla="*/ 12 h 52"/>
                <a:gd name="T20" fmla="*/ 44 w 56"/>
                <a:gd name="T21" fmla="*/ 14 h 52"/>
                <a:gd name="T22" fmla="*/ 44 w 56"/>
                <a:gd name="T23" fmla="*/ 30 h 52"/>
                <a:gd name="T24" fmla="*/ 42 w 56"/>
                <a:gd name="T25" fmla="*/ 32 h 52"/>
                <a:gd name="T26" fmla="*/ 34 w 56"/>
                <a:gd name="T27" fmla="*/ 32 h 52"/>
                <a:gd name="T28" fmla="*/ 32 w 56"/>
                <a:gd name="T29" fmla="*/ 30 h 52"/>
                <a:gd name="T30" fmla="*/ 32 w 56"/>
                <a:gd name="T31" fmla="*/ 14 h 52"/>
                <a:gd name="T32" fmla="*/ 34 w 56"/>
                <a:gd name="T33" fmla="*/ 36 h 52"/>
                <a:gd name="T34" fmla="*/ 42 w 56"/>
                <a:gd name="T35" fmla="*/ 36 h 52"/>
                <a:gd name="T36" fmla="*/ 44 w 56"/>
                <a:gd name="T37" fmla="*/ 38 h 52"/>
                <a:gd name="T38" fmla="*/ 42 w 56"/>
                <a:gd name="T39" fmla="*/ 40 h 52"/>
                <a:gd name="T40" fmla="*/ 34 w 56"/>
                <a:gd name="T41" fmla="*/ 40 h 52"/>
                <a:gd name="T42" fmla="*/ 32 w 56"/>
                <a:gd name="T43" fmla="*/ 38 h 52"/>
                <a:gd name="T44" fmla="*/ 34 w 56"/>
                <a:gd name="T45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52">
                  <a:moveTo>
                    <a:pt x="0" y="50"/>
                  </a:moveTo>
                  <a:cubicBezTo>
                    <a:pt x="0" y="51"/>
                    <a:pt x="1" y="52"/>
                    <a:pt x="2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1"/>
                    <a:pt x="56" y="5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0"/>
                  </a:lnTo>
                  <a:close/>
                  <a:moveTo>
                    <a:pt x="32" y="14"/>
                  </a:moveTo>
                  <a:cubicBezTo>
                    <a:pt x="32" y="13"/>
                    <a:pt x="33" y="12"/>
                    <a:pt x="34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4" y="13"/>
                    <a:pt x="44" y="1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1"/>
                    <a:pt x="43" y="32"/>
                    <a:pt x="42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1"/>
                    <a:pt x="32" y="30"/>
                  </a:cubicBezTo>
                  <a:lnTo>
                    <a:pt x="32" y="14"/>
                  </a:lnTo>
                  <a:close/>
                  <a:moveTo>
                    <a:pt x="34" y="36"/>
                  </a:moveTo>
                  <a:cubicBezTo>
                    <a:pt x="42" y="36"/>
                    <a:pt x="42" y="36"/>
                    <a:pt x="42" y="36"/>
                  </a:cubicBezTo>
                  <a:cubicBezTo>
                    <a:pt x="43" y="36"/>
                    <a:pt x="44" y="37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7E0F361E-BB7E-44A3-B559-633136368F24}"/>
              </a:ext>
            </a:extLst>
          </p:cNvPr>
          <p:cNvGrpSpPr/>
          <p:nvPr/>
        </p:nvGrpSpPr>
        <p:grpSpPr>
          <a:xfrm>
            <a:off x="6288175" y="5772502"/>
            <a:ext cx="297821" cy="286013"/>
            <a:chOff x="8445500" y="1847850"/>
            <a:chExt cx="360363" cy="346075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8" name="Freeform 26">
              <a:extLst>
                <a:ext uri="{FF2B5EF4-FFF2-40B4-BE49-F238E27FC236}">
                  <a16:creationId xmlns:a16="http://schemas.microsoft.com/office/drawing/2014/main" id="{4947256B-AEFC-42CD-BD7A-2287BBCA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9" name="Freeform 27">
              <a:extLst>
                <a:ext uri="{FF2B5EF4-FFF2-40B4-BE49-F238E27FC236}">
                  <a16:creationId xmlns:a16="http://schemas.microsoft.com/office/drawing/2014/main" id="{D44AB5B2-210C-4C6E-9290-2A5FAF73D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0" name="Freeform 28">
              <a:extLst>
                <a:ext uri="{FF2B5EF4-FFF2-40B4-BE49-F238E27FC236}">
                  <a16:creationId xmlns:a16="http://schemas.microsoft.com/office/drawing/2014/main" id="{D1C6183F-A546-4926-89F0-FB9FB305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1" name="Freeform 200">
            <a:extLst>
              <a:ext uri="{FF2B5EF4-FFF2-40B4-BE49-F238E27FC236}">
                <a16:creationId xmlns:a16="http://schemas.microsoft.com/office/drawing/2014/main" id="{BFAD6A32-60AD-4389-93CD-0B530B4C5702}"/>
              </a:ext>
            </a:extLst>
          </p:cNvPr>
          <p:cNvSpPr>
            <a:spLocks noEditPoints="1"/>
          </p:cNvSpPr>
          <p:nvPr/>
        </p:nvSpPr>
        <p:spPr bwMode="auto">
          <a:xfrm>
            <a:off x="6298671" y="4465350"/>
            <a:ext cx="276829" cy="255837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F7234A83-6C92-45C6-A571-EEE579CCF1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8938593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: Top Corners Rounded 93">
            <a:extLst>
              <a:ext uri="{FF2B5EF4-FFF2-40B4-BE49-F238E27FC236}">
                <a16:creationId xmlns:a16="http://schemas.microsoft.com/office/drawing/2014/main" id="{2AB454C7-522D-4A13-A296-393B5EC4FBDE}"/>
              </a:ext>
            </a:extLst>
          </p:cNvPr>
          <p:cNvSpPr/>
          <p:nvPr/>
        </p:nvSpPr>
        <p:spPr>
          <a:xfrm>
            <a:off x="677925" y="1874084"/>
            <a:ext cx="5144182" cy="1098442"/>
          </a:xfrm>
          <a:prstGeom prst="round2SameRect">
            <a:avLst>
              <a:gd name="adj1" fmla="val 11378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: Top Corners Rounded 94">
            <a:extLst>
              <a:ext uri="{FF2B5EF4-FFF2-40B4-BE49-F238E27FC236}">
                <a16:creationId xmlns:a16="http://schemas.microsoft.com/office/drawing/2014/main" id="{B711DB06-0E7A-42E5-924F-8B6A1D13CC39}"/>
              </a:ext>
            </a:extLst>
          </p:cNvPr>
          <p:cNvSpPr/>
          <p:nvPr/>
        </p:nvSpPr>
        <p:spPr>
          <a:xfrm>
            <a:off x="6353272" y="1866567"/>
            <a:ext cx="4963853" cy="1098442"/>
          </a:xfrm>
          <a:prstGeom prst="round2SameRect">
            <a:avLst>
              <a:gd name="adj1" fmla="val 11378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L COMPARISON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191EFAC1-C2CF-4FE5-A318-B845E7BD0E5D}"/>
              </a:ext>
            </a:extLst>
          </p:cNvPr>
          <p:cNvSpPr/>
          <p:nvPr/>
        </p:nvSpPr>
        <p:spPr>
          <a:xfrm>
            <a:off x="1030015" y="1624017"/>
            <a:ext cx="762000" cy="762000"/>
          </a:xfrm>
          <a:prstGeom prst="ellipse">
            <a:avLst/>
          </a:prstGeom>
          <a:solidFill>
            <a:srgbClr val="4EC9F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8E5C95E-950F-4199-B5AE-C287E925FFC6}"/>
              </a:ext>
            </a:extLst>
          </p:cNvPr>
          <p:cNvSpPr/>
          <p:nvPr/>
        </p:nvSpPr>
        <p:spPr>
          <a:xfrm>
            <a:off x="1030045" y="2399022"/>
            <a:ext cx="4538032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Century Gothic" panose="020B0502020202020204" pitchFamily="34" charset="0"/>
              </a:rPr>
              <a:t>Main goal is to find the overall relationship between Riders and different features.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9D79122-B845-43A0-9BAB-986E41000625}"/>
              </a:ext>
            </a:extLst>
          </p:cNvPr>
          <p:cNvSpPr/>
          <p:nvPr/>
        </p:nvSpPr>
        <p:spPr>
          <a:xfrm>
            <a:off x="1209091" y="2141226"/>
            <a:ext cx="424978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 dirty="0">
                <a:solidFill>
                  <a:schemeClr val="bg1"/>
                </a:solidFill>
                <a:latin typeface="Century Gothic" panose="020B0502020202020204" pitchFamily="34" charset="0"/>
              </a:rPr>
              <a:t>Overall Model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ACB70DD7-4426-4861-BD62-8E2DADB2A7DB}"/>
              </a:ext>
            </a:extLst>
          </p:cNvPr>
          <p:cNvSpPr/>
          <p:nvPr/>
        </p:nvSpPr>
        <p:spPr>
          <a:xfrm>
            <a:off x="10228244" y="1619377"/>
            <a:ext cx="762000" cy="762000"/>
          </a:xfrm>
          <a:prstGeom prst="ellipse">
            <a:avLst/>
          </a:prstGeom>
          <a:solidFill>
            <a:srgbClr val="4EC9F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47ADEEAA-05EC-474B-882D-B83DCDD314DA}"/>
              </a:ext>
            </a:extLst>
          </p:cNvPr>
          <p:cNvSpPr/>
          <p:nvPr/>
        </p:nvSpPr>
        <p:spPr>
          <a:xfrm>
            <a:off x="6365262" y="2419713"/>
            <a:ext cx="4986447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sz="1400">
                <a:solidFill>
                  <a:schemeClr val="bg1"/>
                </a:solidFill>
                <a:latin typeface="Century Gothic" panose="020B0502020202020204" pitchFamily="34" charset="0"/>
              </a:rPr>
              <a:t>Main goal is to find a more specific relationship between Riders and different features in any given season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B1C064FA-2142-4972-918A-0944C8244CEC}"/>
              </a:ext>
            </a:extLst>
          </p:cNvPr>
          <p:cNvSpPr/>
          <p:nvPr/>
        </p:nvSpPr>
        <p:spPr>
          <a:xfrm>
            <a:off x="6685966" y="2140707"/>
            <a:ext cx="4249789" cy="2769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ID" b="1">
                <a:solidFill>
                  <a:schemeClr val="bg1"/>
                </a:solidFill>
                <a:latin typeface="Century Gothic" panose="020B0502020202020204" pitchFamily="34" charset="0"/>
              </a:rPr>
              <a:t>Seasonal Model</a:t>
            </a:r>
          </a:p>
        </p:txBody>
      </p:sp>
      <p:grpSp>
        <p:nvGrpSpPr>
          <p:cNvPr id="505" name="Group 504">
            <a:extLst>
              <a:ext uri="{FF2B5EF4-FFF2-40B4-BE49-F238E27FC236}">
                <a16:creationId xmlns:a16="http://schemas.microsoft.com/office/drawing/2014/main" id="{EB6E2A75-6965-4A3B-ACC3-AFF294D2FBB1}"/>
              </a:ext>
            </a:extLst>
          </p:cNvPr>
          <p:cNvGrpSpPr/>
          <p:nvPr/>
        </p:nvGrpSpPr>
        <p:grpSpPr>
          <a:xfrm>
            <a:off x="678584" y="3314596"/>
            <a:ext cx="4798038" cy="750888"/>
            <a:chOff x="1704126" y="1814155"/>
            <a:chExt cx="4798038" cy="750888"/>
          </a:xfrm>
        </p:grpSpPr>
        <p:sp>
          <p:nvSpPr>
            <p:cNvPr id="507" name="Rectangle: Top Corners Rounded 506">
              <a:extLst>
                <a:ext uri="{FF2B5EF4-FFF2-40B4-BE49-F238E27FC236}">
                  <a16:creationId xmlns:a16="http://schemas.microsoft.com/office/drawing/2014/main" id="{68C025F9-EC3F-4BE6-BFAD-0953C1621572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3B3E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8" name="Rectangle 507">
              <a:extLst>
                <a:ext uri="{FF2B5EF4-FFF2-40B4-BE49-F238E27FC236}">
                  <a16:creationId xmlns:a16="http://schemas.microsoft.com/office/drawing/2014/main" id="{9C01F566-4460-4257-A020-8539BFAFE2C1}"/>
                </a:ext>
              </a:extLst>
            </p:cNvPr>
            <p:cNvSpPr/>
            <p:nvPr/>
          </p:nvSpPr>
          <p:spPr>
            <a:xfrm>
              <a:off x="1966411" y="2012140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Better result on combination of weather, humidity, temperature, month, weekday and hours</a:t>
              </a:r>
              <a:endParaRPr lang="en-ID" sz="11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06" name="Oval 505">
              <a:extLst>
                <a:ext uri="{FF2B5EF4-FFF2-40B4-BE49-F238E27FC236}">
                  <a16:creationId xmlns:a16="http://schemas.microsoft.com/office/drawing/2014/main" id="{A8C9E384-82F1-4AD8-92C7-E2A2469D98F4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FB0DF"/>
            </a:solidFill>
            <a:ln w="28575">
              <a:solidFill>
                <a:srgbClr val="3B3E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1" name="Group 520">
            <a:extLst>
              <a:ext uri="{FF2B5EF4-FFF2-40B4-BE49-F238E27FC236}">
                <a16:creationId xmlns:a16="http://schemas.microsoft.com/office/drawing/2014/main" id="{0D56C7AC-A098-4203-81FF-170210012541}"/>
              </a:ext>
            </a:extLst>
          </p:cNvPr>
          <p:cNvGrpSpPr/>
          <p:nvPr/>
        </p:nvGrpSpPr>
        <p:grpSpPr>
          <a:xfrm>
            <a:off x="690757" y="4213694"/>
            <a:ext cx="4798038" cy="750888"/>
            <a:chOff x="1704126" y="1814155"/>
            <a:chExt cx="4798038" cy="750888"/>
          </a:xfrm>
        </p:grpSpPr>
        <p:sp>
          <p:nvSpPr>
            <p:cNvPr id="522" name="Rectangle: Top Corners Rounded 521">
              <a:extLst>
                <a:ext uri="{FF2B5EF4-FFF2-40B4-BE49-F238E27FC236}">
                  <a16:creationId xmlns:a16="http://schemas.microsoft.com/office/drawing/2014/main" id="{BEB66D25-D6CD-449C-8D2B-6AB49ADB0BC9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3" name="Rectangle 522">
              <a:extLst>
                <a:ext uri="{FF2B5EF4-FFF2-40B4-BE49-F238E27FC236}">
                  <a16:creationId xmlns:a16="http://schemas.microsoft.com/office/drawing/2014/main" id="{2A5025BE-743A-460B-9B53-0ED6E315118B}"/>
                </a:ext>
              </a:extLst>
            </p:cNvPr>
            <p:cNvSpPr/>
            <p:nvPr/>
          </p:nvSpPr>
          <p:spPr>
            <a:xfrm>
              <a:off x="1966411" y="2042918"/>
              <a:ext cx="3591036" cy="2769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Lower R^2 on weather, temperature and humidity only</a:t>
              </a:r>
              <a:endParaRPr lang="en-ID" sz="11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24" name="Oval 523">
              <a:extLst>
                <a:ext uri="{FF2B5EF4-FFF2-40B4-BE49-F238E27FC236}">
                  <a16:creationId xmlns:a16="http://schemas.microsoft.com/office/drawing/2014/main" id="{AD9E1F3C-0452-4877-9AAA-FFD437D16042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EE6F8"/>
            </a:solidFill>
            <a:ln w="28575">
              <a:solidFill>
                <a:srgbClr val="4EC9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77208A82-61C3-4926-AC40-4E14F827E31D}"/>
              </a:ext>
            </a:extLst>
          </p:cNvPr>
          <p:cNvGrpSpPr/>
          <p:nvPr/>
        </p:nvGrpSpPr>
        <p:grpSpPr>
          <a:xfrm>
            <a:off x="6417403" y="3318198"/>
            <a:ext cx="4798038" cy="750888"/>
            <a:chOff x="1704126" y="1814155"/>
            <a:chExt cx="4798038" cy="750888"/>
          </a:xfrm>
        </p:grpSpPr>
        <p:sp>
          <p:nvSpPr>
            <p:cNvPr id="530" name="Rectangle: Top Corners Rounded 529">
              <a:extLst>
                <a:ext uri="{FF2B5EF4-FFF2-40B4-BE49-F238E27FC236}">
                  <a16:creationId xmlns:a16="http://schemas.microsoft.com/office/drawing/2014/main" id="{FC612B7F-A603-4187-AB8C-1DB9C9DF47B8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3B3E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Rectangle 530">
              <a:extLst>
                <a:ext uri="{FF2B5EF4-FFF2-40B4-BE49-F238E27FC236}">
                  <a16:creationId xmlns:a16="http://schemas.microsoft.com/office/drawing/2014/main" id="{FCB5082F-9F74-4030-8DF8-84EB6477465C}"/>
                </a:ext>
              </a:extLst>
            </p:cNvPr>
            <p:cNvSpPr/>
            <p:nvPr/>
          </p:nvSpPr>
          <p:spPr>
            <a:xfrm>
              <a:off x="1966411" y="2012141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Winter model performs significantly better than the other seasonal models</a:t>
              </a:r>
            </a:p>
          </p:txBody>
        </p:sp>
        <p:sp>
          <p:nvSpPr>
            <p:cNvPr id="532" name="Oval 531">
              <a:extLst>
                <a:ext uri="{FF2B5EF4-FFF2-40B4-BE49-F238E27FC236}">
                  <a16:creationId xmlns:a16="http://schemas.microsoft.com/office/drawing/2014/main" id="{875DED31-9CC5-4F69-A09F-36856FF77254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FB0DF"/>
            </a:solidFill>
            <a:ln w="28575">
              <a:solidFill>
                <a:srgbClr val="3B3E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3" name="Group 532">
            <a:extLst>
              <a:ext uri="{FF2B5EF4-FFF2-40B4-BE49-F238E27FC236}">
                <a16:creationId xmlns:a16="http://schemas.microsoft.com/office/drawing/2014/main" id="{13DBA5E7-79B7-4164-B2C7-227BB1408725}"/>
              </a:ext>
            </a:extLst>
          </p:cNvPr>
          <p:cNvGrpSpPr/>
          <p:nvPr/>
        </p:nvGrpSpPr>
        <p:grpSpPr>
          <a:xfrm>
            <a:off x="6365026" y="4207661"/>
            <a:ext cx="4859166" cy="750888"/>
            <a:chOff x="1642998" y="1814155"/>
            <a:chExt cx="4859166" cy="750888"/>
          </a:xfrm>
        </p:grpSpPr>
        <p:sp>
          <p:nvSpPr>
            <p:cNvPr id="534" name="Rectangle: Top Corners Rounded 533">
              <a:extLst>
                <a:ext uri="{FF2B5EF4-FFF2-40B4-BE49-F238E27FC236}">
                  <a16:creationId xmlns:a16="http://schemas.microsoft.com/office/drawing/2014/main" id="{5D665715-4405-46DA-8D26-92F61673D27A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5" name="Rectangle 534">
              <a:extLst>
                <a:ext uri="{FF2B5EF4-FFF2-40B4-BE49-F238E27FC236}">
                  <a16:creationId xmlns:a16="http://schemas.microsoft.com/office/drawing/2014/main" id="{423A5BFD-3005-44AC-B605-A3B3A6BD6326}"/>
                </a:ext>
              </a:extLst>
            </p:cNvPr>
            <p:cNvSpPr/>
            <p:nvPr/>
          </p:nvSpPr>
          <p:spPr>
            <a:xfrm>
              <a:off x="1642998" y="1998183"/>
              <a:ext cx="4023744" cy="3473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Best model type remains alike across different seasons</a:t>
              </a:r>
              <a:endParaRPr lang="en-ID" sz="11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36" name="Oval 535">
              <a:extLst>
                <a:ext uri="{FF2B5EF4-FFF2-40B4-BE49-F238E27FC236}">
                  <a16:creationId xmlns:a16="http://schemas.microsoft.com/office/drawing/2014/main" id="{E3C07580-7EDB-4FD3-AC6C-7521EAC6A680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EE6F8"/>
            </a:solidFill>
            <a:ln w="28575">
              <a:solidFill>
                <a:srgbClr val="4EC9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7" name="Group 536">
            <a:extLst>
              <a:ext uri="{FF2B5EF4-FFF2-40B4-BE49-F238E27FC236}">
                <a16:creationId xmlns:a16="http://schemas.microsoft.com/office/drawing/2014/main" id="{18B1DB35-6B3E-4A9F-900C-B4282BC06F17}"/>
              </a:ext>
            </a:extLst>
          </p:cNvPr>
          <p:cNvGrpSpPr/>
          <p:nvPr/>
        </p:nvGrpSpPr>
        <p:grpSpPr>
          <a:xfrm>
            <a:off x="6426154" y="5084202"/>
            <a:ext cx="4798038" cy="750888"/>
            <a:chOff x="1704126" y="1814155"/>
            <a:chExt cx="4798038" cy="750888"/>
          </a:xfrm>
        </p:grpSpPr>
        <p:sp>
          <p:nvSpPr>
            <p:cNvPr id="538" name="Rectangle: Top Corners Rounded 537">
              <a:extLst>
                <a:ext uri="{FF2B5EF4-FFF2-40B4-BE49-F238E27FC236}">
                  <a16:creationId xmlns:a16="http://schemas.microsoft.com/office/drawing/2014/main" id="{55B52450-2F6C-447F-B528-F94F881F7F2F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9" name="Rectangle 538">
              <a:extLst>
                <a:ext uri="{FF2B5EF4-FFF2-40B4-BE49-F238E27FC236}">
                  <a16:creationId xmlns:a16="http://schemas.microsoft.com/office/drawing/2014/main" id="{9326DF5B-6C02-42E3-82C0-6A30DA22E31D}"/>
                </a:ext>
              </a:extLst>
            </p:cNvPr>
            <p:cNvSpPr/>
            <p:nvPr/>
          </p:nvSpPr>
          <p:spPr>
            <a:xfrm>
              <a:off x="1966411" y="2012141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Features importance for the winter model differs from feature importance for the other seasonal models</a:t>
              </a:r>
              <a:endParaRPr lang="en-ID" sz="11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40" name="Oval 539">
              <a:extLst>
                <a:ext uri="{FF2B5EF4-FFF2-40B4-BE49-F238E27FC236}">
                  <a16:creationId xmlns:a16="http://schemas.microsoft.com/office/drawing/2014/main" id="{48D29FBB-95DE-4F3A-869B-285744F20C75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F8ACA2"/>
            </a:solidFill>
            <a:ln w="28575">
              <a:solidFill>
                <a:srgbClr val="F160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010FB06F-1E67-434D-B901-2EE7EEA7E2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5603" y="974538"/>
            <a:ext cx="2099855" cy="415519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/>
        </p:spPr>
      </p:pic>
      <p:pic>
        <p:nvPicPr>
          <p:cNvPr id="8" name="Graphic 7" descr="Daily calendar">
            <a:extLst>
              <a:ext uri="{FF2B5EF4-FFF2-40B4-BE49-F238E27FC236}">
                <a16:creationId xmlns:a16="http://schemas.microsoft.com/office/drawing/2014/main" id="{0C023897-B672-408F-B710-B8491F8B9A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4852" y="1724467"/>
            <a:ext cx="552326" cy="552326"/>
          </a:xfrm>
          <a:prstGeom prst="rect">
            <a:avLst/>
          </a:prstGeom>
        </p:spPr>
      </p:pic>
      <p:pic>
        <p:nvPicPr>
          <p:cNvPr id="12" name="Graphic 11" descr="Puzzle pieces">
            <a:extLst>
              <a:ext uri="{FF2B5EF4-FFF2-40B4-BE49-F238E27FC236}">
                <a16:creationId xmlns:a16="http://schemas.microsoft.com/office/drawing/2014/main" id="{299393C2-C103-4812-AF49-4878AC6AA1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4190" y="3345083"/>
            <a:ext cx="674569" cy="674569"/>
          </a:xfrm>
          <a:prstGeom prst="rect">
            <a:avLst/>
          </a:prstGeom>
        </p:spPr>
      </p:pic>
      <p:pic>
        <p:nvPicPr>
          <p:cNvPr id="14" name="Graphic 13" descr="Puzzle">
            <a:extLst>
              <a:ext uri="{FF2B5EF4-FFF2-40B4-BE49-F238E27FC236}">
                <a16:creationId xmlns:a16="http://schemas.microsoft.com/office/drawing/2014/main" id="{E560B02B-BC35-44ED-9651-361F4C4481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81597" y="4368744"/>
            <a:ext cx="495339" cy="495339"/>
          </a:xfrm>
          <a:prstGeom prst="rect">
            <a:avLst/>
          </a:prstGeom>
        </p:spPr>
      </p:pic>
      <p:pic>
        <p:nvPicPr>
          <p:cNvPr id="468" name="Graphic 467" descr="Snowflake">
            <a:extLst>
              <a:ext uri="{FF2B5EF4-FFF2-40B4-BE49-F238E27FC236}">
                <a16:creationId xmlns:a16="http://schemas.microsoft.com/office/drawing/2014/main" id="{30D8BD16-B617-4A1C-99B6-40D2763E58E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89500" y="1906952"/>
            <a:ext cx="463917" cy="463917"/>
          </a:xfrm>
          <a:prstGeom prst="rect">
            <a:avLst/>
          </a:prstGeom>
        </p:spPr>
      </p:pic>
      <p:pic>
        <p:nvPicPr>
          <p:cNvPr id="16" name="Graphic 15" descr="Sun">
            <a:extLst>
              <a:ext uri="{FF2B5EF4-FFF2-40B4-BE49-F238E27FC236}">
                <a16:creationId xmlns:a16="http://schemas.microsoft.com/office/drawing/2014/main" id="{689BCBE2-21C1-4564-815B-2913556FB81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359783" y="1670307"/>
            <a:ext cx="361676" cy="361676"/>
          </a:xfrm>
          <a:prstGeom prst="rect">
            <a:avLst/>
          </a:prstGeom>
        </p:spPr>
      </p:pic>
      <p:pic>
        <p:nvPicPr>
          <p:cNvPr id="18" name="Graphic 17" descr="Snowman">
            <a:extLst>
              <a:ext uri="{FF2B5EF4-FFF2-40B4-BE49-F238E27FC236}">
                <a16:creationId xmlns:a16="http://schemas.microsoft.com/office/drawing/2014/main" id="{45ED8C1F-0435-4108-8E21-A1E73252826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11096" y="3352598"/>
            <a:ext cx="677816" cy="677816"/>
          </a:xfrm>
          <a:prstGeom prst="rect">
            <a:avLst/>
          </a:prstGeom>
        </p:spPr>
      </p:pic>
      <p:pic>
        <p:nvPicPr>
          <p:cNvPr id="20" name="Graphic 19" descr="Research">
            <a:extLst>
              <a:ext uri="{FF2B5EF4-FFF2-40B4-BE49-F238E27FC236}">
                <a16:creationId xmlns:a16="http://schemas.microsoft.com/office/drawing/2014/main" id="{F4C007F0-58D2-4F3E-A185-5031B84F67E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538302" y="5144391"/>
            <a:ext cx="617368" cy="617368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AFAE4FB8-53CE-4437-B76B-90441DFC0589}"/>
              </a:ext>
            </a:extLst>
          </p:cNvPr>
          <p:cNvGrpSpPr/>
          <p:nvPr/>
        </p:nvGrpSpPr>
        <p:grpSpPr>
          <a:xfrm>
            <a:off x="10607846" y="4340953"/>
            <a:ext cx="468492" cy="450236"/>
            <a:chOff x="5772150" y="3105150"/>
            <a:chExt cx="647700" cy="647700"/>
          </a:xfrm>
          <a:solidFill>
            <a:schemeClr val="bg1"/>
          </a:solidFill>
        </p:grpSpPr>
        <p:grpSp>
          <p:nvGrpSpPr>
            <p:cNvPr id="23" name="Graphic 21" descr="Bar chart RTL">
              <a:extLst>
                <a:ext uri="{FF2B5EF4-FFF2-40B4-BE49-F238E27FC236}">
                  <a16:creationId xmlns:a16="http://schemas.microsoft.com/office/drawing/2014/main" id="{BB5487BA-1766-4CA6-8EC7-E8F02ABC4F48}"/>
                </a:ext>
              </a:extLst>
            </p:cNvPr>
            <p:cNvGrpSpPr/>
            <p:nvPr/>
          </p:nvGrpSpPr>
          <p:grpSpPr>
            <a:xfrm>
              <a:off x="5772150" y="3105150"/>
              <a:ext cx="647700" cy="647700"/>
              <a:chOff x="5772150" y="3105150"/>
              <a:chExt cx="647700" cy="647700"/>
            </a:xfrm>
            <a:grpFill/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1180DBED-2C64-47FC-932C-16058FED1D1C}"/>
                  </a:ext>
                </a:extLst>
              </p:cNvPr>
              <p:cNvSpPr/>
              <p:nvPr/>
            </p:nvSpPr>
            <p:spPr>
              <a:xfrm>
                <a:off x="5772150" y="3105150"/>
                <a:ext cx="647700" cy="647700"/>
              </a:xfrm>
              <a:custGeom>
                <a:avLst/>
                <a:gdLst>
                  <a:gd name="connsiteX0" fmla="*/ 590550 w 647700"/>
                  <a:gd name="connsiteY0" fmla="*/ 0 h 647700"/>
                  <a:gd name="connsiteX1" fmla="*/ 647700 w 647700"/>
                  <a:gd name="connsiteY1" fmla="*/ 0 h 647700"/>
                  <a:gd name="connsiteX2" fmla="*/ 647700 w 647700"/>
                  <a:gd name="connsiteY2" fmla="*/ 647700 h 647700"/>
                  <a:gd name="connsiteX3" fmla="*/ 0 w 647700"/>
                  <a:gd name="connsiteY3" fmla="*/ 647700 h 647700"/>
                  <a:gd name="connsiteX4" fmla="*/ 0 w 647700"/>
                  <a:gd name="connsiteY4" fmla="*/ 590550 h 647700"/>
                  <a:gd name="connsiteX5" fmla="*/ 590550 w 647700"/>
                  <a:gd name="connsiteY5" fmla="*/ 590550 h 647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7700" h="647700">
                    <a:moveTo>
                      <a:pt x="590550" y="0"/>
                    </a:moveTo>
                    <a:lnTo>
                      <a:pt x="647700" y="0"/>
                    </a:lnTo>
                    <a:lnTo>
                      <a:pt x="647700" y="647700"/>
                    </a:lnTo>
                    <a:lnTo>
                      <a:pt x="0" y="647700"/>
                    </a:lnTo>
                    <a:lnTo>
                      <a:pt x="0" y="590550"/>
                    </a:lnTo>
                    <a:lnTo>
                      <a:pt x="590550" y="5905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91BB885F-844A-42EC-9822-3D701BC3CE18}"/>
                  </a:ext>
                </a:extLst>
              </p:cNvPr>
              <p:cNvSpPr/>
              <p:nvPr/>
            </p:nvSpPr>
            <p:spPr>
              <a:xfrm>
                <a:off x="6200775" y="3336099"/>
                <a:ext cx="104775" cy="302451"/>
              </a:xfrm>
              <a:custGeom>
                <a:avLst/>
                <a:gdLst>
                  <a:gd name="connsiteX0" fmla="*/ 0 w 104775"/>
                  <a:gd name="connsiteY0" fmla="*/ 0 h 333375"/>
                  <a:gd name="connsiteX1" fmla="*/ 104775 w 104775"/>
                  <a:gd name="connsiteY1" fmla="*/ 0 h 333375"/>
                  <a:gd name="connsiteX2" fmla="*/ 104775 w 104775"/>
                  <a:gd name="connsiteY2" fmla="*/ 333375 h 333375"/>
                  <a:gd name="connsiteX3" fmla="*/ 0 w 104775"/>
                  <a:gd name="connsiteY3" fmla="*/ 333375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333375">
                    <a:moveTo>
                      <a:pt x="0" y="0"/>
                    </a:moveTo>
                    <a:lnTo>
                      <a:pt x="104775" y="0"/>
                    </a:lnTo>
                    <a:lnTo>
                      <a:pt x="104775" y="333375"/>
                    </a:lnTo>
                    <a:lnTo>
                      <a:pt x="0" y="3333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5ECE402C-5AEB-45C1-B815-680AAFC81FD9}"/>
                  </a:ext>
                </a:extLst>
              </p:cNvPr>
              <p:cNvSpPr/>
              <p:nvPr/>
            </p:nvSpPr>
            <p:spPr>
              <a:xfrm>
                <a:off x="6057900" y="3357099"/>
                <a:ext cx="104775" cy="281450"/>
              </a:xfrm>
              <a:custGeom>
                <a:avLst/>
                <a:gdLst>
                  <a:gd name="connsiteX0" fmla="*/ 0 w 104775"/>
                  <a:gd name="connsiteY0" fmla="*/ 0 h 533400"/>
                  <a:gd name="connsiteX1" fmla="*/ 104775 w 104775"/>
                  <a:gd name="connsiteY1" fmla="*/ 0 h 533400"/>
                  <a:gd name="connsiteX2" fmla="*/ 104775 w 104775"/>
                  <a:gd name="connsiteY2" fmla="*/ 533400 h 533400"/>
                  <a:gd name="connsiteX3" fmla="*/ 0 w 104775"/>
                  <a:gd name="connsiteY3" fmla="*/ 53340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533400">
                    <a:moveTo>
                      <a:pt x="0" y="0"/>
                    </a:moveTo>
                    <a:lnTo>
                      <a:pt x="104775" y="0"/>
                    </a:lnTo>
                    <a:lnTo>
                      <a:pt x="104775" y="533400"/>
                    </a:lnTo>
                    <a:lnTo>
                      <a:pt x="0" y="53340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379F1F3-AF59-4C1F-B920-D9235B15E397}"/>
                  </a:ext>
                </a:extLst>
              </p:cNvPr>
              <p:cNvSpPr/>
              <p:nvPr/>
            </p:nvSpPr>
            <p:spPr>
              <a:xfrm>
                <a:off x="5915025" y="3305175"/>
                <a:ext cx="104775" cy="333375"/>
              </a:xfrm>
              <a:custGeom>
                <a:avLst/>
                <a:gdLst>
                  <a:gd name="connsiteX0" fmla="*/ 0 w 104775"/>
                  <a:gd name="connsiteY0" fmla="*/ 0 h 333375"/>
                  <a:gd name="connsiteX1" fmla="*/ 104775 w 104775"/>
                  <a:gd name="connsiteY1" fmla="*/ 0 h 333375"/>
                  <a:gd name="connsiteX2" fmla="*/ 104775 w 104775"/>
                  <a:gd name="connsiteY2" fmla="*/ 333375 h 333375"/>
                  <a:gd name="connsiteX3" fmla="*/ 0 w 104775"/>
                  <a:gd name="connsiteY3" fmla="*/ 333375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333375">
                    <a:moveTo>
                      <a:pt x="0" y="0"/>
                    </a:moveTo>
                    <a:lnTo>
                      <a:pt x="104775" y="0"/>
                    </a:lnTo>
                    <a:lnTo>
                      <a:pt x="104775" y="333375"/>
                    </a:lnTo>
                    <a:lnTo>
                      <a:pt x="0" y="3333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A4A77BE-AEC9-4F27-8832-A3060A7A61AF}"/>
                  </a:ext>
                </a:extLst>
              </p:cNvPr>
              <p:cNvSpPr/>
              <p:nvPr/>
            </p:nvSpPr>
            <p:spPr>
              <a:xfrm>
                <a:off x="5772150" y="3336099"/>
                <a:ext cx="104775" cy="302451"/>
              </a:xfrm>
              <a:custGeom>
                <a:avLst/>
                <a:gdLst>
                  <a:gd name="connsiteX0" fmla="*/ 0 w 104775"/>
                  <a:gd name="connsiteY0" fmla="*/ 0 h 171450"/>
                  <a:gd name="connsiteX1" fmla="*/ 104775 w 104775"/>
                  <a:gd name="connsiteY1" fmla="*/ 0 h 171450"/>
                  <a:gd name="connsiteX2" fmla="*/ 104775 w 104775"/>
                  <a:gd name="connsiteY2" fmla="*/ 171450 h 171450"/>
                  <a:gd name="connsiteX3" fmla="*/ 0 w 104775"/>
                  <a:gd name="connsiteY3" fmla="*/ 17145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171450">
                    <a:moveTo>
                      <a:pt x="0" y="0"/>
                    </a:moveTo>
                    <a:lnTo>
                      <a:pt x="104775" y="0"/>
                    </a:lnTo>
                    <a:lnTo>
                      <a:pt x="104775" y="171450"/>
                    </a:lnTo>
                    <a:lnTo>
                      <a:pt x="0" y="17145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8CE2E640-0181-4415-941B-1BD21E0FFA31}"/>
                </a:ext>
              </a:extLst>
            </p:cNvPr>
            <p:cNvSpPr/>
            <p:nvPr/>
          </p:nvSpPr>
          <p:spPr>
            <a:xfrm>
              <a:off x="5809689" y="3153741"/>
              <a:ext cx="476654" cy="120821"/>
            </a:xfrm>
            <a:prstGeom prst="rightArrow">
              <a:avLst>
                <a:gd name="adj1" fmla="val 45462"/>
                <a:gd name="adj2" fmla="val 102169"/>
              </a:avLst>
            </a:prstGeom>
            <a:grpFill/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69" name="Group 468">
            <a:extLst>
              <a:ext uri="{FF2B5EF4-FFF2-40B4-BE49-F238E27FC236}">
                <a16:creationId xmlns:a16="http://schemas.microsoft.com/office/drawing/2014/main" id="{8798D424-4179-442D-889B-411BCE34215B}"/>
              </a:ext>
            </a:extLst>
          </p:cNvPr>
          <p:cNvGrpSpPr/>
          <p:nvPr/>
        </p:nvGrpSpPr>
        <p:grpSpPr>
          <a:xfrm>
            <a:off x="684140" y="5097685"/>
            <a:ext cx="4798038" cy="750888"/>
            <a:chOff x="1704126" y="1814155"/>
            <a:chExt cx="4798038" cy="750888"/>
          </a:xfrm>
        </p:grpSpPr>
        <p:sp>
          <p:nvSpPr>
            <p:cNvPr id="471" name="Rectangle: Top Corners Rounded 470">
              <a:extLst>
                <a:ext uri="{FF2B5EF4-FFF2-40B4-BE49-F238E27FC236}">
                  <a16:creationId xmlns:a16="http://schemas.microsoft.com/office/drawing/2014/main" id="{9C105536-F37B-44FA-983F-BFD712174CA4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2" name="Rectangle 471">
              <a:extLst>
                <a:ext uri="{FF2B5EF4-FFF2-40B4-BE49-F238E27FC236}">
                  <a16:creationId xmlns:a16="http://schemas.microsoft.com/office/drawing/2014/main" id="{0CF9393B-A3EF-42FD-B73E-031315CCBCF2}"/>
                </a:ext>
              </a:extLst>
            </p:cNvPr>
            <p:cNvSpPr/>
            <p:nvPr/>
          </p:nvSpPr>
          <p:spPr>
            <a:xfrm>
              <a:off x="1966411" y="2089085"/>
              <a:ext cx="3591036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2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Best model in overall review was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LightGBM</a:t>
              </a:r>
              <a:endParaRPr lang="en-ID" sz="12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73" name="Oval 472">
              <a:extLst>
                <a:ext uri="{FF2B5EF4-FFF2-40B4-BE49-F238E27FC236}">
                  <a16:creationId xmlns:a16="http://schemas.microsoft.com/office/drawing/2014/main" id="{38312418-93D4-4642-AB01-4E6577AF8097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F8ACA2"/>
            </a:solidFill>
            <a:ln w="28575">
              <a:solidFill>
                <a:srgbClr val="F160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74" name="Graphic 473" descr="Research">
            <a:extLst>
              <a:ext uri="{FF2B5EF4-FFF2-40B4-BE49-F238E27FC236}">
                <a16:creationId xmlns:a16="http://schemas.microsoft.com/office/drawing/2014/main" id="{E877CEF3-65DD-4CC2-A8E3-CC6C0DA1AFF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816094" y="5137777"/>
            <a:ext cx="617368" cy="617368"/>
          </a:xfrm>
          <a:prstGeom prst="rect">
            <a:avLst/>
          </a:prstGeom>
        </p:spPr>
      </p:pic>
      <p:pic>
        <p:nvPicPr>
          <p:cNvPr id="475" name="Picture 474">
            <a:extLst>
              <a:ext uri="{FF2B5EF4-FFF2-40B4-BE49-F238E27FC236}">
                <a16:creationId xmlns:a16="http://schemas.microsoft.com/office/drawing/2014/main" id="{3EB39138-3CDB-4511-BA8C-CB7F2B11F9FC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l="9598" t="6873" r="12789" b="8263"/>
          <a:stretch/>
        </p:blipFill>
        <p:spPr>
          <a:xfrm>
            <a:off x="11760422" y="0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257602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05A58F26-C1FD-4889-A078-ED9764B48E0E}"/>
              </a:ext>
            </a:extLst>
          </p:cNvPr>
          <p:cNvGrpSpPr/>
          <p:nvPr/>
        </p:nvGrpSpPr>
        <p:grpSpPr>
          <a:xfrm flipH="1">
            <a:off x="1355926" y="3521528"/>
            <a:ext cx="4740074" cy="488952"/>
            <a:chOff x="1704126" y="1941415"/>
            <a:chExt cx="4730272" cy="488952"/>
          </a:xfrm>
        </p:grpSpPr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D6D27272-97D0-42E2-8404-407BF7531D4E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9EF6836-27EE-4EAF-974C-10D99D2C83D6}"/>
                </a:ext>
              </a:extLst>
            </p:cNvPr>
            <p:cNvSpPr/>
            <p:nvPr/>
          </p:nvSpPr>
          <p:spPr>
            <a:xfrm>
              <a:off x="1966411" y="2096779"/>
              <a:ext cx="3591036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Applied to Overall Model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E9CEB8-4F68-4B7C-9F66-DFFBD9321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4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EBAC69-6ACB-4F98-AC4C-C5EA67875F8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371"/>
          <a:stretch/>
        </p:blipFill>
        <p:spPr>
          <a:xfrm>
            <a:off x="1355926" y="1554999"/>
            <a:ext cx="4142844" cy="1823748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70C2C76-5B2D-43D6-88F9-40173350A9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6" r="13570"/>
          <a:stretch/>
        </p:blipFill>
        <p:spPr>
          <a:xfrm>
            <a:off x="5593080" y="1554999"/>
            <a:ext cx="5455920" cy="4677064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331052D-E001-4C85-BD35-C00D3C962C60}"/>
              </a:ext>
            </a:extLst>
          </p:cNvPr>
          <p:cNvSpPr txBox="1">
            <a:spLocks/>
          </p:cNvSpPr>
          <p:nvPr/>
        </p:nvSpPr>
        <p:spPr>
          <a:xfrm>
            <a:off x="566057" y="365126"/>
            <a:ext cx="11059886" cy="810532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Dropping Less Significant Variab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9FBC71-F059-49F8-B637-96A14A79187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598" t="6873" r="12789" b="8263"/>
          <a:stretch/>
        </p:blipFill>
        <p:spPr>
          <a:xfrm>
            <a:off x="11760422" y="0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7441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16BD2A8-E23C-4C19-9F23-92C817C99E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171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16BD2A8-E23C-4C19-9F23-92C817C99E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0D13BE-CC5B-40DF-BC97-22D9E5CA7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Overall Model – Creation Ph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F9F7C6-9081-481D-B918-796E2F2FE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5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74D5E3-6EFD-462C-9357-917A3D5508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7424" y="5989635"/>
            <a:ext cx="10052080" cy="4934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2605E5B-AB97-417F-8B88-B751E5FE60B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A2CC037D-915A-4D66-A7F1-EAAFD90EBE16}"/>
              </a:ext>
            </a:extLst>
          </p:cNvPr>
          <p:cNvSpPr/>
          <p:nvPr/>
        </p:nvSpPr>
        <p:spPr>
          <a:xfrm>
            <a:off x="3577174" y="1711337"/>
            <a:ext cx="4852579" cy="810532"/>
          </a:xfrm>
          <a:prstGeom prst="round2SameRect">
            <a:avLst>
              <a:gd name="adj1" fmla="val 11378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1EEAAF-4B7F-4641-A11B-0C22A54DD15B}"/>
              </a:ext>
            </a:extLst>
          </p:cNvPr>
          <p:cNvSpPr/>
          <p:nvPr/>
        </p:nvSpPr>
        <p:spPr>
          <a:xfrm>
            <a:off x="3833698" y="1846951"/>
            <a:ext cx="4350218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After running Several models, 3 models were found with better accuracy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7350C20-444F-49DB-8649-357301A51AA7}"/>
              </a:ext>
            </a:extLst>
          </p:cNvPr>
          <p:cNvGrpSpPr/>
          <p:nvPr/>
        </p:nvGrpSpPr>
        <p:grpSpPr>
          <a:xfrm>
            <a:off x="4141401" y="3690822"/>
            <a:ext cx="4255001" cy="750888"/>
            <a:chOff x="2247163" y="1814155"/>
            <a:chExt cx="4255001" cy="750888"/>
          </a:xfrm>
        </p:grpSpPr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4D899078-2BE3-46F5-B76A-B52B95AB4BEA}"/>
                </a:ext>
              </a:extLst>
            </p:cNvPr>
            <p:cNvSpPr/>
            <p:nvPr/>
          </p:nvSpPr>
          <p:spPr>
            <a:xfrm rot="5400000">
              <a:off x="4096305" y="92273"/>
              <a:ext cx="488952" cy="418723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9F85E13-1122-499A-B227-6E7708D1D4C2}"/>
                </a:ext>
              </a:extLst>
            </p:cNvPr>
            <p:cNvSpPr/>
            <p:nvPr/>
          </p:nvSpPr>
          <p:spPr>
            <a:xfrm>
              <a:off x="2537363" y="2042918"/>
              <a:ext cx="3020084" cy="2853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XGBOOST</a:t>
              </a:r>
              <a:endParaRPr lang="en-ID" sz="2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3B33703-4D9B-434A-B994-628ADE50D023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EE6F8"/>
            </a:solidFill>
            <a:ln w="28575">
              <a:solidFill>
                <a:srgbClr val="4EC9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6ABFCA3-38B1-4976-B7CE-551938DDBE6A}"/>
              </a:ext>
            </a:extLst>
          </p:cNvPr>
          <p:cNvGrpSpPr/>
          <p:nvPr/>
        </p:nvGrpSpPr>
        <p:grpSpPr>
          <a:xfrm>
            <a:off x="4795585" y="4568970"/>
            <a:ext cx="3634168" cy="750888"/>
            <a:chOff x="2867996" y="1814155"/>
            <a:chExt cx="3634168" cy="750888"/>
          </a:xfrm>
        </p:grpSpPr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id="{F98446F4-2530-4693-B4B6-CBC06E189F13}"/>
                </a:ext>
              </a:extLst>
            </p:cNvPr>
            <p:cNvSpPr/>
            <p:nvPr/>
          </p:nvSpPr>
          <p:spPr>
            <a:xfrm rot="5400000">
              <a:off x="4406721" y="402690"/>
              <a:ext cx="488952" cy="356640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3FCCDAB-607D-40AE-B62D-FE921D2B1BCF}"/>
                </a:ext>
              </a:extLst>
            </p:cNvPr>
            <p:cNvSpPr/>
            <p:nvPr/>
          </p:nvSpPr>
          <p:spPr>
            <a:xfrm>
              <a:off x="3391779" y="1935197"/>
              <a:ext cx="2165668" cy="4924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Random Forest Regressor</a:t>
              </a:r>
              <a:endParaRPr lang="en-ID" sz="16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133875F-69FC-4386-9F72-C1FE2A285E57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F8ACA2"/>
            </a:solidFill>
            <a:ln w="28575">
              <a:solidFill>
                <a:srgbClr val="F160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4" name="Graphic 33" descr="Ribbon">
            <a:extLst>
              <a:ext uri="{FF2B5EF4-FFF2-40B4-BE49-F238E27FC236}">
                <a16:creationId xmlns:a16="http://schemas.microsoft.com/office/drawing/2014/main" id="{8E591584-DFE2-4592-8A2A-F22F0668F8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36432" y="3787565"/>
            <a:ext cx="586807" cy="586807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7B864C6-2E47-4F6E-A49F-9576D47E9873}"/>
              </a:ext>
            </a:extLst>
          </p:cNvPr>
          <p:cNvSpPr txBox="1"/>
          <p:nvPr/>
        </p:nvSpPr>
        <p:spPr>
          <a:xfrm>
            <a:off x="7882230" y="380994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6" name="Graphic 35" descr="Ribbon">
            <a:extLst>
              <a:ext uri="{FF2B5EF4-FFF2-40B4-BE49-F238E27FC236}">
                <a16:creationId xmlns:a16="http://schemas.microsoft.com/office/drawing/2014/main" id="{24001C06-9DC4-484C-8CD4-2ECF3DECC0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71506" y="4652436"/>
            <a:ext cx="586807" cy="586807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C5A4E6AE-0CF2-4DA0-80B9-2C6D193C4226}"/>
              </a:ext>
            </a:extLst>
          </p:cNvPr>
          <p:cNvSpPr txBox="1"/>
          <p:nvPr/>
        </p:nvSpPr>
        <p:spPr>
          <a:xfrm>
            <a:off x="7917304" y="467481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4AB8C863-4334-4EFE-8466-D0ADEF1957BB}"/>
              </a:ext>
            </a:extLst>
          </p:cNvPr>
          <p:cNvCxnSpPr>
            <a:cxnSpLocks/>
            <a:stCxn id="27" idx="1"/>
          </p:cNvCxnSpPr>
          <p:nvPr/>
        </p:nvCxnSpPr>
        <p:spPr>
          <a:xfrm rot="10800000">
            <a:off x="3860647" y="3142706"/>
            <a:ext cx="934938" cy="1798000"/>
          </a:xfrm>
          <a:prstGeom prst="bentConnector2">
            <a:avLst/>
          </a:prstGeom>
          <a:ln w="57150">
            <a:solidFill>
              <a:srgbClr val="EF4B3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F01B826D-DAC6-4F69-9FC4-639B74AD7EA9}"/>
              </a:ext>
            </a:extLst>
          </p:cNvPr>
          <p:cNvCxnSpPr>
            <a:cxnSpLocks/>
            <a:stCxn id="20" idx="1"/>
          </p:cNvCxnSpPr>
          <p:nvPr/>
        </p:nvCxnSpPr>
        <p:spPr>
          <a:xfrm rot="10800000">
            <a:off x="3860648" y="3142706"/>
            <a:ext cx="280754" cy="919852"/>
          </a:xfrm>
          <a:prstGeom prst="bentConnector2">
            <a:avLst/>
          </a:prstGeom>
          <a:ln w="57150">
            <a:solidFill>
              <a:srgbClr val="4EC9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0383741-3736-47ED-B7D5-49E4900EB69E}"/>
              </a:ext>
            </a:extLst>
          </p:cNvPr>
          <p:cNvGrpSpPr/>
          <p:nvPr/>
        </p:nvGrpSpPr>
        <p:grpSpPr>
          <a:xfrm>
            <a:off x="3598364" y="2775442"/>
            <a:ext cx="4798038" cy="750888"/>
            <a:chOff x="1704126" y="1814155"/>
            <a:chExt cx="4798038" cy="750888"/>
          </a:xfrm>
        </p:grpSpPr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8B944A3E-7B46-43B1-B34A-3F125D6808B1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3B3E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64B79A2-43CC-4AB5-AA12-42E82EF5C228}"/>
                </a:ext>
              </a:extLst>
            </p:cNvPr>
            <p:cNvSpPr/>
            <p:nvPr/>
          </p:nvSpPr>
          <p:spPr>
            <a:xfrm>
              <a:off x="1966411" y="2027529"/>
              <a:ext cx="3591036" cy="3077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sz="20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LightGBM</a:t>
              </a:r>
              <a:endParaRPr lang="en-ID" sz="2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CE8A8D3-F2A8-459D-BAD8-01DF7182E1C1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FB0DF"/>
            </a:solidFill>
            <a:ln w="28575">
              <a:solidFill>
                <a:srgbClr val="3B3E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2" name="Graphic 31" descr="Trophy">
            <a:extLst>
              <a:ext uri="{FF2B5EF4-FFF2-40B4-BE49-F238E27FC236}">
                <a16:creationId xmlns:a16="http://schemas.microsoft.com/office/drawing/2014/main" id="{93C0E8E8-E655-4122-A115-38829941E3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20844" y="2855837"/>
            <a:ext cx="600228" cy="600228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22148DC3-AEC7-4FBE-B4A5-9705E087D943}"/>
              </a:ext>
            </a:extLst>
          </p:cNvPr>
          <p:cNvSpPr txBox="1"/>
          <p:nvPr/>
        </p:nvSpPr>
        <p:spPr>
          <a:xfrm>
            <a:off x="7873352" y="286185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244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2F21A-4139-41BD-9E04-534CA01E1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latin typeface="Century Gothic"/>
              </a:rPr>
              <a:t>Lightgbm</a:t>
            </a:r>
            <a:r>
              <a:rPr lang="en-US">
                <a:latin typeface="Century Gothic"/>
              </a:rPr>
              <a:t> using </a:t>
            </a:r>
            <a:r>
              <a:rPr lang="en-US" err="1">
                <a:latin typeface="Century Gothic"/>
              </a:rPr>
              <a:t>pycaret</a:t>
            </a:r>
            <a:r>
              <a:rPr lang="en-US">
                <a:latin typeface="Century Gothic"/>
              </a:rPr>
              <a:t>: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E13A1BCC-F458-4E67-BE25-4B0695DC56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17844" y="1343205"/>
            <a:ext cx="6064030" cy="494218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31260B-11C9-4406-A94D-BCA97CA57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81B025C4-6BF4-4D95-834D-862C9DF9E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548" y="1343205"/>
            <a:ext cx="3699821" cy="2272396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7" name="Picture 6" descr="Chart, scatter chart&#10;&#10;Description automatically generated">
            <a:extLst>
              <a:ext uri="{FF2B5EF4-FFF2-40B4-BE49-F238E27FC236}">
                <a16:creationId xmlns:a16="http://schemas.microsoft.com/office/drawing/2014/main" id="{02617755-FCEF-4421-B5B6-883E7276C5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6548" y="3783148"/>
            <a:ext cx="2865320" cy="2841482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89D362-F472-405A-BA0C-032EA0A274C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9262338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85E15C-C66E-4B96-A8A1-B76F0AD43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9660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85E15C-C66E-4B96-A8A1-B76F0AD43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FC2A4D-D4F9-4899-A32E-55D0111E1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3600" b="1" dirty="0" err="1">
                <a:solidFill>
                  <a:srgbClr val="EF4B35"/>
                </a:solidFill>
                <a:latin typeface="Century Gothic" panose="020B0502020202020204" pitchFamily="34" charset="0"/>
              </a:rPr>
              <a:t>LightGBM</a:t>
            </a:r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 – Feature Importance &amp; Testing Dat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AA8A55-978D-4D42-8B08-8E97EB6AB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7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27C3CE-2C71-44D5-BA1F-F3287AEBD86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2851"/>
          <a:stretch/>
        </p:blipFill>
        <p:spPr>
          <a:xfrm>
            <a:off x="1405363" y="4386405"/>
            <a:ext cx="9381274" cy="1864819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95B1ED0-252C-440E-9939-1F5448FFCB8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42AF58-12D0-45C3-88E8-FCAC6D3053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40628" y="1280784"/>
            <a:ext cx="4310743" cy="292533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4104139-ECA7-4299-A1BA-6C3A2C5B58EF}"/>
              </a:ext>
            </a:extLst>
          </p:cNvPr>
          <p:cNvSpPr/>
          <p:nvPr/>
        </p:nvSpPr>
        <p:spPr>
          <a:xfrm>
            <a:off x="9525740" y="5033639"/>
            <a:ext cx="853734" cy="1217585"/>
          </a:xfrm>
          <a:custGeom>
            <a:avLst/>
            <a:gdLst>
              <a:gd name="connsiteX0" fmla="*/ 0 w 853734"/>
              <a:gd name="connsiteY0" fmla="*/ 0 h 1217585"/>
              <a:gd name="connsiteX1" fmla="*/ 418330 w 853734"/>
              <a:gd name="connsiteY1" fmla="*/ 0 h 1217585"/>
              <a:gd name="connsiteX2" fmla="*/ 853734 w 853734"/>
              <a:gd name="connsiteY2" fmla="*/ 0 h 1217585"/>
              <a:gd name="connsiteX3" fmla="*/ 853734 w 853734"/>
              <a:gd name="connsiteY3" fmla="*/ 381510 h 1217585"/>
              <a:gd name="connsiteX4" fmla="*/ 853734 w 853734"/>
              <a:gd name="connsiteY4" fmla="*/ 787372 h 1217585"/>
              <a:gd name="connsiteX5" fmla="*/ 853734 w 853734"/>
              <a:gd name="connsiteY5" fmla="*/ 1217585 h 1217585"/>
              <a:gd name="connsiteX6" fmla="*/ 443942 w 853734"/>
              <a:gd name="connsiteY6" fmla="*/ 1217585 h 1217585"/>
              <a:gd name="connsiteX7" fmla="*/ 0 w 853734"/>
              <a:gd name="connsiteY7" fmla="*/ 1217585 h 1217585"/>
              <a:gd name="connsiteX8" fmla="*/ 0 w 853734"/>
              <a:gd name="connsiteY8" fmla="*/ 836075 h 1217585"/>
              <a:gd name="connsiteX9" fmla="*/ 0 w 853734"/>
              <a:gd name="connsiteY9" fmla="*/ 466741 h 1217585"/>
              <a:gd name="connsiteX10" fmla="*/ 0 w 853734"/>
              <a:gd name="connsiteY10" fmla="*/ 0 h 1217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3734" h="1217585" extrusionOk="0">
                <a:moveTo>
                  <a:pt x="0" y="0"/>
                </a:moveTo>
                <a:cubicBezTo>
                  <a:pt x="149966" y="-38486"/>
                  <a:pt x="218934" y="38916"/>
                  <a:pt x="418330" y="0"/>
                </a:cubicBezTo>
                <a:cubicBezTo>
                  <a:pt x="617726" y="-38916"/>
                  <a:pt x="729944" y="50917"/>
                  <a:pt x="853734" y="0"/>
                </a:cubicBezTo>
                <a:cubicBezTo>
                  <a:pt x="884205" y="137212"/>
                  <a:pt x="826211" y="296804"/>
                  <a:pt x="853734" y="381510"/>
                </a:cubicBezTo>
                <a:cubicBezTo>
                  <a:pt x="881257" y="466216"/>
                  <a:pt x="845858" y="640930"/>
                  <a:pt x="853734" y="787372"/>
                </a:cubicBezTo>
                <a:cubicBezTo>
                  <a:pt x="861610" y="933814"/>
                  <a:pt x="846637" y="1117683"/>
                  <a:pt x="853734" y="1217585"/>
                </a:cubicBezTo>
                <a:cubicBezTo>
                  <a:pt x="700951" y="1252069"/>
                  <a:pt x="625670" y="1200754"/>
                  <a:pt x="443942" y="1217585"/>
                </a:cubicBezTo>
                <a:cubicBezTo>
                  <a:pt x="262214" y="1234416"/>
                  <a:pt x="183146" y="1208088"/>
                  <a:pt x="0" y="1217585"/>
                </a:cubicBezTo>
                <a:cubicBezTo>
                  <a:pt x="-5659" y="1117370"/>
                  <a:pt x="41381" y="938416"/>
                  <a:pt x="0" y="836075"/>
                </a:cubicBezTo>
                <a:cubicBezTo>
                  <a:pt x="-41381" y="733734"/>
                  <a:pt x="7391" y="569015"/>
                  <a:pt x="0" y="466741"/>
                </a:cubicBezTo>
                <a:cubicBezTo>
                  <a:pt x="-7391" y="364467"/>
                  <a:pt x="2853" y="113324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2299A0-B0B5-4928-8B14-B7FC1CE6CB6A}"/>
              </a:ext>
            </a:extLst>
          </p:cNvPr>
          <p:cNvSpPr/>
          <p:nvPr/>
        </p:nvSpPr>
        <p:spPr>
          <a:xfrm>
            <a:off x="3550009" y="4644895"/>
            <a:ext cx="692458" cy="406500"/>
          </a:xfrm>
          <a:custGeom>
            <a:avLst/>
            <a:gdLst>
              <a:gd name="connsiteX0" fmla="*/ 0 w 692458"/>
              <a:gd name="connsiteY0" fmla="*/ 0 h 406500"/>
              <a:gd name="connsiteX1" fmla="*/ 339304 w 692458"/>
              <a:gd name="connsiteY1" fmla="*/ 0 h 406500"/>
              <a:gd name="connsiteX2" fmla="*/ 692458 w 692458"/>
              <a:gd name="connsiteY2" fmla="*/ 0 h 406500"/>
              <a:gd name="connsiteX3" fmla="*/ 692458 w 692458"/>
              <a:gd name="connsiteY3" fmla="*/ 406500 h 406500"/>
              <a:gd name="connsiteX4" fmla="*/ 346229 w 692458"/>
              <a:gd name="connsiteY4" fmla="*/ 406500 h 406500"/>
              <a:gd name="connsiteX5" fmla="*/ 0 w 692458"/>
              <a:gd name="connsiteY5" fmla="*/ 406500 h 406500"/>
              <a:gd name="connsiteX6" fmla="*/ 0 w 692458"/>
              <a:gd name="connsiteY6" fmla="*/ 0 h 4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458" h="406500" extrusionOk="0">
                <a:moveTo>
                  <a:pt x="0" y="0"/>
                </a:moveTo>
                <a:cubicBezTo>
                  <a:pt x="113720" y="-18262"/>
                  <a:pt x="219911" y="14927"/>
                  <a:pt x="339304" y="0"/>
                </a:cubicBezTo>
                <a:cubicBezTo>
                  <a:pt x="458697" y="-14927"/>
                  <a:pt x="567002" y="6054"/>
                  <a:pt x="692458" y="0"/>
                </a:cubicBezTo>
                <a:cubicBezTo>
                  <a:pt x="738071" y="179518"/>
                  <a:pt x="678179" y="295748"/>
                  <a:pt x="692458" y="406500"/>
                </a:cubicBezTo>
                <a:cubicBezTo>
                  <a:pt x="525858" y="418516"/>
                  <a:pt x="493986" y="365633"/>
                  <a:pt x="346229" y="406500"/>
                </a:cubicBezTo>
                <a:cubicBezTo>
                  <a:pt x="198472" y="447367"/>
                  <a:pt x="146056" y="396359"/>
                  <a:pt x="0" y="406500"/>
                </a:cubicBezTo>
                <a:cubicBezTo>
                  <a:pt x="-41117" y="232519"/>
                  <a:pt x="47132" y="140670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5553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387268-D653-4195-B59C-848C46D250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83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A387268-D653-4195-B59C-848C46D250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123AA9-E16E-47A3-B700-4434E9E54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3600" b="1">
                <a:solidFill>
                  <a:srgbClr val="EF4B35"/>
                </a:solidFill>
                <a:latin typeface="Century Gothic" panose="020B0502020202020204" pitchFamily="34" charset="0"/>
              </a:rPr>
              <a:t>Check the models on each feature separate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222E81-02AE-474A-9EF3-6C037C3B7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18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EF2B53F-A8C8-4229-B0A7-74C4020B85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2910" y="4408082"/>
            <a:ext cx="9082097" cy="2000344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C637391-CE94-4894-B90B-F4F654C358D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7C94288-40FA-4D3A-89A8-6E115448FB1E}"/>
              </a:ext>
            </a:extLst>
          </p:cNvPr>
          <p:cNvGrpSpPr/>
          <p:nvPr/>
        </p:nvGrpSpPr>
        <p:grpSpPr>
          <a:xfrm flipH="1">
            <a:off x="1522911" y="1622542"/>
            <a:ext cx="4740074" cy="1349406"/>
            <a:chOff x="1442943" y="1178205"/>
            <a:chExt cx="4730272" cy="1349406"/>
          </a:xfrm>
        </p:grpSpPr>
        <p:sp>
          <p:nvSpPr>
            <p:cNvPr id="12" name="Rectangle: Top Corners Rounded 11">
              <a:extLst>
                <a:ext uri="{FF2B5EF4-FFF2-40B4-BE49-F238E27FC236}">
                  <a16:creationId xmlns:a16="http://schemas.microsoft.com/office/drawing/2014/main" id="{99888474-A9E9-4C66-8C82-7CB5C3EC05F5}"/>
                </a:ext>
              </a:extLst>
            </p:cNvPr>
            <p:cNvSpPr/>
            <p:nvPr/>
          </p:nvSpPr>
          <p:spPr>
            <a:xfrm rot="5400000">
              <a:off x="3133376" y="-512228"/>
              <a:ext cx="1349406" cy="4730272"/>
            </a:xfrm>
            <a:prstGeom prst="round2SameRect">
              <a:avLst>
                <a:gd name="adj1" fmla="val 44079"/>
                <a:gd name="adj2" fmla="val 5000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6521D13-49B4-4719-A677-E6638BD4886F}"/>
                </a:ext>
              </a:extLst>
            </p:cNvPr>
            <p:cNvSpPr/>
            <p:nvPr/>
          </p:nvSpPr>
          <p:spPr>
            <a:xfrm>
              <a:off x="2012562" y="1345075"/>
              <a:ext cx="3591036" cy="101566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We decided to check data by weather, humidity and temperature, to see if there is any significant relationship. Using all these 3 features separately, together and also interaction term, didn’t increase the R square more than ~26% - ~30% so we didn’t continue worked on these 3 features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C8B50D5-0ED8-4C12-8201-4507A9456C29}"/>
              </a:ext>
            </a:extLst>
          </p:cNvPr>
          <p:cNvGrpSpPr/>
          <p:nvPr/>
        </p:nvGrpSpPr>
        <p:grpSpPr>
          <a:xfrm flipH="1">
            <a:off x="1522911" y="3058676"/>
            <a:ext cx="4740074" cy="827377"/>
            <a:chOff x="1442943" y="1178205"/>
            <a:chExt cx="4730272" cy="1349406"/>
          </a:xfrm>
        </p:grpSpPr>
        <p:sp>
          <p:nvSpPr>
            <p:cNvPr id="15" name="Rectangle: Top Corners Rounded 14">
              <a:extLst>
                <a:ext uri="{FF2B5EF4-FFF2-40B4-BE49-F238E27FC236}">
                  <a16:creationId xmlns:a16="http://schemas.microsoft.com/office/drawing/2014/main" id="{ABD46D96-1E4A-4F3A-8F01-97690D3B0776}"/>
                </a:ext>
              </a:extLst>
            </p:cNvPr>
            <p:cNvSpPr/>
            <p:nvPr/>
          </p:nvSpPr>
          <p:spPr>
            <a:xfrm rot="5400000">
              <a:off x="3133376" y="-512228"/>
              <a:ext cx="1349406" cy="4730272"/>
            </a:xfrm>
            <a:prstGeom prst="round2SameRect">
              <a:avLst>
                <a:gd name="adj1" fmla="val 50000"/>
                <a:gd name="adj2" fmla="val 5000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025C419-2830-40CE-B459-174427B1AC52}"/>
                </a:ext>
              </a:extLst>
            </p:cNvPr>
            <p:cNvSpPr/>
            <p:nvPr/>
          </p:nvSpPr>
          <p:spPr>
            <a:xfrm>
              <a:off x="2012564" y="1598991"/>
              <a:ext cx="3591036" cy="5078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In the next step we checked Month, weekday and hour against the number of Riders. The R square in this case was ~ 0.74 with RMSE ~92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5F625EB7-FF8A-43A7-ADBC-2880B78DA1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7899" y="1297635"/>
            <a:ext cx="4907108" cy="296735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9CE0D32-3ACD-4301-BBF0-4CED785F6733}"/>
              </a:ext>
            </a:extLst>
          </p:cNvPr>
          <p:cNvSpPr/>
          <p:nvPr/>
        </p:nvSpPr>
        <p:spPr>
          <a:xfrm>
            <a:off x="9401452" y="5138765"/>
            <a:ext cx="853734" cy="1217585"/>
          </a:xfrm>
          <a:custGeom>
            <a:avLst/>
            <a:gdLst>
              <a:gd name="connsiteX0" fmla="*/ 0 w 853734"/>
              <a:gd name="connsiteY0" fmla="*/ 0 h 1217585"/>
              <a:gd name="connsiteX1" fmla="*/ 418330 w 853734"/>
              <a:gd name="connsiteY1" fmla="*/ 0 h 1217585"/>
              <a:gd name="connsiteX2" fmla="*/ 853734 w 853734"/>
              <a:gd name="connsiteY2" fmla="*/ 0 h 1217585"/>
              <a:gd name="connsiteX3" fmla="*/ 853734 w 853734"/>
              <a:gd name="connsiteY3" fmla="*/ 381510 h 1217585"/>
              <a:gd name="connsiteX4" fmla="*/ 853734 w 853734"/>
              <a:gd name="connsiteY4" fmla="*/ 787372 h 1217585"/>
              <a:gd name="connsiteX5" fmla="*/ 853734 w 853734"/>
              <a:gd name="connsiteY5" fmla="*/ 1217585 h 1217585"/>
              <a:gd name="connsiteX6" fmla="*/ 443942 w 853734"/>
              <a:gd name="connsiteY6" fmla="*/ 1217585 h 1217585"/>
              <a:gd name="connsiteX7" fmla="*/ 0 w 853734"/>
              <a:gd name="connsiteY7" fmla="*/ 1217585 h 1217585"/>
              <a:gd name="connsiteX8" fmla="*/ 0 w 853734"/>
              <a:gd name="connsiteY8" fmla="*/ 836075 h 1217585"/>
              <a:gd name="connsiteX9" fmla="*/ 0 w 853734"/>
              <a:gd name="connsiteY9" fmla="*/ 466741 h 1217585"/>
              <a:gd name="connsiteX10" fmla="*/ 0 w 853734"/>
              <a:gd name="connsiteY10" fmla="*/ 0 h 1217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3734" h="1217585" extrusionOk="0">
                <a:moveTo>
                  <a:pt x="0" y="0"/>
                </a:moveTo>
                <a:cubicBezTo>
                  <a:pt x="149966" y="-38486"/>
                  <a:pt x="218934" y="38916"/>
                  <a:pt x="418330" y="0"/>
                </a:cubicBezTo>
                <a:cubicBezTo>
                  <a:pt x="617726" y="-38916"/>
                  <a:pt x="729944" y="50917"/>
                  <a:pt x="853734" y="0"/>
                </a:cubicBezTo>
                <a:cubicBezTo>
                  <a:pt x="884205" y="137212"/>
                  <a:pt x="826211" y="296804"/>
                  <a:pt x="853734" y="381510"/>
                </a:cubicBezTo>
                <a:cubicBezTo>
                  <a:pt x="881257" y="466216"/>
                  <a:pt x="845858" y="640930"/>
                  <a:pt x="853734" y="787372"/>
                </a:cubicBezTo>
                <a:cubicBezTo>
                  <a:pt x="861610" y="933814"/>
                  <a:pt x="846637" y="1117683"/>
                  <a:pt x="853734" y="1217585"/>
                </a:cubicBezTo>
                <a:cubicBezTo>
                  <a:pt x="700951" y="1252069"/>
                  <a:pt x="625670" y="1200754"/>
                  <a:pt x="443942" y="1217585"/>
                </a:cubicBezTo>
                <a:cubicBezTo>
                  <a:pt x="262214" y="1234416"/>
                  <a:pt x="183146" y="1208088"/>
                  <a:pt x="0" y="1217585"/>
                </a:cubicBezTo>
                <a:cubicBezTo>
                  <a:pt x="-5659" y="1117370"/>
                  <a:pt x="41381" y="938416"/>
                  <a:pt x="0" y="836075"/>
                </a:cubicBezTo>
                <a:cubicBezTo>
                  <a:pt x="-41381" y="733734"/>
                  <a:pt x="7391" y="569015"/>
                  <a:pt x="0" y="466741"/>
                </a:cubicBezTo>
                <a:cubicBezTo>
                  <a:pt x="-7391" y="364467"/>
                  <a:pt x="2853" y="113324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587423-B2C3-4867-9649-AB6FB1D35491}"/>
              </a:ext>
            </a:extLst>
          </p:cNvPr>
          <p:cNvSpPr/>
          <p:nvPr/>
        </p:nvSpPr>
        <p:spPr>
          <a:xfrm>
            <a:off x="3781887" y="4732266"/>
            <a:ext cx="692458" cy="406500"/>
          </a:xfrm>
          <a:custGeom>
            <a:avLst/>
            <a:gdLst>
              <a:gd name="connsiteX0" fmla="*/ 0 w 692458"/>
              <a:gd name="connsiteY0" fmla="*/ 0 h 406500"/>
              <a:gd name="connsiteX1" fmla="*/ 339304 w 692458"/>
              <a:gd name="connsiteY1" fmla="*/ 0 h 406500"/>
              <a:gd name="connsiteX2" fmla="*/ 692458 w 692458"/>
              <a:gd name="connsiteY2" fmla="*/ 0 h 406500"/>
              <a:gd name="connsiteX3" fmla="*/ 692458 w 692458"/>
              <a:gd name="connsiteY3" fmla="*/ 406500 h 406500"/>
              <a:gd name="connsiteX4" fmla="*/ 346229 w 692458"/>
              <a:gd name="connsiteY4" fmla="*/ 406500 h 406500"/>
              <a:gd name="connsiteX5" fmla="*/ 0 w 692458"/>
              <a:gd name="connsiteY5" fmla="*/ 406500 h 406500"/>
              <a:gd name="connsiteX6" fmla="*/ 0 w 692458"/>
              <a:gd name="connsiteY6" fmla="*/ 0 h 406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2458" h="406500" extrusionOk="0">
                <a:moveTo>
                  <a:pt x="0" y="0"/>
                </a:moveTo>
                <a:cubicBezTo>
                  <a:pt x="113720" y="-18262"/>
                  <a:pt x="219911" y="14927"/>
                  <a:pt x="339304" y="0"/>
                </a:cubicBezTo>
                <a:cubicBezTo>
                  <a:pt x="458697" y="-14927"/>
                  <a:pt x="567002" y="6054"/>
                  <a:pt x="692458" y="0"/>
                </a:cubicBezTo>
                <a:cubicBezTo>
                  <a:pt x="738071" y="179518"/>
                  <a:pt x="678179" y="295748"/>
                  <a:pt x="692458" y="406500"/>
                </a:cubicBezTo>
                <a:cubicBezTo>
                  <a:pt x="525858" y="418516"/>
                  <a:pt x="493986" y="365633"/>
                  <a:pt x="346229" y="406500"/>
                </a:cubicBezTo>
                <a:cubicBezTo>
                  <a:pt x="198472" y="447367"/>
                  <a:pt x="146056" y="396359"/>
                  <a:pt x="0" y="406500"/>
                </a:cubicBezTo>
                <a:cubicBezTo>
                  <a:pt x="-41117" y="232519"/>
                  <a:pt x="47132" y="140670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0716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8EA8E6A4-019B-48A2-A837-E44173F91CDC}"/>
              </a:ext>
            </a:extLst>
          </p:cNvPr>
          <p:cNvGrpSpPr/>
          <p:nvPr/>
        </p:nvGrpSpPr>
        <p:grpSpPr>
          <a:xfrm>
            <a:off x="378779" y="5150677"/>
            <a:ext cx="5989638" cy="1727201"/>
            <a:chOff x="1344273" y="4726718"/>
            <a:chExt cx="5989638" cy="1727201"/>
          </a:xfrm>
        </p:grpSpPr>
        <p:sp>
          <p:nvSpPr>
            <p:cNvPr id="67" name="Freeform 555">
              <a:extLst>
                <a:ext uri="{FF2B5EF4-FFF2-40B4-BE49-F238E27FC236}">
                  <a16:creationId xmlns:a16="http://schemas.microsoft.com/office/drawing/2014/main" id="{21F99A78-5331-4935-AF85-C406365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273" y="4726718"/>
              <a:ext cx="4805363" cy="1701800"/>
            </a:xfrm>
            <a:custGeom>
              <a:avLst/>
              <a:gdLst>
                <a:gd name="T0" fmla="*/ 1513 w 1733"/>
                <a:gd name="T1" fmla="*/ 498 h 613"/>
                <a:gd name="T2" fmla="*/ 1284 w 1733"/>
                <a:gd name="T3" fmla="*/ 389 h 613"/>
                <a:gd name="T4" fmla="*/ 1424 w 1733"/>
                <a:gd name="T5" fmla="*/ 253 h 613"/>
                <a:gd name="T6" fmla="*/ 1245 w 1733"/>
                <a:gd name="T7" fmla="*/ 359 h 613"/>
                <a:gd name="T8" fmla="*/ 1230 w 1733"/>
                <a:gd name="T9" fmla="*/ 349 h 613"/>
                <a:gd name="T10" fmla="*/ 1221 w 1733"/>
                <a:gd name="T11" fmla="*/ 209 h 613"/>
                <a:gd name="T12" fmla="*/ 1165 w 1733"/>
                <a:gd name="T13" fmla="*/ 323 h 613"/>
                <a:gd name="T14" fmla="*/ 859 w 1733"/>
                <a:gd name="T15" fmla="*/ 339 h 613"/>
                <a:gd name="T16" fmla="*/ 324 w 1733"/>
                <a:gd name="T17" fmla="*/ 167 h 613"/>
                <a:gd name="T18" fmla="*/ 242 w 1733"/>
                <a:gd name="T19" fmla="*/ 186 h 613"/>
                <a:gd name="T20" fmla="*/ 155 w 1733"/>
                <a:gd name="T21" fmla="*/ 1 h 613"/>
                <a:gd name="T22" fmla="*/ 179 w 1733"/>
                <a:gd name="T23" fmla="*/ 175 h 613"/>
                <a:gd name="T24" fmla="*/ 195 w 1733"/>
                <a:gd name="T25" fmla="*/ 213 h 613"/>
                <a:gd name="T26" fmla="*/ 172 w 1733"/>
                <a:gd name="T27" fmla="*/ 234 h 613"/>
                <a:gd name="T28" fmla="*/ 104 w 1733"/>
                <a:gd name="T29" fmla="*/ 126 h 613"/>
                <a:gd name="T30" fmla="*/ 51 w 1733"/>
                <a:gd name="T31" fmla="*/ 223 h 613"/>
                <a:gd name="T32" fmla="*/ 136 w 1733"/>
                <a:gd name="T33" fmla="*/ 284 h 613"/>
                <a:gd name="T34" fmla="*/ 147 w 1733"/>
                <a:gd name="T35" fmla="*/ 613 h 613"/>
                <a:gd name="T36" fmla="*/ 1733 w 1733"/>
                <a:gd name="T37" fmla="*/ 612 h 613"/>
                <a:gd name="T38" fmla="*/ 1513 w 1733"/>
                <a:gd name="T39" fmla="*/ 4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3" h="613">
                  <a:moveTo>
                    <a:pt x="1513" y="498"/>
                  </a:moveTo>
                  <a:cubicBezTo>
                    <a:pt x="1409" y="496"/>
                    <a:pt x="1345" y="438"/>
                    <a:pt x="1284" y="389"/>
                  </a:cubicBezTo>
                  <a:cubicBezTo>
                    <a:pt x="1372" y="346"/>
                    <a:pt x="1479" y="292"/>
                    <a:pt x="1424" y="253"/>
                  </a:cubicBezTo>
                  <a:cubicBezTo>
                    <a:pt x="1373" y="217"/>
                    <a:pt x="1298" y="292"/>
                    <a:pt x="1245" y="359"/>
                  </a:cubicBezTo>
                  <a:cubicBezTo>
                    <a:pt x="1240" y="356"/>
                    <a:pt x="1235" y="353"/>
                    <a:pt x="1230" y="349"/>
                  </a:cubicBezTo>
                  <a:cubicBezTo>
                    <a:pt x="1252" y="286"/>
                    <a:pt x="1264" y="220"/>
                    <a:pt x="1221" y="209"/>
                  </a:cubicBezTo>
                  <a:cubicBezTo>
                    <a:pt x="1179" y="197"/>
                    <a:pt x="1167" y="257"/>
                    <a:pt x="1165" y="323"/>
                  </a:cubicBezTo>
                  <a:cubicBezTo>
                    <a:pt x="1052" y="299"/>
                    <a:pt x="959" y="308"/>
                    <a:pt x="859" y="339"/>
                  </a:cubicBezTo>
                  <a:cubicBezTo>
                    <a:pt x="759" y="369"/>
                    <a:pt x="617" y="142"/>
                    <a:pt x="324" y="167"/>
                  </a:cubicBezTo>
                  <a:cubicBezTo>
                    <a:pt x="293" y="170"/>
                    <a:pt x="266" y="177"/>
                    <a:pt x="242" y="186"/>
                  </a:cubicBezTo>
                  <a:cubicBezTo>
                    <a:pt x="241" y="106"/>
                    <a:pt x="226" y="1"/>
                    <a:pt x="155" y="1"/>
                  </a:cubicBezTo>
                  <a:cubicBezTo>
                    <a:pt x="40" y="0"/>
                    <a:pt x="164" y="141"/>
                    <a:pt x="179" y="175"/>
                  </a:cubicBezTo>
                  <a:cubicBezTo>
                    <a:pt x="186" y="189"/>
                    <a:pt x="191" y="202"/>
                    <a:pt x="195" y="213"/>
                  </a:cubicBezTo>
                  <a:cubicBezTo>
                    <a:pt x="187" y="219"/>
                    <a:pt x="179" y="226"/>
                    <a:pt x="172" y="234"/>
                  </a:cubicBezTo>
                  <a:cubicBezTo>
                    <a:pt x="158" y="183"/>
                    <a:pt x="136" y="130"/>
                    <a:pt x="104" y="126"/>
                  </a:cubicBezTo>
                  <a:cubicBezTo>
                    <a:pt x="41" y="118"/>
                    <a:pt x="0" y="197"/>
                    <a:pt x="51" y="223"/>
                  </a:cubicBezTo>
                  <a:cubicBezTo>
                    <a:pt x="75" y="236"/>
                    <a:pt x="108" y="261"/>
                    <a:pt x="136" y="284"/>
                  </a:cubicBezTo>
                  <a:cubicBezTo>
                    <a:pt x="74" y="404"/>
                    <a:pt x="114" y="577"/>
                    <a:pt x="147" y="613"/>
                  </a:cubicBezTo>
                  <a:cubicBezTo>
                    <a:pt x="1733" y="612"/>
                    <a:pt x="1733" y="612"/>
                    <a:pt x="1733" y="612"/>
                  </a:cubicBezTo>
                  <a:cubicBezTo>
                    <a:pt x="1733" y="612"/>
                    <a:pt x="1681" y="501"/>
                    <a:pt x="1513" y="498"/>
                  </a:cubicBezTo>
                  <a:close/>
                </a:path>
              </a:pathLst>
            </a:custGeom>
            <a:solidFill>
              <a:srgbClr val="329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56">
              <a:extLst>
                <a:ext uri="{FF2B5EF4-FFF2-40B4-BE49-F238E27FC236}">
                  <a16:creationId xmlns:a16="http://schemas.microsoft.com/office/drawing/2014/main" id="{868B977D-3493-496E-B7BA-1F5C80DF7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548" y="6103081"/>
              <a:ext cx="5948363" cy="350838"/>
            </a:xfrm>
            <a:custGeom>
              <a:avLst/>
              <a:gdLst>
                <a:gd name="T0" fmla="*/ 0 w 2145"/>
                <a:gd name="T1" fmla="*/ 120 h 126"/>
                <a:gd name="T2" fmla="*/ 154 w 2145"/>
                <a:gd name="T3" fmla="*/ 65 h 126"/>
                <a:gd name="T4" fmla="*/ 400 w 2145"/>
                <a:gd name="T5" fmla="*/ 55 h 126"/>
                <a:gd name="T6" fmla="*/ 549 w 2145"/>
                <a:gd name="T7" fmla="*/ 60 h 126"/>
                <a:gd name="T8" fmla="*/ 823 w 2145"/>
                <a:gd name="T9" fmla="*/ 81 h 126"/>
                <a:gd name="T10" fmla="*/ 1230 w 2145"/>
                <a:gd name="T11" fmla="*/ 35 h 126"/>
                <a:gd name="T12" fmla="*/ 1649 w 2145"/>
                <a:gd name="T13" fmla="*/ 65 h 126"/>
                <a:gd name="T14" fmla="*/ 2145 w 2145"/>
                <a:gd name="T15" fmla="*/ 120 h 126"/>
                <a:gd name="T16" fmla="*/ 0 w 2145"/>
                <a:gd name="T17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26">
                  <a:moveTo>
                    <a:pt x="0" y="120"/>
                  </a:moveTo>
                  <a:cubicBezTo>
                    <a:pt x="0" y="120"/>
                    <a:pt x="27" y="45"/>
                    <a:pt x="154" y="65"/>
                  </a:cubicBezTo>
                  <a:cubicBezTo>
                    <a:pt x="281" y="85"/>
                    <a:pt x="337" y="71"/>
                    <a:pt x="400" y="55"/>
                  </a:cubicBezTo>
                  <a:cubicBezTo>
                    <a:pt x="462" y="39"/>
                    <a:pt x="489" y="38"/>
                    <a:pt x="549" y="60"/>
                  </a:cubicBezTo>
                  <a:cubicBezTo>
                    <a:pt x="608" y="81"/>
                    <a:pt x="629" y="126"/>
                    <a:pt x="823" y="81"/>
                  </a:cubicBezTo>
                  <a:cubicBezTo>
                    <a:pt x="1017" y="37"/>
                    <a:pt x="1109" y="0"/>
                    <a:pt x="1230" y="35"/>
                  </a:cubicBezTo>
                  <a:cubicBezTo>
                    <a:pt x="1351" y="69"/>
                    <a:pt x="1500" y="6"/>
                    <a:pt x="1649" y="65"/>
                  </a:cubicBezTo>
                  <a:cubicBezTo>
                    <a:pt x="1798" y="124"/>
                    <a:pt x="2028" y="21"/>
                    <a:pt x="2145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2CB1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7478199-D72C-4DBB-927B-4E8757F0C8DD}"/>
              </a:ext>
            </a:extLst>
          </p:cNvPr>
          <p:cNvSpPr/>
          <p:nvPr/>
        </p:nvSpPr>
        <p:spPr>
          <a:xfrm rot="16200000">
            <a:off x="6675498" y="-1192640"/>
            <a:ext cx="1822332" cy="9210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838FD-C1FD-40B9-9F72-2E8A22D6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646" y="3107998"/>
            <a:ext cx="6954854" cy="609398"/>
          </a:xfrm>
        </p:spPr>
        <p:txBody>
          <a:bodyPr wrap="square" lIns="0" tIns="0" rIns="0" bIns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Seasonal Model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C08B7C-1DE1-47CA-BF19-F54C841E9520}"/>
              </a:ext>
            </a:extLst>
          </p:cNvPr>
          <p:cNvGrpSpPr/>
          <p:nvPr/>
        </p:nvGrpSpPr>
        <p:grpSpPr>
          <a:xfrm>
            <a:off x="622661" y="444097"/>
            <a:ext cx="3907292" cy="3623150"/>
            <a:chOff x="797607" y="1371600"/>
            <a:chExt cx="4869176" cy="451508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F2FE16D-0B15-45E7-BABD-4FA994DF9007}"/>
                </a:ext>
              </a:extLst>
            </p:cNvPr>
            <p:cNvGrpSpPr/>
            <p:nvPr/>
          </p:nvGrpSpPr>
          <p:grpSpPr>
            <a:xfrm>
              <a:off x="797607" y="1371600"/>
              <a:ext cx="4869176" cy="4515087"/>
              <a:chOff x="1021878" y="1817924"/>
              <a:chExt cx="4387850" cy="406876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A538A8CC-3F7C-45A9-9D32-23AB8F99A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21878" y="4394437"/>
                <a:ext cx="1490663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34EB672-18D7-4D01-AF56-9CCC6BF28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79028" y="4462699"/>
                <a:ext cx="1366838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8844B44-EEF2-47F5-82FF-41B38BB20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612428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2C4EE1-3FD1-4989-84F5-3CC31218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17478" y="4394437"/>
                <a:ext cx="1492250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D830B73-0D35-4E89-8A72-B20A890CD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85741" y="4462699"/>
                <a:ext cx="1365250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BA0E5DB-DFCF-4872-8E20-56C250043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19140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Line 14">
                <a:extLst>
                  <a:ext uri="{FF2B5EF4-FFF2-40B4-BE49-F238E27FC236}">
                    <a16:creationId xmlns:a16="http://schemas.microsoft.com/office/drawing/2014/main" id="{C95D0CAD-6C93-42D6-97F3-3D3C3A41C6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14240" y="4937362"/>
                <a:ext cx="1249363" cy="9683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E16D301-12D0-4571-9951-9D302B8D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161828" y="4937362"/>
                <a:ext cx="407988" cy="406400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6C276-8FA6-4BC4-AC9D-7A333BD8F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558703" y="3435587"/>
                <a:ext cx="504825" cy="1444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C512F17-2FF1-41FE-89AF-ABAE56FA10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774478" y="3095862"/>
                <a:ext cx="977900" cy="1463675"/>
              </a:xfrm>
              <a:custGeom>
                <a:avLst/>
                <a:gdLst>
                  <a:gd name="T0" fmla="*/ 28 w 101"/>
                  <a:gd name="T1" fmla="*/ 0 h 151"/>
                  <a:gd name="T2" fmla="*/ 100 w 101"/>
                  <a:gd name="T3" fmla="*/ 61 h 151"/>
                  <a:gd name="T4" fmla="*/ 35 w 101"/>
                  <a:gd name="T5" fmla="*/ 151 h 151"/>
                  <a:gd name="T6" fmla="*/ 25 w 101"/>
                  <a:gd name="T7" fmla="*/ 140 h 151"/>
                  <a:gd name="T8" fmla="*/ 63 w 101"/>
                  <a:gd name="T9" fmla="*/ 68 h 151"/>
                  <a:gd name="T10" fmla="*/ 0 w 101"/>
                  <a:gd name="T11" fmla="*/ 27 h 151"/>
                  <a:gd name="T12" fmla="*/ 28 w 101"/>
                  <a:gd name="T13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51">
                    <a:moveTo>
                      <a:pt x="28" y="0"/>
                    </a:moveTo>
                    <a:cubicBezTo>
                      <a:pt x="28" y="0"/>
                      <a:pt x="99" y="40"/>
                      <a:pt x="100" y="61"/>
                    </a:cubicBezTo>
                    <a:cubicBezTo>
                      <a:pt x="101" y="81"/>
                      <a:pt x="35" y="151"/>
                      <a:pt x="35" y="151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8" y="0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E9C1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3BD41E9-9B5D-430B-988C-CB02E105B8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83853" y="3299062"/>
                <a:ext cx="3079750" cy="1908175"/>
              </a:xfrm>
              <a:custGeom>
                <a:avLst/>
                <a:gdLst>
                  <a:gd name="T0" fmla="*/ 299 w 318"/>
                  <a:gd name="T1" fmla="*/ 190 h 197"/>
                  <a:gd name="T2" fmla="*/ 262 w 318"/>
                  <a:gd name="T3" fmla="*/ 1 h 197"/>
                  <a:gd name="T4" fmla="*/ 94 w 318"/>
                  <a:gd name="T5" fmla="*/ 49 h 197"/>
                  <a:gd name="T6" fmla="*/ 272 w 318"/>
                  <a:gd name="T7" fmla="*/ 49 h 197"/>
                  <a:gd name="T8" fmla="*/ 125 w 318"/>
                  <a:gd name="T9" fmla="*/ 158 h 197"/>
                  <a:gd name="T10" fmla="*/ 276 w 318"/>
                  <a:gd name="T11" fmla="*/ 71 h 197"/>
                  <a:gd name="T12" fmla="*/ 132 w 318"/>
                  <a:gd name="T13" fmla="*/ 190 h 197"/>
                  <a:gd name="T14" fmla="*/ 0 w 318"/>
                  <a:gd name="T15" fmla="*/ 190 h 197"/>
                  <a:gd name="T16" fmla="*/ 91 w 318"/>
                  <a:gd name="T17" fmla="*/ 36 h 197"/>
                  <a:gd name="T18" fmla="*/ 88 w 318"/>
                  <a:gd name="T19" fmla="*/ 27 h 197"/>
                  <a:gd name="T20" fmla="*/ 136 w 318"/>
                  <a:gd name="T21" fmla="*/ 197 h 197"/>
                  <a:gd name="T22" fmla="*/ 254 w 318"/>
                  <a:gd name="T23" fmla="*/ 0 h 197"/>
                  <a:gd name="T24" fmla="*/ 297 w 318"/>
                  <a:gd name="T25" fmla="*/ 0 h 197"/>
                  <a:gd name="T26" fmla="*/ 309 w 318"/>
                  <a:gd name="T27" fmla="*/ 27 h 197"/>
                  <a:gd name="T28" fmla="*/ 284 w 318"/>
                  <a:gd name="T29" fmla="*/ 34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8" h="197">
                    <a:moveTo>
                      <a:pt x="299" y="190"/>
                    </a:moveTo>
                    <a:cubicBezTo>
                      <a:pt x="262" y="1"/>
                      <a:pt x="262" y="1"/>
                      <a:pt x="262" y="1"/>
                    </a:cubicBezTo>
                    <a:moveTo>
                      <a:pt x="94" y="49"/>
                    </a:moveTo>
                    <a:cubicBezTo>
                      <a:pt x="272" y="49"/>
                      <a:pt x="272" y="49"/>
                      <a:pt x="272" y="49"/>
                    </a:cubicBezTo>
                    <a:moveTo>
                      <a:pt x="125" y="158"/>
                    </a:moveTo>
                    <a:cubicBezTo>
                      <a:pt x="125" y="158"/>
                      <a:pt x="176" y="71"/>
                      <a:pt x="276" y="71"/>
                    </a:cubicBezTo>
                    <a:moveTo>
                      <a:pt x="132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6" y="73"/>
                      <a:pt x="91" y="36"/>
                    </a:cubicBezTo>
                    <a:moveTo>
                      <a:pt x="88" y="27"/>
                    </a:moveTo>
                    <a:cubicBezTo>
                      <a:pt x="136" y="197"/>
                      <a:pt x="136" y="197"/>
                      <a:pt x="136" y="197"/>
                    </a:cubicBezTo>
                    <a:moveTo>
                      <a:pt x="254" y="0"/>
                    </a:moveTo>
                    <a:cubicBezTo>
                      <a:pt x="254" y="0"/>
                      <a:pt x="282" y="0"/>
                      <a:pt x="297" y="0"/>
                    </a:cubicBezTo>
                    <a:cubicBezTo>
                      <a:pt x="313" y="0"/>
                      <a:pt x="318" y="17"/>
                      <a:pt x="309" y="27"/>
                    </a:cubicBezTo>
                    <a:cubicBezTo>
                      <a:pt x="300" y="36"/>
                      <a:pt x="284" y="34"/>
                      <a:pt x="284" y="34"/>
                    </a:cubicBezTo>
                  </a:path>
                </a:pathLst>
              </a:custGeom>
              <a:noFill/>
              <a:ln w="77788" cap="rnd">
                <a:solidFill>
                  <a:srgbClr val="3B3E9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FB4724C-45E7-4835-B03C-DE3428E9BE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5978" y="5246924"/>
                <a:ext cx="1336675" cy="11588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DAAB1EE-8470-4EFD-8643-AF9D3C2431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56891" y="2602149"/>
                <a:ext cx="1133475" cy="793750"/>
              </a:xfrm>
              <a:custGeom>
                <a:avLst/>
                <a:gdLst>
                  <a:gd name="T0" fmla="*/ 12 w 117"/>
                  <a:gd name="T1" fmla="*/ 0 h 82"/>
                  <a:gd name="T2" fmla="*/ 35 w 117"/>
                  <a:gd name="T3" fmla="*/ 17 h 82"/>
                  <a:gd name="T4" fmla="*/ 112 w 117"/>
                  <a:gd name="T5" fmla="*/ 64 h 82"/>
                  <a:gd name="T6" fmla="*/ 112 w 117"/>
                  <a:gd name="T7" fmla="*/ 81 h 82"/>
                  <a:gd name="T8" fmla="*/ 97 w 117"/>
                  <a:gd name="T9" fmla="*/ 66 h 82"/>
                  <a:gd name="T10" fmla="*/ 0 w 117"/>
                  <a:gd name="T11" fmla="*/ 14 h 82"/>
                  <a:gd name="T12" fmla="*/ 12 w 117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82">
                    <a:moveTo>
                      <a:pt x="12" y="0"/>
                    </a:move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107" y="56"/>
                      <a:pt x="112" y="64"/>
                    </a:cubicBezTo>
                    <a:cubicBezTo>
                      <a:pt x="117" y="72"/>
                      <a:pt x="115" y="82"/>
                      <a:pt x="112" y="81"/>
                    </a:cubicBezTo>
                    <a:cubicBezTo>
                      <a:pt x="109" y="81"/>
                      <a:pt x="97" y="66"/>
                      <a:pt x="97" y="6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4573271-9C86-45DB-8F29-109527556B6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87203" y="4937362"/>
                <a:ext cx="474663" cy="531812"/>
              </a:xfrm>
              <a:custGeom>
                <a:avLst/>
                <a:gdLst>
                  <a:gd name="T0" fmla="*/ 0 w 49"/>
                  <a:gd name="T1" fmla="*/ 5 h 55"/>
                  <a:gd name="T2" fmla="*/ 12 w 49"/>
                  <a:gd name="T3" fmla="*/ 53 h 55"/>
                  <a:gd name="T4" fmla="*/ 47 w 49"/>
                  <a:gd name="T5" fmla="*/ 32 h 55"/>
                  <a:gd name="T6" fmla="*/ 26 w 49"/>
                  <a:gd name="T7" fmla="*/ 36 h 55"/>
                  <a:gd name="T8" fmla="*/ 16 w 49"/>
                  <a:gd name="T9" fmla="*/ 0 h 55"/>
                  <a:gd name="T10" fmla="*/ 0 w 49"/>
                  <a:gd name="T11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5"/>
                    </a:moveTo>
                    <a:cubicBezTo>
                      <a:pt x="0" y="5"/>
                      <a:pt x="9" y="51"/>
                      <a:pt x="12" y="53"/>
                    </a:cubicBezTo>
                    <a:cubicBezTo>
                      <a:pt x="16" y="55"/>
                      <a:pt x="49" y="35"/>
                      <a:pt x="47" y="32"/>
                    </a:cubicBezTo>
                    <a:cubicBezTo>
                      <a:pt x="46" y="30"/>
                      <a:pt x="31" y="39"/>
                      <a:pt x="26" y="36"/>
                    </a:cubicBezTo>
                    <a:cubicBezTo>
                      <a:pt x="20" y="32"/>
                      <a:pt x="16" y="0"/>
                      <a:pt x="16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0CD1A1B-5EDC-4F21-A014-A10F6D8381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96690" y="1952862"/>
                <a:ext cx="427038" cy="427037"/>
              </a:xfrm>
              <a:custGeom>
                <a:avLst/>
                <a:gdLst>
                  <a:gd name="T0" fmla="*/ 35 w 44"/>
                  <a:gd name="T1" fmla="*/ 0 h 44"/>
                  <a:gd name="T2" fmla="*/ 40 w 44"/>
                  <a:gd name="T3" fmla="*/ 37 h 44"/>
                  <a:gd name="T4" fmla="*/ 22 w 44"/>
                  <a:gd name="T5" fmla="*/ 39 h 44"/>
                  <a:gd name="T6" fmla="*/ 14 w 44"/>
                  <a:gd name="T7" fmla="*/ 44 h 44"/>
                  <a:gd name="T8" fmla="*/ 0 w 44"/>
                  <a:gd name="T9" fmla="*/ 39 h 44"/>
                  <a:gd name="T10" fmla="*/ 7 w 44"/>
                  <a:gd name="T11" fmla="*/ 26 h 44"/>
                  <a:gd name="T12" fmla="*/ 6 w 44"/>
                  <a:gd name="T13" fmla="*/ 16 h 44"/>
                  <a:gd name="T14" fmla="*/ 14 w 44"/>
                  <a:gd name="T15" fmla="*/ 17 h 44"/>
                  <a:gd name="T16" fmla="*/ 14 w 44"/>
                  <a:gd name="T17" fmla="*/ 2 h 44"/>
                  <a:gd name="T18" fmla="*/ 35 w 44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cubicBezTo>
                      <a:pt x="35" y="0"/>
                      <a:pt x="44" y="32"/>
                      <a:pt x="40" y="37"/>
                    </a:cubicBezTo>
                    <a:cubicBezTo>
                      <a:pt x="35" y="42"/>
                      <a:pt x="27" y="38"/>
                      <a:pt x="22" y="39"/>
                    </a:cubicBezTo>
                    <a:cubicBezTo>
                      <a:pt x="17" y="39"/>
                      <a:pt x="14" y="44"/>
                      <a:pt x="14" y="4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3" y="18"/>
                      <a:pt x="6" y="16"/>
                    </a:cubicBezTo>
                    <a:cubicBezTo>
                      <a:pt x="10" y="15"/>
                      <a:pt x="14" y="17"/>
                      <a:pt x="14" y="17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645FF67-D0C1-44A9-A0BC-68A8319804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20528" y="1992549"/>
                <a:ext cx="212725" cy="338137"/>
              </a:xfrm>
              <a:custGeom>
                <a:avLst/>
                <a:gdLst>
                  <a:gd name="T0" fmla="*/ 1 w 22"/>
                  <a:gd name="T1" fmla="*/ 2 h 35"/>
                  <a:gd name="T2" fmla="*/ 7 w 22"/>
                  <a:gd name="T3" fmla="*/ 28 h 35"/>
                  <a:gd name="T4" fmla="*/ 22 w 22"/>
                  <a:gd name="T5" fmla="*/ 0 h 35"/>
                  <a:gd name="T6" fmla="*/ 1 w 22"/>
                  <a:gd name="T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5">
                    <a:moveTo>
                      <a:pt x="1" y="2"/>
                    </a:moveTo>
                    <a:cubicBezTo>
                      <a:pt x="1" y="2"/>
                      <a:pt x="0" y="22"/>
                      <a:pt x="7" y="28"/>
                    </a:cubicBezTo>
                    <a:cubicBezTo>
                      <a:pt x="13" y="35"/>
                      <a:pt x="22" y="0"/>
                      <a:pt x="22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CABA783-5F9D-40C9-92E2-7D9DE3B5E31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90328" y="1817924"/>
                <a:ext cx="611188" cy="212725"/>
              </a:xfrm>
              <a:custGeom>
                <a:avLst/>
                <a:gdLst>
                  <a:gd name="T0" fmla="*/ 9 w 63"/>
                  <a:gd name="T1" fmla="*/ 22 h 22"/>
                  <a:gd name="T2" fmla="*/ 63 w 63"/>
                  <a:gd name="T3" fmla="*/ 22 h 22"/>
                  <a:gd name="T4" fmla="*/ 39 w 63"/>
                  <a:gd name="T5" fmla="*/ 3 h 22"/>
                  <a:gd name="T6" fmla="*/ 5 w 63"/>
                  <a:gd name="T7" fmla="*/ 19 h 22"/>
                  <a:gd name="T8" fmla="*/ 9 w 6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2">
                    <a:moveTo>
                      <a:pt x="9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54" y="7"/>
                      <a:pt x="39" y="3"/>
                    </a:cubicBezTo>
                    <a:cubicBezTo>
                      <a:pt x="26" y="0"/>
                      <a:pt x="0" y="1"/>
                      <a:pt x="5" y="19"/>
                    </a:cubicBezTo>
                    <a:cubicBezTo>
                      <a:pt x="5" y="20"/>
                      <a:pt x="7" y="22"/>
                      <a:pt x="9" y="2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D4E062-725F-4ED0-9E80-94B4B9DFE1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277715" y="2892662"/>
                <a:ext cx="833438" cy="2141537"/>
              </a:xfrm>
              <a:custGeom>
                <a:avLst/>
                <a:gdLst>
                  <a:gd name="T0" fmla="*/ 10 w 86"/>
                  <a:gd name="T1" fmla="*/ 0 h 221"/>
                  <a:gd name="T2" fmla="*/ 66 w 86"/>
                  <a:gd name="T3" fmla="*/ 221 h 221"/>
                  <a:gd name="T4" fmla="*/ 86 w 86"/>
                  <a:gd name="T5" fmla="*/ 216 h 221"/>
                  <a:gd name="T6" fmla="*/ 56 w 86"/>
                  <a:gd name="T7" fmla="*/ 19 h 221"/>
                  <a:gd name="T8" fmla="*/ 10 w 86"/>
                  <a:gd name="T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221">
                    <a:moveTo>
                      <a:pt x="10" y="0"/>
                    </a:moveTo>
                    <a:cubicBezTo>
                      <a:pt x="0" y="21"/>
                      <a:pt x="66" y="221"/>
                      <a:pt x="66" y="221"/>
                    </a:cubicBezTo>
                    <a:cubicBezTo>
                      <a:pt x="86" y="216"/>
                      <a:pt x="86" y="216"/>
                      <a:pt x="86" y="216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D8B6CE5D-CB61-489F-B18F-6728C0CDE36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52228" y="2186224"/>
                <a:ext cx="1501775" cy="1025525"/>
              </a:xfrm>
              <a:custGeom>
                <a:avLst/>
                <a:gdLst>
                  <a:gd name="T0" fmla="*/ 0 w 155"/>
                  <a:gd name="T1" fmla="*/ 80 h 106"/>
                  <a:gd name="T2" fmla="*/ 60 w 155"/>
                  <a:gd name="T3" fmla="*/ 102 h 106"/>
                  <a:gd name="T4" fmla="*/ 107 w 155"/>
                  <a:gd name="T5" fmla="*/ 58 h 106"/>
                  <a:gd name="T6" fmla="*/ 134 w 155"/>
                  <a:gd name="T7" fmla="*/ 73 h 106"/>
                  <a:gd name="T8" fmla="*/ 155 w 155"/>
                  <a:gd name="T9" fmla="*/ 54 h 106"/>
                  <a:gd name="T10" fmla="*/ 99 w 155"/>
                  <a:gd name="T11" fmla="*/ 10 h 106"/>
                  <a:gd name="T12" fmla="*/ 40 w 155"/>
                  <a:gd name="T13" fmla="*/ 34 h 106"/>
                  <a:gd name="T14" fmla="*/ 0 w 155"/>
                  <a:gd name="T1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106">
                    <a:moveTo>
                      <a:pt x="0" y="80"/>
                    </a:moveTo>
                    <a:cubicBezTo>
                      <a:pt x="0" y="80"/>
                      <a:pt x="41" y="106"/>
                      <a:pt x="60" y="102"/>
                    </a:cubicBezTo>
                    <a:cubicBezTo>
                      <a:pt x="79" y="97"/>
                      <a:pt x="78" y="71"/>
                      <a:pt x="107" y="58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23" y="20"/>
                      <a:pt x="99" y="10"/>
                    </a:cubicBezTo>
                    <a:cubicBezTo>
                      <a:pt x="75" y="0"/>
                      <a:pt x="63" y="14"/>
                      <a:pt x="40" y="34"/>
                    </a:cubicBezTo>
                    <a:cubicBezTo>
                      <a:pt x="16" y="54"/>
                      <a:pt x="0" y="80"/>
                      <a:pt x="0" y="8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09DFD-E1B7-44A5-8723-5A83A367DACF}"/>
                </a:ext>
              </a:extLst>
            </p:cNvPr>
            <p:cNvGrpSpPr/>
            <p:nvPr/>
          </p:nvGrpSpPr>
          <p:grpSpPr>
            <a:xfrm rot="932970">
              <a:off x="3258430" y="5046223"/>
              <a:ext cx="67162" cy="204898"/>
              <a:chOff x="3278816" y="5051890"/>
              <a:chExt cx="107809" cy="20489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D01C6BDF-480F-4406-A14E-B5DEF231D530}"/>
                  </a:ext>
                </a:extLst>
              </p:cNvPr>
              <p:cNvSpPr/>
              <p:nvPr/>
            </p:nvSpPr>
            <p:spPr>
              <a:xfrm>
                <a:off x="3278816" y="5051890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7CCEC1FC-7CE8-4334-B8A4-A1598FBEB5B0}"/>
                  </a:ext>
                </a:extLst>
              </p:cNvPr>
              <p:cNvSpPr/>
              <p:nvPr/>
            </p:nvSpPr>
            <p:spPr>
              <a:xfrm>
                <a:off x="3278816" y="5113726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C4FFC130-09F6-4E61-A981-3DED38FB73FD}"/>
                  </a:ext>
                </a:extLst>
              </p:cNvPr>
              <p:cNvSpPr/>
              <p:nvPr/>
            </p:nvSpPr>
            <p:spPr>
              <a:xfrm>
                <a:off x="3278816" y="5175562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D874E896-6E28-450F-85B3-EA1738B6478B}"/>
                  </a:ext>
                </a:extLst>
              </p:cNvPr>
              <p:cNvSpPr/>
              <p:nvPr/>
            </p:nvSpPr>
            <p:spPr>
              <a:xfrm>
                <a:off x="3278816" y="5237399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93" name="Slide Number Placeholder 92">
            <a:extLst>
              <a:ext uri="{FF2B5EF4-FFF2-40B4-BE49-F238E27FC236}">
                <a16:creationId xmlns:a16="http://schemas.microsoft.com/office/drawing/2014/main" id="{208151A9-7342-477A-A159-E8DC5647F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D179C53-365E-4D77-ADF8-1582A37A08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598" t="6873" r="12789" b="8263"/>
          <a:stretch/>
        </p:blipFill>
        <p:spPr>
          <a:xfrm>
            <a:off x="11760422" y="11449"/>
            <a:ext cx="431578" cy="44575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65928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Rectangle: Top Corners Rounded 448">
            <a:extLst>
              <a:ext uri="{FF2B5EF4-FFF2-40B4-BE49-F238E27FC236}">
                <a16:creationId xmlns:a16="http://schemas.microsoft.com/office/drawing/2014/main" id="{F0A72A91-71B8-4330-9431-CFC5345CF644}"/>
              </a:ext>
            </a:extLst>
          </p:cNvPr>
          <p:cNvSpPr/>
          <p:nvPr/>
        </p:nvSpPr>
        <p:spPr>
          <a:xfrm rot="5400000">
            <a:off x="5944458" y="1433533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9478E8FF-2CA4-4398-938A-3E083092F105}"/>
              </a:ext>
            </a:extLst>
          </p:cNvPr>
          <p:cNvSpPr/>
          <p:nvPr/>
        </p:nvSpPr>
        <p:spPr>
          <a:xfrm>
            <a:off x="6114712" y="1626417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8FEB64E1-71A1-4822-B799-2E6A2499DAA2}"/>
              </a:ext>
            </a:extLst>
          </p:cNvPr>
          <p:cNvGrpSpPr/>
          <p:nvPr/>
        </p:nvGrpSpPr>
        <p:grpSpPr>
          <a:xfrm>
            <a:off x="7037359" y="1697540"/>
            <a:ext cx="2088133" cy="586943"/>
            <a:chOff x="6864635" y="1867646"/>
            <a:chExt cx="1123664" cy="586943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88064A65-B8EE-4CC5-8777-5171834A8C73}"/>
                </a:ext>
              </a:extLst>
            </p:cNvPr>
            <p:cNvSpPr/>
            <p:nvPr/>
          </p:nvSpPr>
          <p:spPr>
            <a:xfrm>
              <a:off x="6864635" y="1867646"/>
              <a:ext cx="1030511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rgbClr val="F1604D"/>
                  </a:solidFill>
                  <a:latin typeface="+mj-lt"/>
                </a:rPr>
                <a:t>Industry Overview</a:t>
              </a:r>
            </a:p>
            <a:p>
              <a:pPr algn="r"/>
              <a:r>
                <a:rPr lang="en-ID" b="1">
                  <a:solidFill>
                    <a:srgbClr val="F1604D"/>
                  </a:solidFill>
                  <a:latin typeface="+mj-lt"/>
                </a:rPr>
                <a:t>&amp; Business Case</a:t>
              </a:r>
            </a:p>
          </p:txBody>
        </p: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A2759C93-BB28-4B20-94CD-28652EBB04B2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9" name="Rectangle: Top Corners Rounded 358">
            <a:extLst>
              <a:ext uri="{FF2B5EF4-FFF2-40B4-BE49-F238E27FC236}">
                <a16:creationId xmlns:a16="http://schemas.microsoft.com/office/drawing/2014/main" id="{BBF48C2A-F9B9-4BBE-BA74-BF672CEACAE2}"/>
              </a:ext>
            </a:extLst>
          </p:cNvPr>
          <p:cNvSpPr/>
          <p:nvPr/>
        </p:nvSpPr>
        <p:spPr>
          <a:xfrm rot="5400000">
            <a:off x="5944458" y="2755772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ACA6185D-B34E-4C3E-A227-ACEA8A8583C4}"/>
              </a:ext>
            </a:extLst>
          </p:cNvPr>
          <p:cNvSpPr/>
          <p:nvPr/>
        </p:nvSpPr>
        <p:spPr>
          <a:xfrm>
            <a:off x="6114712" y="2948656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CE88883D-BC7E-40F7-90B4-891CA313F71E}"/>
              </a:ext>
            </a:extLst>
          </p:cNvPr>
          <p:cNvGrpSpPr/>
          <p:nvPr/>
        </p:nvGrpSpPr>
        <p:grpSpPr>
          <a:xfrm>
            <a:off x="6745601" y="2969259"/>
            <a:ext cx="2379900" cy="584795"/>
            <a:chOff x="6572876" y="1869794"/>
            <a:chExt cx="1415423" cy="584795"/>
          </a:xfrm>
        </p:grpSpPr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02C0EC0E-FDCE-4FCA-A649-30984C3ED4C7}"/>
                </a:ext>
              </a:extLst>
            </p:cNvPr>
            <p:cNvSpPr/>
            <p:nvPr/>
          </p:nvSpPr>
          <p:spPr>
            <a:xfrm>
              <a:off x="6572876" y="1885191"/>
              <a:ext cx="1363494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Data Exploration</a:t>
              </a:r>
            </a:p>
          </p:txBody>
        </p: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5D1C800E-D713-4132-B007-4A9DF10A51AA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6" name="Rectangle: Top Corners Rounded 365">
            <a:extLst>
              <a:ext uri="{FF2B5EF4-FFF2-40B4-BE49-F238E27FC236}">
                <a16:creationId xmlns:a16="http://schemas.microsoft.com/office/drawing/2014/main" id="{D2883F3D-FD2E-4B07-92D2-F9E789B98961}"/>
              </a:ext>
            </a:extLst>
          </p:cNvPr>
          <p:cNvSpPr/>
          <p:nvPr/>
        </p:nvSpPr>
        <p:spPr>
          <a:xfrm rot="5400000">
            <a:off x="5944458" y="407801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DC9ED136-03DE-4F8A-85B9-8B31FC6C4A86}"/>
              </a:ext>
            </a:extLst>
          </p:cNvPr>
          <p:cNvSpPr/>
          <p:nvPr/>
        </p:nvSpPr>
        <p:spPr>
          <a:xfrm>
            <a:off x="6114712" y="427089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78978E55-D75C-4FD8-A0D9-1DEEAC14E76E}"/>
              </a:ext>
            </a:extLst>
          </p:cNvPr>
          <p:cNvGrpSpPr/>
          <p:nvPr/>
        </p:nvGrpSpPr>
        <p:grpSpPr>
          <a:xfrm>
            <a:off x="7006343" y="4300871"/>
            <a:ext cx="2119159" cy="584795"/>
            <a:chOff x="6794056" y="1869794"/>
            <a:chExt cx="1194243" cy="584795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426002F4-9E30-458E-8558-CF6EDD4F5275}"/>
                </a:ext>
              </a:extLst>
            </p:cNvPr>
            <p:cNvSpPr/>
            <p:nvPr/>
          </p:nvSpPr>
          <p:spPr>
            <a:xfrm>
              <a:off x="6794056" y="2023690"/>
              <a:ext cx="112112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Model and Evaluation </a:t>
              </a: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27CCFB0E-2D49-4634-9ED4-876225D7CC34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3" name="Rectangle: Top Corners Rounded 372">
            <a:extLst>
              <a:ext uri="{FF2B5EF4-FFF2-40B4-BE49-F238E27FC236}">
                <a16:creationId xmlns:a16="http://schemas.microsoft.com/office/drawing/2014/main" id="{E2675A36-160D-4276-A956-3D2CDEEE94D0}"/>
              </a:ext>
            </a:extLst>
          </p:cNvPr>
          <p:cNvSpPr/>
          <p:nvPr/>
        </p:nvSpPr>
        <p:spPr>
          <a:xfrm rot="5400000">
            <a:off x="5944458" y="540025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B1B29EBC-F878-4532-9F29-E9A5A0C8CA33}"/>
              </a:ext>
            </a:extLst>
          </p:cNvPr>
          <p:cNvSpPr/>
          <p:nvPr/>
        </p:nvSpPr>
        <p:spPr>
          <a:xfrm>
            <a:off x="6114712" y="559313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359D68F8-9693-495F-9AB8-49F23A1B2B99}"/>
              </a:ext>
            </a:extLst>
          </p:cNvPr>
          <p:cNvGrpSpPr/>
          <p:nvPr/>
        </p:nvGrpSpPr>
        <p:grpSpPr>
          <a:xfrm>
            <a:off x="7128345" y="5606641"/>
            <a:ext cx="1997162" cy="584795"/>
            <a:chOff x="7108737" y="1862971"/>
            <a:chExt cx="1997162" cy="584795"/>
          </a:xfrm>
        </p:grpSpPr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90208D9B-C9C0-427E-A4E0-C20D7D9EB228}"/>
                </a:ext>
              </a:extLst>
            </p:cNvPr>
            <p:cNvSpPr/>
            <p:nvPr/>
          </p:nvSpPr>
          <p:spPr>
            <a:xfrm>
              <a:off x="7108737" y="2008303"/>
              <a:ext cx="1893016" cy="3077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2000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Recommendations</a:t>
              </a:r>
            </a:p>
          </p:txBody>
        </p: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69903CAF-2DAE-409F-B9D3-A1FACC4F44EA}"/>
                </a:ext>
              </a:extLst>
            </p:cNvPr>
            <p:cNvCxnSpPr/>
            <p:nvPr/>
          </p:nvCxnSpPr>
          <p:spPr>
            <a:xfrm>
              <a:off x="9105899" y="1862971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BEA7A9-CC5F-4A6F-A837-874D69AEACC3}"/>
              </a:ext>
            </a:extLst>
          </p:cNvPr>
          <p:cNvGrpSpPr/>
          <p:nvPr/>
        </p:nvGrpSpPr>
        <p:grpSpPr>
          <a:xfrm>
            <a:off x="0" y="942492"/>
            <a:ext cx="6034133" cy="5498253"/>
            <a:chOff x="0" y="685800"/>
            <a:chExt cx="6034133" cy="549825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ACCEDB7-69C5-4F03-A857-AF2DB03AFF66}"/>
                </a:ext>
              </a:extLst>
            </p:cNvPr>
            <p:cNvSpPr/>
            <p:nvPr/>
          </p:nvSpPr>
          <p:spPr>
            <a:xfrm rot="5400000">
              <a:off x="3546537" y="3696457"/>
              <a:ext cx="4739714" cy="23547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553DA69-AACC-4F2E-9733-3B488AC56CB7}"/>
                </a:ext>
              </a:extLst>
            </p:cNvPr>
            <p:cNvSpPr/>
            <p:nvPr/>
          </p:nvSpPr>
          <p:spPr>
            <a:xfrm>
              <a:off x="0" y="685800"/>
              <a:ext cx="5921829" cy="5486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48" name="Picture 447" descr="A picture containing sitting&#10;&#10;Description automatically generated">
            <a:extLst>
              <a:ext uri="{FF2B5EF4-FFF2-40B4-BE49-F238E27FC236}">
                <a16:creationId xmlns:a16="http://schemas.microsoft.com/office/drawing/2014/main" id="{21ED10EA-DB44-416E-9EBA-AC64F409DF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14"/>
          <a:stretch/>
        </p:blipFill>
        <p:spPr>
          <a:xfrm>
            <a:off x="242977" y="1817148"/>
            <a:ext cx="5243421" cy="374894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9A629FB9-C7FE-47A9-AB98-FE5447343A18}"/>
              </a:ext>
            </a:extLst>
          </p:cNvPr>
          <p:cNvGrpSpPr/>
          <p:nvPr/>
        </p:nvGrpSpPr>
        <p:grpSpPr>
          <a:xfrm>
            <a:off x="692378" y="2711762"/>
            <a:ext cx="4489450" cy="2854326"/>
            <a:chOff x="779463" y="2263775"/>
            <a:chExt cx="4489450" cy="2854326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F9E24B0-8FA3-4A13-A99C-FC2999FE7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6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5" y="18"/>
                    <a:pt x="19" y="115"/>
                    <a:pt x="19" y="233"/>
                  </a:cubicBezTo>
                  <a:cubicBezTo>
                    <a:pt x="19" y="352"/>
                    <a:pt x="115" y="448"/>
                    <a:pt x="234" y="448"/>
                  </a:cubicBezTo>
                  <a:cubicBezTo>
                    <a:pt x="352" y="448"/>
                    <a:pt x="449" y="352"/>
                    <a:pt x="449" y="233"/>
                  </a:cubicBezTo>
                  <a:cubicBezTo>
                    <a:pt x="449" y="115"/>
                    <a:pt x="352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0BF4FEB-3922-48E8-A16F-CC91EDA4E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5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F573261-FA4E-43DE-B185-BFAE721C9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61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6" y="18"/>
                    <a:pt x="19" y="115"/>
                    <a:pt x="19" y="233"/>
                  </a:cubicBezTo>
                  <a:cubicBezTo>
                    <a:pt x="19" y="352"/>
                    <a:pt x="116" y="448"/>
                    <a:pt x="234" y="448"/>
                  </a:cubicBezTo>
                  <a:cubicBezTo>
                    <a:pt x="353" y="448"/>
                    <a:pt x="449" y="352"/>
                    <a:pt x="449" y="233"/>
                  </a:cubicBezTo>
                  <a:cubicBezTo>
                    <a:pt x="449" y="115"/>
                    <a:pt x="353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7250F5C-1FFB-4363-9089-F793FB372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410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E1DC1D4-BA14-4476-B63C-D42C63631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488" y="2428875"/>
              <a:ext cx="2824163" cy="1963738"/>
            </a:xfrm>
            <a:custGeom>
              <a:avLst/>
              <a:gdLst>
                <a:gd name="T0" fmla="*/ 253 w 749"/>
                <a:gd name="T1" fmla="*/ 167 h 520"/>
                <a:gd name="T2" fmla="*/ 601 w 749"/>
                <a:gd name="T3" fmla="*/ 184 h 520"/>
                <a:gd name="T4" fmla="*/ 231 w 749"/>
                <a:gd name="T5" fmla="*/ 187 h 520"/>
                <a:gd name="T6" fmla="*/ 35 w 749"/>
                <a:gd name="T7" fmla="*/ 468 h 520"/>
                <a:gd name="T8" fmla="*/ 744 w 749"/>
                <a:gd name="T9" fmla="*/ 469 h 520"/>
                <a:gd name="T10" fmla="*/ 591 w 749"/>
                <a:gd name="T11" fmla="*/ 30 h 520"/>
                <a:gd name="T12" fmla="*/ 668 w 749"/>
                <a:gd name="T13" fmla="*/ 18 h 520"/>
                <a:gd name="T14" fmla="*/ 576 w 749"/>
                <a:gd name="T15" fmla="*/ 5 h 520"/>
                <a:gd name="T16" fmla="*/ 563 w 749"/>
                <a:gd name="T17" fmla="*/ 20 h 520"/>
                <a:gd name="T18" fmla="*/ 247 w 749"/>
                <a:gd name="T19" fmla="*/ 142 h 520"/>
                <a:gd name="T20" fmla="*/ 203 w 749"/>
                <a:gd name="T21" fmla="*/ 2 h 520"/>
                <a:gd name="T22" fmla="*/ 224 w 749"/>
                <a:gd name="T23" fmla="*/ 153 h 520"/>
                <a:gd name="T24" fmla="*/ 2 w 749"/>
                <a:gd name="T25" fmla="*/ 472 h 520"/>
                <a:gd name="T26" fmla="*/ 1 w 749"/>
                <a:gd name="T27" fmla="*/ 474 h 520"/>
                <a:gd name="T28" fmla="*/ 1 w 749"/>
                <a:gd name="T29" fmla="*/ 476 h 520"/>
                <a:gd name="T30" fmla="*/ 1 w 749"/>
                <a:gd name="T31" fmla="*/ 477 h 520"/>
                <a:gd name="T32" fmla="*/ 1 w 749"/>
                <a:gd name="T33" fmla="*/ 480 h 520"/>
                <a:gd name="T34" fmla="*/ 1 w 749"/>
                <a:gd name="T35" fmla="*/ 482 h 520"/>
                <a:gd name="T36" fmla="*/ 2 w 749"/>
                <a:gd name="T37" fmla="*/ 485 h 520"/>
                <a:gd name="T38" fmla="*/ 4 w 749"/>
                <a:gd name="T39" fmla="*/ 486 h 520"/>
                <a:gd name="T40" fmla="*/ 5 w 749"/>
                <a:gd name="T41" fmla="*/ 488 h 520"/>
                <a:gd name="T42" fmla="*/ 7 w 749"/>
                <a:gd name="T43" fmla="*/ 489 h 520"/>
                <a:gd name="T44" fmla="*/ 9 w 749"/>
                <a:gd name="T45" fmla="*/ 490 h 520"/>
                <a:gd name="T46" fmla="*/ 12 w 749"/>
                <a:gd name="T47" fmla="*/ 491 h 520"/>
                <a:gd name="T48" fmla="*/ 315 w 749"/>
                <a:gd name="T49" fmla="*/ 520 h 520"/>
                <a:gd name="T50" fmla="*/ 316 w 749"/>
                <a:gd name="T51" fmla="*/ 520 h 520"/>
                <a:gd name="T52" fmla="*/ 316 w 749"/>
                <a:gd name="T53" fmla="*/ 520 h 520"/>
                <a:gd name="T54" fmla="*/ 319 w 749"/>
                <a:gd name="T55" fmla="*/ 520 h 520"/>
                <a:gd name="T56" fmla="*/ 320 w 749"/>
                <a:gd name="T57" fmla="*/ 520 h 520"/>
                <a:gd name="T58" fmla="*/ 321 w 749"/>
                <a:gd name="T59" fmla="*/ 519 h 520"/>
                <a:gd name="T60" fmla="*/ 323 w 749"/>
                <a:gd name="T61" fmla="*/ 518 h 520"/>
                <a:gd name="T62" fmla="*/ 324 w 749"/>
                <a:gd name="T63" fmla="*/ 518 h 520"/>
                <a:gd name="T64" fmla="*/ 325 w 749"/>
                <a:gd name="T65" fmla="*/ 516 h 520"/>
                <a:gd name="T66" fmla="*/ 608 w 749"/>
                <a:gd name="T67" fmla="*/ 213 h 520"/>
                <a:gd name="T68" fmla="*/ 632 w 749"/>
                <a:gd name="T69" fmla="*/ 321 h 520"/>
                <a:gd name="T70" fmla="*/ 735 w 749"/>
                <a:gd name="T71" fmla="*/ 491 h 520"/>
                <a:gd name="T72" fmla="*/ 744 w 749"/>
                <a:gd name="T73" fmla="*/ 469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9" h="520">
                  <a:moveTo>
                    <a:pt x="323" y="482"/>
                  </a:moveTo>
                  <a:cubicBezTo>
                    <a:pt x="253" y="167"/>
                    <a:pt x="253" y="167"/>
                    <a:pt x="253" y="167"/>
                  </a:cubicBezTo>
                  <a:cubicBezTo>
                    <a:pt x="589" y="130"/>
                    <a:pt x="589" y="130"/>
                    <a:pt x="589" y="130"/>
                  </a:cubicBezTo>
                  <a:cubicBezTo>
                    <a:pt x="601" y="184"/>
                    <a:pt x="601" y="184"/>
                    <a:pt x="601" y="184"/>
                  </a:cubicBezTo>
                  <a:cubicBezTo>
                    <a:pt x="323" y="482"/>
                    <a:pt x="323" y="482"/>
                    <a:pt x="323" y="482"/>
                  </a:cubicBezTo>
                  <a:close/>
                  <a:moveTo>
                    <a:pt x="231" y="187"/>
                  </a:moveTo>
                  <a:cubicBezTo>
                    <a:pt x="300" y="494"/>
                    <a:pt x="300" y="494"/>
                    <a:pt x="300" y="494"/>
                  </a:cubicBezTo>
                  <a:cubicBezTo>
                    <a:pt x="35" y="468"/>
                    <a:pt x="35" y="468"/>
                    <a:pt x="35" y="468"/>
                  </a:cubicBezTo>
                  <a:cubicBezTo>
                    <a:pt x="231" y="187"/>
                    <a:pt x="231" y="187"/>
                    <a:pt x="231" y="187"/>
                  </a:cubicBezTo>
                  <a:close/>
                  <a:moveTo>
                    <a:pt x="744" y="469"/>
                  </a:moveTo>
                  <a:cubicBezTo>
                    <a:pt x="686" y="413"/>
                    <a:pt x="658" y="320"/>
                    <a:pt x="657" y="314"/>
                  </a:cubicBezTo>
                  <a:cubicBezTo>
                    <a:pt x="591" y="30"/>
                    <a:pt x="591" y="30"/>
                    <a:pt x="591" y="30"/>
                  </a:cubicBezTo>
                  <a:cubicBezTo>
                    <a:pt x="655" y="30"/>
                    <a:pt x="655" y="30"/>
                    <a:pt x="655" y="30"/>
                  </a:cubicBezTo>
                  <a:cubicBezTo>
                    <a:pt x="662" y="30"/>
                    <a:pt x="668" y="25"/>
                    <a:pt x="668" y="18"/>
                  </a:cubicBezTo>
                  <a:cubicBezTo>
                    <a:pt x="668" y="11"/>
                    <a:pt x="662" y="5"/>
                    <a:pt x="655" y="5"/>
                  </a:cubicBezTo>
                  <a:cubicBezTo>
                    <a:pt x="576" y="5"/>
                    <a:pt x="576" y="5"/>
                    <a:pt x="576" y="5"/>
                  </a:cubicBezTo>
                  <a:cubicBezTo>
                    <a:pt x="572" y="5"/>
                    <a:pt x="568" y="7"/>
                    <a:pt x="566" y="10"/>
                  </a:cubicBezTo>
                  <a:cubicBezTo>
                    <a:pt x="563" y="13"/>
                    <a:pt x="563" y="17"/>
                    <a:pt x="563" y="20"/>
                  </a:cubicBezTo>
                  <a:cubicBezTo>
                    <a:pt x="583" y="105"/>
                    <a:pt x="583" y="105"/>
                    <a:pt x="583" y="105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16" y="5"/>
                    <a:pt x="210" y="0"/>
                    <a:pt x="203" y="2"/>
                  </a:cubicBezTo>
                  <a:cubicBezTo>
                    <a:pt x="196" y="3"/>
                    <a:pt x="192" y="10"/>
                    <a:pt x="193" y="1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3" y="471"/>
                    <a:pt x="2" y="471"/>
                    <a:pt x="2" y="472"/>
                  </a:cubicBezTo>
                  <a:cubicBezTo>
                    <a:pt x="2" y="472"/>
                    <a:pt x="2" y="472"/>
                    <a:pt x="2" y="473"/>
                  </a:cubicBezTo>
                  <a:cubicBezTo>
                    <a:pt x="2" y="473"/>
                    <a:pt x="1" y="474"/>
                    <a:pt x="1" y="474"/>
                  </a:cubicBezTo>
                  <a:cubicBezTo>
                    <a:pt x="1" y="474"/>
                    <a:pt x="1" y="475"/>
                    <a:pt x="1" y="475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0" y="478"/>
                    <a:pt x="1" y="478"/>
                    <a:pt x="1" y="479"/>
                  </a:cubicBezTo>
                  <a:cubicBezTo>
                    <a:pt x="1" y="479"/>
                    <a:pt x="1" y="480"/>
                    <a:pt x="1" y="480"/>
                  </a:cubicBezTo>
                  <a:cubicBezTo>
                    <a:pt x="1" y="480"/>
                    <a:pt x="1" y="481"/>
                    <a:pt x="1" y="481"/>
                  </a:cubicBezTo>
                  <a:cubicBezTo>
                    <a:pt x="1" y="482"/>
                    <a:pt x="1" y="482"/>
                    <a:pt x="1" y="482"/>
                  </a:cubicBezTo>
                  <a:cubicBezTo>
                    <a:pt x="1" y="483"/>
                    <a:pt x="1" y="483"/>
                    <a:pt x="2" y="483"/>
                  </a:cubicBezTo>
                  <a:cubicBezTo>
                    <a:pt x="2" y="484"/>
                    <a:pt x="2" y="484"/>
                    <a:pt x="2" y="485"/>
                  </a:cubicBezTo>
                  <a:cubicBezTo>
                    <a:pt x="2" y="485"/>
                    <a:pt x="3" y="485"/>
                    <a:pt x="3" y="486"/>
                  </a:cubicBezTo>
                  <a:cubicBezTo>
                    <a:pt x="3" y="486"/>
                    <a:pt x="3" y="486"/>
                    <a:pt x="4" y="486"/>
                  </a:cubicBezTo>
                  <a:cubicBezTo>
                    <a:pt x="4" y="487"/>
                    <a:pt x="4" y="487"/>
                    <a:pt x="4" y="487"/>
                  </a:cubicBezTo>
                  <a:cubicBezTo>
                    <a:pt x="5" y="488"/>
                    <a:pt x="5" y="488"/>
                    <a:pt x="5" y="488"/>
                  </a:cubicBezTo>
                  <a:cubicBezTo>
                    <a:pt x="6" y="488"/>
                    <a:pt x="6" y="488"/>
                    <a:pt x="6" y="488"/>
                  </a:cubicBezTo>
                  <a:cubicBezTo>
                    <a:pt x="6" y="489"/>
                    <a:pt x="6" y="489"/>
                    <a:pt x="7" y="489"/>
                  </a:cubicBezTo>
                  <a:cubicBezTo>
                    <a:pt x="7" y="489"/>
                    <a:pt x="7" y="489"/>
                    <a:pt x="7" y="489"/>
                  </a:cubicBezTo>
                  <a:cubicBezTo>
                    <a:pt x="8" y="490"/>
                    <a:pt x="9" y="490"/>
                    <a:pt x="9" y="490"/>
                  </a:cubicBezTo>
                  <a:cubicBezTo>
                    <a:pt x="9" y="490"/>
                    <a:pt x="9" y="490"/>
                    <a:pt x="9" y="490"/>
                  </a:cubicBezTo>
                  <a:cubicBezTo>
                    <a:pt x="10" y="490"/>
                    <a:pt x="11" y="491"/>
                    <a:pt x="12" y="491"/>
                  </a:cubicBezTo>
                  <a:cubicBezTo>
                    <a:pt x="12" y="491"/>
                    <a:pt x="12" y="491"/>
                    <a:pt x="12" y="491"/>
                  </a:cubicBezTo>
                  <a:cubicBezTo>
                    <a:pt x="315" y="520"/>
                    <a:pt x="315" y="520"/>
                    <a:pt x="315" y="520"/>
                  </a:cubicBezTo>
                  <a:cubicBezTo>
                    <a:pt x="315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7" y="520"/>
                    <a:pt x="318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20" y="520"/>
                  </a:cubicBezTo>
                  <a:cubicBezTo>
                    <a:pt x="320" y="520"/>
                    <a:pt x="320" y="520"/>
                    <a:pt x="321" y="519"/>
                  </a:cubicBezTo>
                  <a:cubicBezTo>
                    <a:pt x="321" y="519"/>
                    <a:pt x="321" y="519"/>
                    <a:pt x="321" y="519"/>
                  </a:cubicBezTo>
                  <a:cubicBezTo>
                    <a:pt x="321" y="519"/>
                    <a:pt x="322" y="519"/>
                    <a:pt x="322" y="519"/>
                  </a:cubicBezTo>
                  <a:cubicBezTo>
                    <a:pt x="322" y="519"/>
                    <a:pt x="323" y="519"/>
                    <a:pt x="323" y="518"/>
                  </a:cubicBezTo>
                  <a:cubicBezTo>
                    <a:pt x="323" y="518"/>
                    <a:pt x="323" y="518"/>
                    <a:pt x="323" y="518"/>
                  </a:cubicBezTo>
                  <a:cubicBezTo>
                    <a:pt x="324" y="518"/>
                    <a:pt x="324" y="518"/>
                    <a:pt x="324" y="518"/>
                  </a:cubicBezTo>
                  <a:cubicBezTo>
                    <a:pt x="324" y="517"/>
                    <a:pt x="325" y="517"/>
                    <a:pt x="325" y="517"/>
                  </a:cubicBezTo>
                  <a:cubicBezTo>
                    <a:pt x="325" y="517"/>
                    <a:pt x="325" y="517"/>
                    <a:pt x="325" y="516"/>
                  </a:cubicBezTo>
                  <a:cubicBezTo>
                    <a:pt x="325" y="516"/>
                    <a:pt x="325" y="516"/>
                    <a:pt x="325" y="516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32" y="320"/>
                    <a:pt x="632" y="320"/>
                    <a:pt x="632" y="320"/>
                  </a:cubicBezTo>
                  <a:cubicBezTo>
                    <a:pt x="632" y="320"/>
                    <a:pt x="632" y="320"/>
                    <a:pt x="632" y="321"/>
                  </a:cubicBezTo>
                  <a:cubicBezTo>
                    <a:pt x="634" y="325"/>
                    <a:pt x="662" y="425"/>
                    <a:pt x="726" y="487"/>
                  </a:cubicBezTo>
                  <a:cubicBezTo>
                    <a:pt x="729" y="490"/>
                    <a:pt x="732" y="491"/>
                    <a:pt x="735" y="491"/>
                  </a:cubicBezTo>
                  <a:cubicBezTo>
                    <a:pt x="738" y="491"/>
                    <a:pt x="742" y="489"/>
                    <a:pt x="744" y="487"/>
                  </a:cubicBezTo>
                  <a:cubicBezTo>
                    <a:pt x="749" y="482"/>
                    <a:pt x="749" y="474"/>
                    <a:pt x="744" y="469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CA80894-7178-403A-9288-DE955354A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2433638"/>
              <a:ext cx="608013" cy="573088"/>
            </a:xfrm>
            <a:custGeom>
              <a:avLst/>
              <a:gdLst>
                <a:gd name="T0" fmla="*/ 64 w 161"/>
                <a:gd name="T1" fmla="*/ 152 h 152"/>
                <a:gd name="T2" fmla="*/ 40 w 161"/>
                <a:gd name="T3" fmla="*/ 151 h 152"/>
                <a:gd name="T4" fmla="*/ 26 w 161"/>
                <a:gd name="T5" fmla="*/ 133 h 152"/>
                <a:gd name="T6" fmla="*/ 44 w 161"/>
                <a:gd name="T7" fmla="*/ 120 h 152"/>
                <a:gd name="T8" fmla="*/ 119 w 161"/>
                <a:gd name="T9" fmla="*/ 106 h 152"/>
                <a:gd name="T10" fmla="*/ 129 w 161"/>
                <a:gd name="T11" fmla="*/ 81 h 152"/>
                <a:gd name="T12" fmla="*/ 117 w 161"/>
                <a:gd name="T13" fmla="*/ 50 h 152"/>
                <a:gd name="T14" fmla="*/ 58 w 161"/>
                <a:gd name="T15" fmla="*/ 32 h 152"/>
                <a:gd name="T16" fmla="*/ 58 w 161"/>
                <a:gd name="T17" fmla="*/ 32 h 152"/>
                <a:gd name="T18" fmla="*/ 15 w 161"/>
                <a:gd name="T19" fmla="*/ 32 h 152"/>
                <a:gd name="T20" fmla="*/ 0 w 161"/>
                <a:gd name="T21" fmla="*/ 17 h 152"/>
                <a:gd name="T22" fmla="*/ 15 w 161"/>
                <a:gd name="T23" fmla="*/ 1 h 152"/>
                <a:gd name="T24" fmla="*/ 57 w 161"/>
                <a:gd name="T25" fmla="*/ 1 h 152"/>
                <a:gd name="T26" fmla="*/ 139 w 161"/>
                <a:gd name="T27" fmla="*/ 27 h 152"/>
                <a:gd name="T28" fmla="*/ 161 w 161"/>
                <a:gd name="T29" fmla="*/ 81 h 152"/>
                <a:gd name="T30" fmla="*/ 139 w 161"/>
                <a:gd name="T31" fmla="*/ 130 h 152"/>
                <a:gd name="T32" fmla="*/ 64 w 161"/>
                <a:gd name="T33" fmla="*/ 152 h 152"/>
                <a:gd name="T34" fmla="*/ 64 w 161"/>
                <a:gd name="T3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52">
                  <a:moveTo>
                    <a:pt x="64" y="152"/>
                  </a:moveTo>
                  <a:cubicBezTo>
                    <a:pt x="51" y="152"/>
                    <a:pt x="42" y="151"/>
                    <a:pt x="40" y="151"/>
                  </a:cubicBezTo>
                  <a:cubicBezTo>
                    <a:pt x="31" y="150"/>
                    <a:pt x="25" y="142"/>
                    <a:pt x="26" y="133"/>
                  </a:cubicBezTo>
                  <a:cubicBezTo>
                    <a:pt x="28" y="125"/>
                    <a:pt x="36" y="119"/>
                    <a:pt x="44" y="120"/>
                  </a:cubicBezTo>
                  <a:cubicBezTo>
                    <a:pt x="58" y="122"/>
                    <a:pt x="100" y="123"/>
                    <a:pt x="119" y="106"/>
                  </a:cubicBezTo>
                  <a:cubicBezTo>
                    <a:pt x="126" y="100"/>
                    <a:pt x="129" y="92"/>
                    <a:pt x="129" y="81"/>
                  </a:cubicBezTo>
                  <a:cubicBezTo>
                    <a:pt x="129" y="68"/>
                    <a:pt x="126" y="57"/>
                    <a:pt x="117" y="50"/>
                  </a:cubicBezTo>
                  <a:cubicBezTo>
                    <a:pt x="97" y="31"/>
                    <a:pt x="59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3" y="1"/>
                    <a:pt x="110" y="0"/>
                    <a:pt x="139" y="27"/>
                  </a:cubicBezTo>
                  <a:cubicBezTo>
                    <a:pt x="153" y="41"/>
                    <a:pt x="161" y="59"/>
                    <a:pt x="161" y="81"/>
                  </a:cubicBezTo>
                  <a:cubicBezTo>
                    <a:pt x="161" y="101"/>
                    <a:pt x="153" y="118"/>
                    <a:pt x="139" y="130"/>
                  </a:cubicBezTo>
                  <a:cubicBezTo>
                    <a:pt x="118" y="149"/>
                    <a:pt x="86" y="152"/>
                    <a:pt x="64" y="152"/>
                  </a:cubicBezTo>
                  <a:cubicBezTo>
                    <a:pt x="64" y="152"/>
                    <a:pt x="64" y="152"/>
                    <a:pt x="64" y="15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D45C3AAA-D8E9-443F-AA6C-F696B9AEA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826" y="2263775"/>
              <a:ext cx="731838" cy="241300"/>
            </a:xfrm>
            <a:custGeom>
              <a:avLst/>
              <a:gdLst>
                <a:gd name="T0" fmla="*/ 178 w 194"/>
                <a:gd name="T1" fmla="*/ 64 h 64"/>
                <a:gd name="T2" fmla="*/ 73 w 194"/>
                <a:gd name="T3" fmla="*/ 64 h 64"/>
                <a:gd name="T4" fmla="*/ 5 w 194"/>
                <a:gd name="T5" fmla="*/ 26 h 64"/>
                <a:gd name="T6" fmla="*/ 9 w 194"/>
                <a:gd name="T7" fmla="*/ 4 h 64"/>
                <a:gd name="T8" fmla="*/ 31 w 194"/>
                <a:gd name="T9" fmla="*/ 9 h 64"/>
                <a:gd name="T10" fmla="*/ 73 w 194"/>
                <a:gd name="T11" fmla="*/ 33 h 64"/>
                <a:gd name="T12" fmla="*/ 178 w 194"/>
                <a:gd name="T13" fmla="*/ 33 h 64"/>
                <a:gd name="T14" fmla="*/ 194 w 194"/>
                <a:gd name="T15" fmla="*/ 49 h 64"/>
                <a:gd name="T16" fmla="*/ 178 w 194"/>
                <a:gd name="T17" fmla="*/ 64 h 64"/>
                <a:gd name="T18" fmla="*/ 178 w 194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64">
                  <a:moveTo>
                    <a:pt x="178" y="64"/>
                  </a:moveTo>
                  <a:cubicBezTo>
                    <a:pt x="73" y="64"/>
                    <a:pt x="73" y="64"/>
                    <a:pt x="73" y="64"/>
                  </a:cubicBezTo>
                  <a:cubicBezTo>
                    <a:pt x="32" y="64"/>
                    <a:pt x="6" y="28"/>
                    <a:pt x="5" y="26"/>
                  </a:cubicBezTo>
                  <a:cubicBezTo>
                    <a:pt x="0" y="19"/>
                    <a:pt x="2" y="9"/>
                    <a:pt x="9" y="4"/>
                  </a:cubicBezTo>
                  <a:cubicBezTo>
                    <a:pt x="17" y="0"/>
                    <a:pt x="26" y="1"/>
                    <a:pt x="31" y="9"/>
                  </a:cubicBezTo>
                  <a:cubicBezTo>
                    <a:pt x="31" y="9"/>
                    <a:pt x="49" y="33"/>
                    <a:pt x="73" y="33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87" y="33"/>
                    <a:pt x="194" y="40"/>
                    <a:pt x="194" y="49"/>
                  </a:cubicBezTo>
                  <a:cubicBezTo>
                    <a:pt x="194" y="57"/>
                    <a:pt x="187" y="64"/>
                    <a:pt x="178" y="64"/>
                  </a:cubicBezTo>
                  <a:cubicBezTo>
                    <a:pt x="178" y="64"/>
                    <a:pt x="178" y="64"/>
                    <a:pt x="178" y="64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624C129-3417-4746-8A48-296F86079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913188"/>
              <a:ext cx="328613" cy="868363"/>
            </a:xfrm>
            <a:custGeom>
              <a:avLst/>
              <a:gdLst>
                <a:gd name="T0" fmla="*/ 62 w 87"/>
                <a:gd name="T1" fmla="*/ 86 h 230"/>
                <a:gd name="T2" fmla="*/ 87 w 87"/>
                <a:gd name="T3" fmla="*/ 5 h 230"/>
                <a:gd name="T4" fmla="*/ 69 w 87"/>
                <a:gd name="T5" fmla="*/ 0 h 230"/>
                <a:gd name="T6" fmla="*/ 44 w 87"/>
                <a:gd name="T7" fmla="*/ 80 h 230"/>
                <a:gd name="T8" fmla="*/ 43 w 87"/>
                <a:gd name="T9" fmla="*/ 80 h 230"/>
                <a:gd name="T10" fmla="*/ 9 w 87"/>
                <a:gd name="T11" fmla="*/ 115 h 230"/>
                <a:gd name="T12" fmla="*/ 24 w 87"/>
                <a:gd name="T13" fmla="*/ 144 h 230"/>
                <a:gd name="T14" fmla="*/ 0 w 87"/>
                <a:gd name="T15" fmla="*/ 225 h 230"/>
                <a:gd name="T16" fmla="*/ 18 w 87"/>
                <a:gd name="T17" fmla="*/ 230 h 230"/>
                <a:gd name="T18" fmla="*/ 42 w 87"/>
                <a:gd name="T19" fmla="*/ 149 h 230"/>
                <a:gd name="T20" fmla="*/ 43 w 87"/>
                <a:gd name="T21" fmla="*/ 149 h 230"/>
                <a:gd name="T22" fmla="*/ 78 w 87"/>
                <a:gd name="T23" fmla="*/ 115 h 230"/>
                <a:gd name="T24" fmla="*/ 62 w 87"/>
                <a:gd name="T25" fmla="*/ 8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230">
                  <a:moveTo>
                    <a:pt x="62" y="86"/>
                  </a:moveTo>
                  <a:cubicBezTo>
                    <a:pt x="87" y="5"/>
                    <a:pt x="87" y="5"/>
                    <a:pt x="87" y="5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3" y="80"/>
                    <a:pt x="43" y="80"/>
                  </a:cubicBezTo>
                  <a:cubicBezTo>
                    <a:pt x="24" y="80"/>
                    <a:pt x="9" y="96"/>
                    <a:pt x="9" y="115"/>
                  </a:cubicBezTo>
                  <a:cubicBezTo>
                    <a:pt x="9" y="127"/>
                    <a:pt x="15" y="138"/>
                    <a:pt x="24" y="144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18" y="230"/>
                    <a:pt x="18" y="230"/>
                    <a:pt x="18" y="230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2" y="149"/>
                    <a:pt x="78" y="134"/>
                    <a:pt x="78" y="115"/>
                  </a:cubicBezTo>
                  <a:cubicBezTo>
                    <a:pt x="78" y="103"/>
                    <a:pt x="71" y="92"/>
                    <a:pt x="62" y="86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42CF7327-246A-4439-98A3-2518B01D3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879850"/>
              <a:ext cx="315913" cy="82550"/>
            </a:xfrm>
            <a:custGeom>
              <a:avLst/>
              <a:gdLst>
                <a:gd name="T0" fmla="*/ 73 w 84"/>
                <a:gd name="T1" fmla="*/ 22 h 22"/>
                <a:gd name="T2" fmla="*/ 11 w 84"/>
                <a:gd name="T3" fmla="*/ 22 h 22"/>
                <a:gd name="T4" fmla="*/ 0 w 84"/>
                <a:gd name="T5" fmla="*/ 11 h 22"/>
                <a:gd name="T6" fmla="*/ 11 w 84"/>
                <a:gd name="T7" fmla="*/ 0 h 22"/>
                <a:gd name="T8" fmla="*/ 73 w 84"/>
                <a:gd name="T9" fmla="*/ 0 h 22"/>
                <a:gd name="T10" fmla="*/ 84 w 84"/>
                <a:gd name="T11" fmla="*/ 11 h 22"/>
                <a:gd name="T12" fmla="*/ 73 w 84"/>
                <a:gd name="T13" fmla="*/ 22 h 22"/>
                <a:gd name="T14" fmla="*/ 73 w 8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2">
                  <a:moveTo>
                    <a:pt x="73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5"/>
                    <a:pt x="84" y="11"/>
                  </a:cubicBezTo>
                  <a:cubicBezTo>
                    <a:pt x="84" y="17"/>
                    <a:pt x="79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D4B108AC-76F0-49A5-A766-5C72E3210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363" y="4732338"/>
              <a:ext cx="315913" cy="79375"/>
            </a:xfrm>
            <a:custGeom>
              <a:avLst/>
              <a:gdLst>
                <a:gd name="T0" fmla="*/ 73 w 84"/>
                <a:gd name="T1" fmla="*/ 21 h 21"/>
                <a:gd name="T2" fmla="*/ 11 w 84"/>
                <a:gd name="T3" fmla="*/ 21 h 21"/>
                <a:gd name="T4" fmla="*/ 0 w 84"/>
                <a:gd name="T5" fmla="*/ 10 h 21"/>
                <a:gd name="T6" fmla="*/ 11 w 84"/>
                <a:gd name="T7" fmla="*/ 0 h 21"/>
                <a:gd name="T8" fmla="*/ 73 w 84"/>
                <a:gd name="T9" fmla="*/ 0 h 21"/>
                <a:gd name="T10" fmla="*/ 84 w 84"/>
                <a:gd name="T11" fmla="*/ 10 h 21"/>
                <a:gd name="T12" fmla="*/ 73 w 84"/>
                <a:gd name="T13" fmla="*/ 21 h 21"/>
                <a:gd name="T14" fmla="*/ 73 w 8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1">
                  <a:moveTo>
                    <a:pt x="73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4" y="21"/>
                    <a:pt x="0" y="17"/>
                    <a:pt x="0" y="10"/>
                  </a:cubicBezTo>
                  <a:cubicBezTo>
                    <a:pt x="0" y="4"/>
                    <a:pt x="4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4"/>
                    <a:pt x="84" y="10"/>
                  </a:cubicBezTo>
                  <a:cubicBezTo>
                    <a:pt x="84" y="17"/>
                    <a:pt x="79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7DFE14C0-C03B-4CB0-ABC6-255F9BC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1588" y="4083050"/>
              <a:ext cx="531813" cy="528638"/>
            </a:xfrm>
            <a:custGeom>
              <a:avLst/>
              <a:gdLst>
                <a:gd name="T0" fmla="*/ 70 w 141"/>
                <a:gd name="T1" fmla="*/ 9 h 140"/>
                <a:gd name="T2" fmla="*/ 9 w 141"/>
                <a:gd name="T3" fmla="*/ 70 h 140"/>
                <a:gd name="T4" fmla="*/ 70 w 141"/>
                <a:gd name="T5" fmla="*/ 131 h 140"/>
                <a:gd name="T6" fmla="*/ 131 w 141"/>
                <a:gd name="T7" fmla="*/ 70 h 140"/>
                <a:gd name="T8" fmla="*/ 70 w 141"/>
                <a:gd name="T9" fmla="*/ 9 h 140"/>
                <a:gd name="T10" fmla="*/ 70 w 141"/>
                <a:gd name="T11" fmla="*/ 9 h 140"/>
                <a:gd name="T12" fmla="*/ 70 w 141"/>
                <a:gd name="T13" fmla="*/ 140 h 140"/>
                <a:gd name="T14" fmla="*/ 0 w 141"/>
                <a:gd name="T15" fmla="*/ 70 h 140"/>
                <a:gd name="T16" fmla="*/ 70 w 141"/>
                <a:gd name="T17" fmla="*/ 0 h 140"/>
                <a:gd name="T18" fmla="*/ 141 w 141"/>
                <a:gd name="T19" fmla="*/ 70 h 140"/>
                <a:gd name="T20" fmla="*/ 70 w 141"/>
                <a:gd name="T21" fmla="*/ 140 h 140"/>
                <a:gd name="T22" fmla="*/ 70 w 141"/>
                <a:gd name="T2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" h="140">
                  <a:moveTo>
                    <a:pt x="70" y="9"/>
                  </a:moveTo>
                  <a:cubicBezTo>
                    <a:pt x="37" y="9"/>
                    <a:pt x="9" y="36"/>
                    <a:pt x="9" y="70"/>
                  </a:cubicBezTo>
                  <a:cubicBezTo>
                    <a:pt x="9" y="104"/>
                    <a:pt x="37" y="131"/>
                    <a:pt x="70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6"/>
                    <a:pt x="104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lose/>
                  <a:moveTo>
                    <a:pt x="70" y="140"/>
                  </a:moveTo>
                  <a:cubicBezTo>
                    <a:pt x="31" y="140"/>
                    <a:pt x="0" y="109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9" y="0"/>
                    <a:pt x="141" y="31"/>
                    <a:pt x="141" y="70"/>
                  </a:cubicBezTo>
                  <a:cubicBezTo>
                    <a:pt x="141" y="109"/>
                    <a:pt x="109" y="140"/>
                    <a:pt x="70" y="140"/>
                  </a:cubicBezTo>
                  <a:cubicBezTo>
                    <a:pt x="70" y="140"/>
                    <a:pt x="70" y="140"/>
                    <a:pt x="70" y="14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D4D00511-82D3-442E-84C4-6AF197FE1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6" y="4083050"/>
              <a:ext cx="1157288" cy="38100"/>
            </a:xfrm>
            <a:custGeom>
              <a:avLst/>
              <a:gdLst>
                <a:gd name="T0" fmla="*/ 4 w 307"/>
                <a:gd name="T1" fmla="*/ 10 h 10"/>
                <a:gd name="T2" fmla="*/ 0 w 307"/>
                <a:gd name="T3" fmla="*/ 6 h 10"/>
                <a:gd name="T4" fmla="*/ 4 w 307"/>
                <a:gd name="T5" fmla="*/ 1 h 10"/>
                <a:gd name="T6" fmla="*/ 302 w 307"/>
                <a:gd name="T7" fmla="*/ 0 h 10"/>
                <a:gd name="T8" fmla="*/ 302 w 307"/>
                <a:gd name="T9" fmla="*/ 0 h 10"/>
                <a:gd name="T10" fmla="*/ 307 w 307"/>
                <a:gd name="T11" fmla="*/ 4 h 10"/>
                <a:gd name="T12" fmla="*/ 302 w 307"/>
                <a:gd name="T13" fmla="*/ 9 h 10"/>
                <a:gd name="T14" fmla="*/ 4 w 307"/>
                <a:gd name="T15" fmla="*/ 10 h 10"/>
                <a:gd name="T16" fmla="*/ 4 w 307"/>
                <a:gd name="T17" fmla="*/ 10 h 10"/>
                <a:gd name="T18" fmla="*/ 4 w 30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10">
                  <a:moveTo>
                    <a:pt x="4" y="10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5" y="0"/>
                    <a:pt x="307" y="2"/>
                    <a:pt x="307" y="4"/>
                  </a:cubicBezTo>
                  <a:cubicBezTo>
                    <a:pt x="307" y="7"/>
                    <a:pt x="305" y="9"/>
                    <a:pt x="302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B9D9F72A-F995-45DB-B0BB-4F2E6003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51" y="4310063"/>
              <a:ext cx="1120775" cy="290513"/>
            </a:xfrm>
            <a:custGeom>
              <a:avLst/>
              <a:gdLst>
                <a:gd name="T0" fmla="*/ 292 w 297"/>
                <a:gd name="T1" fmla="*/ 77 h 77"/>
                <a:gd name="T2" fmla="*/ 291 w 297"/>
                <a:gd name="T3" fmla="*/ 77 h 77"/>
                <a:gd name="T4" fmla="*/ 4 w 297"/>
                <a:gd name="T5" fmla="*/ 9 h 77"/>
                <a:gd name="T6" fmla="*/ 1 w 297"/>
                <a:gd name="T7" fmla="*/ 4 h 77"/>
                <a:gd name="T8" fmla="*/ 6 w 297"/>
                <a:gd name="T9" fmla="*/ 0 h 77"/>
                <a:gd name="T10" fmla="*/ 293 w 297"/>
                <a:gd name="T11" fmla="*/ 68 h 77"/>
                <a:gd name="T12" fmla="*/ 296 w 297"/>
                <a:gd name="T13" fmla="*/ 74 h 77"/>
                <a:gd name="T14" fmla="*/ 292 w 297"/>
                <a:gd name="T15" fmla="*/ 77 h 77"/>
                <a:gd name="T16" fmla="*/ 292 w 297"/>
                <a:gd name="T1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77">
                  <a:moveTo>
                    <a:pt x="292" y="77"/>
                  </a:moveTo>
                  <a:cubicBezTo>
                    <a:pt x="292" y="77"/>
                    <a:pt x="291" y="77"/>
                    <a:pt x="291" y="7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1" y="1"/>
                    <a:pt x="4" y="0"/>
                    <a:pt x="6" y="0"/>
                  </a:cubicBezTo>
                  <a:cubicBezTo>
                    <a:pt x="293" y="68"/>
                    <a:pt x="293" y="68"/>
                    <a:pt x="293" y="68"/>
                  </a:cubicBezTo>
                  <a:cubicBezTo>
                    <a:pt x="296" y="69"/>
                    <a:pt x="297" y="71"/>
                    <a:pt x="296" y="74"/>
                  </a:cubicBezTo>
                  <a:cubicBezTo>
                    <a:pt x="296" y="76"/>
                    <a:pt x="294" y="77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369D0E3D-CDB5-4A80-B41F-63D78CF59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26" y="4087813"/>
              <a:ext cx="260350" cy="260350"/>
            </a:xfrm>
            <a:prstGeom prst="ellipse">
              <a:avLst/>
            </a:pr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18F18F9-A0D7-43D0-A395-7875E4E241A8}"/>
              </a:ext>
            </a:extLst>
          </p:cNvPr>
          <p:cNvGrpSpPr/>
          <p:nvPr/>
        </p:nvGrpSpPr>
        <p:grpSpPr>
          <a:xfrm>
            <a:off x="6287519" y="1799224"/>
            <a:ext cx="299132" cy="299132"/>
            <a:chOff x="3390900" y="1803400"/>
            <a:chExt cx="361950" cy="361950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1" name="Freeform 30">
              <a:extLst>
                <a:ext uri="{FF2B5EF4-FFF2-40B4-BE49-F238E27FC236}">
                  <a16:creationId xmlns:a16="http://schemas.microsoft.com/office/drawing/2014/main" id="{31A23FF9-0E47-45EA-9178-F287ECC42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2" name="Freeform 31">
              <a:extLst>
                <a:ext uri="{FF2B5EF4-FFF2-40B4-BE49-F238E27FC236}">
                  <a16:creationId xmlns:a16="http://schemas.microsoft.com/office/drawing/2014/main" id="{415730EB-0EC6-4647-A8C7-689853E9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9 w 76"/>
                <a:gd name="T27" fmla="*/ 8 h 36"/>
                <a:gd name="T28" fmla="*/ 28 w 76"/>
                <a:gd name="T29" fmla="*/ 8 h 36"/>
                <a:gd name="T30" fmla="*/ 27 w 76"/>
                <a:gd name="T31" fmla="*/ 7 h 36"/>
                <a:gd name="T32" fmla="*/ 10 w 76"/>
                <a:gd name="T33" fmla="*/ 0 h 36"/>
                <a:gd name="T34" fmla="*/ 2 w 76"/>
                <a:gd name="T35" fmla="*/ 0 h 36"/>
                <a:gd name="T36" fmla="*/ 0 w 76"/>
                <a:gd name="T37" fmla="*/ 2 h 36"/>
                <a:gd name="T38" fmla="*/ 0 w 76"/>
                <a:gd name="T39" fmla="*/ 24 h 36"/>
                <a:gd name="T40" fmla="*/ 1 w 76"/>
                <a:gd name="T41" fmla="*/ 26 h 36"/>
                <a:gd name="T42" fmla="*/ 17 w 76"/>
                <a:gd name="T43" fmla="*/ 31 h 36"/>
                <a:gd name="T44" fmla="*/ 33 w 76"/>
                <a:gd name="T45" fmla="*/ 36 h 36"/>
                <a:gd name="T46" fmla="*/ 51 w 76"/>
                <a:gd name="T47" fmla="*/ 29 h 36"/>
                <a:gd name="T48" fmla="*/ 75 w 76"/>
                <a:gd name="T49" fmla="*/ 16 h 36"/>
                <a:gd name="T50" fmla="*/ 76 w 76"/>
                <a:gd name="T51" fmla="*/ 14 h 36"/>
                <a:gd name="T52" fmla="*/ 75 w 76"/>
                <a:gd name="T53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3" name="Freeform 32">
              <a:extLst>
                <a:ext uri="{FF2B5EF4-FFF2-40B4-BE49-F238E27FC236}">
                  <a16:creationId xmlns:a16="http://schemas.microsoft.com/office/drawing/2014/main" id="{0A62A17B-2909-4F8F-990A-2CF6F7AF6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1803400"/>
              <a:ext cx="273050" cy="233363"/>
            </a:xfrm>
            <a:custGeom>
              <a:avLst/>
              <a:gdLst>
                <a:gd name="T0" fmla="*/ 21 w 73"/>
                <a:gd name="T1" fmla="*/ 45 h 62"/>
                <a:gd name="T2" fmla="*/ 29 w 73"/>
                <a:gd name="T3" fmla="*/ 40 h 62"/>
                <a:gd name="T4" fmla="*/ 36 w 73"/>
                <a:gd name="T5" fmla="*/ 59 h 62"/>
                <a:gd name="T6" fmla="*/ 40 w 73"/>
                <a:gd name="T7" fmla="*/ 62 h 62"/>
                <a:gd name="T8" fmla="*/ 44 w 73"/>
                <a:gd name="T9" fmla="*/ 59 h 62"/>
                <a:gd name="T10" fmla="*/ 49 w 73"/>
                <a:gd name="T11" fmla="*/ 49 h 62"/>
                <a:gd name="T12" fmla="*/ 56 w 73"/>
                <a:gd name="T13" fmla="*/ 53 h 62"/>
                <a:gd name="T14" fmla="*/ 56 w 73"/>
                <a:gd name="T15" fmla="*/ 53 h 62"/>
                <a:gd name="T16" fmla="*/ 65 w 73"/>
                <a:gd name="T17" fmla="*/ 48 h 62"/>
                <a:gd name="T18" fmla="*/ 69 w 73"/>
                <a:gd name="T19" fmla="*/ 21 h 62"/>
                <a:gd name="T20" fmla="*/ 68 w 73"/>
                <a:gd name="T21" fmla="*/ 20 h 62"/>
                <a:gd name="T22" fmla="*/ 66 w 73"/>
                <a:gd name="T23" fmla="*/ 20 h 62"/>
                <a:gd name="T24" fmla="*/ 56 w 73"/>
                <a:gd name="T25" fmla="*/ 24 h 62"/>
                <a:gd name="T26" fmla="*/ 47 w 73"/>
                <a:gd name="T27" fmla="*/ 28 h 62"/>
                <a:gd name="T28" fmla="*/ 41 w 73"/>
                <a:gd name="T29" fmla="*/ 37 h 62"/>
                <a:gd name="T30" fmla="*/ 44 w 73"/>
                <a:gd name="T31" fmla="*/ 43 h 62"/>
                <a:gd name="T32" fmla="*/ 41 w 73"/>
                <a:gd name="T33" fmla="*/ 47 h 62"/>
                <a:gd name="T34" fmla="*/ 35 w 73"/>
                <a:gd name="T35" fmla="*/ 35 h 62"/>
                <a:gd name="T36" fmla="*/ 40 w 73"/>
                <a:gd name="T37" fmla="*/ 27 h 62"/>
                <a:gd name="T38" fmla="*/ 36 w 73"/>
                <a:gd name="T39" fmla="*/ 14 h 62"/>
                <a:gd name="T40" fmla="*/ 22 w 73"/>
                <a:gd name="T41" fmla="*/ 7 h 62"/>
                <a:gd name="T42" fmla="*/ 8 w 73"/>
                <a:gd name="T43" fmla="*/ 0 h 62"/>
                <a:gd name="T44" fmla="*/ 6 w 73"/>
                <a:gd name="T45" fmla="*/ 0 h 62"/>
                <a:gd name="T46" fmla="*/ 5 w 73"/>
                <a:gd name="T47" fmla="*/ 1 h 62"/>
                <a:gd name="T48" fmla="*/ 8 w 73"/>
                <a:gd name="T49" fmla="*/ 38 h 62"/>
                <a:gd name="T50" fmla="*/ 21 w 73"/>
                <a:gd name="T51" fmla="*/ 45 h 62"/>
                <a:gd name="T52" fmla="*/ 14 w 73"/>
                <a:gd name="T53" fmla="*/ 15 h 62"/>
                <a:gd name="T54" fmla="*/ 17 w 73"/>
                <a:gd name="T55" fmla="*/ 15 h 62"/>
                <a:gd name="T56" fmla="*/ 33 w 73"/>
                <a:gd name="T57" fmla="*/ 36 h 62"/>
                <a:gd name="T58" fmla="*/ 33 w 73"/>
                <a:gd name="T59" fmla="*/ 36 h 62"/>
                <a:gd name="T60" fmla="*/ 40 w 73"/>
                <a:gd name="T61" fmla="*/ 52 h 62"/>
                <a:gd name="T62" fmla="*/ 57 w 73"/>
                <a:gd name="T63" fmla="*/ 34 h 62"/>
                <a:gd name="T64" fmla="*/ 60 w 73"/>
                <a:gd name="T65" fmla="*/ 35 h 62"/>
                <a:gd name="T66" fmla="*/ 59 w 73"/>
                <a:gd name="T67" fmla="*/ 38 h 62"/>
                <a:gd name="T68" fmla="*/ 42 w 73"/>
                <a:gd name="T69" fmla="*/ 58 h 62"/>
                <a:gd name="T70" fmla="*/ 42 w 73"/>
                <a:gd name="T71" fmla="*/ 58 h 62"/>
                <a:gd name="T72" fmla="*/ 38 w 73"/>
                <a:gd name="T73" fmla="*/ 58 h 62"/>
                <a:gd name="T74" fmla="*/ 30 w 73"/>
                <a:gd name="T75" fmla="*/ 39 h 62"/>
                <a:gd name="T76" fmla="*/ 30 w 73"/>
                <a:gd name="T77" fmla="*/ 39 h 62"/>
                <a:gd name="T78" fmla="*/ 14 w 73"/>
                <a:gd name="T79" fmla="*/ 18 h 62"/>
                <a:gd name="T80" fmla="*/ 14 w 73"/>
                <a:gd name="T81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" h="62">
                  <a:moveTo>
                    <a:pt x="21" y="45"/>
                  </a:moveTo>
                  <a:cubicBezTo>
                    <a:pt x="24" y="45"/>
                    <a:pt x="27" y="43"/>
                    <a:pt x="29" y="40"/>
                  </a:cubicBezTo>
                  <a:cubicBezTo>
                    <a:pt x="34" y="50"/>
                    <a:pt x="36" y="58"/>
                    <a:pt x="36" y="59"/>
                  </a:cubicBezTo>
                  <a:cubicBezTo>
                    <a:pt x="36" y="60"/>
                    <a:pt x="38" y="62"/>
                    <a:pt x="40" y="62"/>
                  </a:cubicBezTo>
                  <a:cubicBezTo>
                    <a:pt x="42" y="62"/>
                    <a:pt x="43" y="61"/>
                    <a:pt x="44" y="59"/>
                  </a:cubicBezTo>
                  <a:cubicBezTo>
                    <a:pt x="44" y="59"/>
                    <a:pt x="46" y="54"/>
                    <a:pt x="49" y="49"/>
                  </a:cubicBezTo>
                  <a:cubicBezTo>
                    <a:pt x="51" y="52"/>
                    <a:pt x="54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3"/>
                    <a:pt x="62" y="51"/>
                    <a:pt x="65" y="48"/>
                  </a:cubicBezTo>
                  <a:cubicBezTo>
                    <a:pt x="70" y="43"/>
                    <a:pt x="73" y="29"/>
                    <a:pt x="69" y="21"/>
                  </a:cubicBezTo>
                  <a:cubicBezTo>
                    <a:pt x="69" y="20"/>
                    <a:pt x="68" y="20"/>
                    <a:pt x="68" y="20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3" y="23"/>
                    <a:pt x="59" y="24"/>
                    <a:pt x="56" y="24"/>
                  </a:cubicBezTo>
                  <a:cubicBezTo>
                    <a:pt x="53" y="25"/>
                    <a:pt x="50" y="26"/>
                    <a:pt x="47" y="28"/>
                  </a:cubicBezTo>
                  <a:cubicBezTo>
                    <a:pt x="43" y="30"/>
                    <a:pt x="41" y="34"/>
                    <a:pt x="41" y="37"/>
                  </a:cubicBezTo>
                  <a:cubicBezTo>
                    <a:pt x="41" y="38"/>
                    <a:pt x="42" y="41"/>
                    <a:pt x="44" y="43"/>
                  </a:cubicBezTo>
                  <a:cubicBezTo>
                    <a:pt x="43" y="44"/>
                    <a:pt x="42" y="46"/>
                    <a:pt x="41" y="47"/>
                  </a:cubicBezTo>
                  <a:cubicBezTo>
                    <a:pt x="39" y="43"/>
                    <a:pt x="37" y="39"/>
                    <a:pt x="35" y="35"/>
                  </a:cubicBezTo>
                  <a:cubicBezTo>
                    <a:pt x="38" y="33"/>
                    <a:pt x="40" y="30"/>
                    <a:pt x="40" y="27"/>
                  </a:cubicBezTo>
                  <a:cubicBezTo>
                    <a:pt x="41" y="23"/>
                    <a:pt x="40" y="19"/>
                    <a:pt x="36" y="14"/>
                  </a:cubicBezTo>
                  <a:cubicBezTo>
                    <a:pt x="32" y="10"/>
                    <a:pt x="27" y="8"/>
                    <a:pt x="22" y="7"/>
                  </a:cubicBezTo>
                  <a:cubicBezTo>
                    <a:pt x="17" y="5"/>
                    <a:pt x="12" y="4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0" y="12"/>
                    <a:pt x="2" y="30"/>
                    <a:pt x="8" y="38"/>
                  </a:cubicBezTo>
                  <a:cubicBezTo>
                    <a:pt x="11" y="41"/>
                    <a:pt x="16" y="45"/>
                    <a:pt x="21" y="45"/>
                  </a:cubicBezTo>
                  <a:close/>
                  <a:moveTo>
                    <a:pt x="14" y="15"/>
                  </a:moveTo>
                  <a:cubicBezTo>
                    <a:pt x="14" y="14"/>
                    <a:pt x="15" y="14"/>
                    <a:pt x="17" y="15"/>
                  </a:cubicBezTo>
                  <a:cubicBezTo>
                    <a:pt x="23" y="21"/>
                    <a:pt x="29" y="28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7" y="42"/>
                    <a:pt x="39" y="47"/>
                    <a:pt x="40" y="52"/>
                  </a:cubicBezTo>
                  <a:cubicBezTo>
                    <a:pt x="45" y="45"/>
                    <a:pt x="50" y="38"/>
                    <a:pt x="57" y="34"/>
                  </a:cubicBezTo>
                  <a:cubicBezTo>
                    <a:pt x="58" y="33"/>
                    <a:pt x="59" y="34"/>
                    <a:pt x="60" y="35"/>
                  </a:cubicBezTo>
                  <a:cubicBezTo>
                    <a:pt x="60" y="36"/>
                    <a:pt x="60" y="37"/>
                    <a:pt x="59" y="38"/>
                  </a:cubicBezTo>
                  <a:cubicBezTo>
                    <a:pt x="50" y="42"/>
                    <a:pt x="44" y="53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60"/>
                    <a:pt x="39" y="60"/>
                    <a:pt x="38" y="58"/>
                  </a:cubicBezTo>
                  <a:cubicBezTo>
                    <a:pt x="37" y="54"/>
                    <a:pt x="36" y="4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6" y="32"/>
                    <a:pt x="21" y="24"/>
                    <a:pt x="14" y="18"/>
                  </a:cubicBezTo>
                  <a:cubicBezTo>
                    <a:pt x="13" y="17"/>
                    <a:pt x="13" y="16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23A6693E-A12F-4DEF-861F-5BCC3E67249A}"/>
              </a:ext>
            </a:extLst>
          </p:cNvPr>
          <p:cNvGrpSpPr/>
          <p:nvPr/>
        </p:nvGrpSpPr>
        <p:grpSpPr>
          <a:xfrm>
            <a:off x="6288175" y="3133927"/>
            <a:ext cx="297821" cy="274205"/>
            <a:chOff x="6680200" y="6508750"/>
            <a:chExt cx="360363" cy="33178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5" name="Freeform 5">
              <a:extLst>
                <a:ext uri="{FF2B5EF4-FFF2-40B4-BE49-F238E27FC236}">
                  <a16:creationId xmlns:a16="http://schemas.microsoft.com/office/drawing/2014/main" id="{283B7E35-7167-4855-9917-6159F8D17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508750"/>
              <a:ext cx="360363" cy="331788"/>
            </a:xfrm>
            <a:custGeom>
              <a:avLst/>
              <a:gdLst>
                <a:gd name="T0" fmla="*/ 95 w 96"/>
                <a:gd name="T1" fmla="*/ 36 h 88"/>
                <a:gd name="T2" fmla="*/ 95 w 96"/>
                <a:gd name="T3" fmla="*/ 33 h 88"/>
                <a:gd name="T4" fmla="*/ 93 w 96"/>
                <a:gd name="T5" fmla="*/ 33 h 88"/>
                <a:gd name="T6" fmla="*/ 80 w 96"/>
                <a:gd name="T7" fmla="*/ 48 h 88"/>
                <a:gd name="T8" fmla="*/ 80 w 96"/>
                <a:gd name="T9" fmla="*/ 54 h 88"/>
                <a:gd name="T10" fmla="*/ 80 w 96"/>
                <a:gd name="T11" fmla="*/ 66 h 88"/>
                <a:gd name="T12" fmla="*/ 80 w 96"/>
                <a:gd name="T13" fmla="*/ 78 h 88"/>
                <a:gd name="T14" fmla="*/ 74 w 96"/>
                <a:gd name="T15" fmla="*/ 84 h 88"/>
                <a:gd name="T16" fmla="*/ 68 w 96"/>
                <a:gd name="T17" fmla="*/ 78 h 88"/>
                <a:gd name="T18" fmla="*/ 68 w 96"/>
                <a:gd name="T19" fmla="*/ 24 h 88"/>
                <a:gd name="T20" fmla="*/ 60 w 96"/>
                <a:gd name="T21" fmla="*/ 16 h 88"/>
                <a:gd name="T22" fmla="*/ 56 w 96"/>
                <a:gd name="T23" fmla="*/ 16 h 88"/>
                <a:gd name="T24" fmla="*/ 56 w 96"/>
                <a:gd name="T25" fmla="*/ 2 h 88"/>
                <a:gd name="T26" fmla="*/ 54 w 96"/>
                <a:gd name="T27" fmla="*/ 0 h 88"/>
                <a:gd name="T28" fmla="*/ 2 w 96"/>
                <a:gd name="T29" fmla="*/ 0 h 88"/>
                <a:gd name="T30" fmla="*/ 0 w 96"/>
                <a:gd name="T31" fmla="*/ 2 h 88"/>
                <a:gd name="T32" fmla="*/ 0 w 96"/>
                <a:gd name="T33" fmla="*/ 32 h 88"/>
                <a:gd name="T34" fmla="*/ 56 w 96"/>
                <a:gd name="T35" fmla="*/ 32 h 88"/>
                <a:gd name="T36" fmla="*/ 56 w 96"/>
                <a:gd name="T37" fmla="*/ 20 h 88"/>
                <a:gd name="T38" fmla="*/ 60 w 96"/>
                <a:gd name="T39" fmla="*/ 20 h 88"/>
                <a:gd name="T40" fmla="*/ 64 w 96"/>
                <a:gd name="T41" fmla="*/ 24 h 88"/>
                <a:gd name="T42" fmla="*/ 64 w 96"/>
                <a:gd name="T43" fmla="*/ 78 h 88"/>
                <a:gd name="T44" fmla="*/ 74 w 96"/>
                <a:gd name="T45" fmla="*/ 88 h 88"/>
                <a:gd name="T46" fmla="*/ 84 w 96"/>
                <a:gd name="T47" fmla="*/ 78 h 88"/>
                <a:gd name="T48" fmla="*/ 84 w 96"/>
                <a:gd name="T49" fmla="*/ 67 h 88"/>
                <a:gd name="T50" fmla="*/ 91 w 96"/>
                <a:gd name="T51" fmla="*/ 64 h 88"/>
                <a:gd name="T52" fmla="*/ 92 w 96"/>
                <a:gd name="T53" fmla="*/ 62 h 88"/>
                <a:gd name="T54" fmla="*/ 92 w 96"/>
                <a:gd name="T55" fmla="*/ 54 h 88"/>
                <a:gd name="T56" fmla="*/ 90 w 96"/>
                <a:gd name="T57" fmla="*/ 52 h 88"/>
                <a:gd name="T58" fmla="*/ 84 w 96"/>
                <a:gd name="T59" fmla="*/ 52 h 88"/>
                <a:gd name="T60" fmla="*/ 84 w 96"/>
                <a:gd name="T61" fmla="*/ 48 h 88"/>
                <a:gd name="T62" fmla="*/ 95 w 96"/>
                <a:gd name="T63" fmla="*/ 36 h 88"/>
                <a:gd name="T64" fmla="*/ 48 w 96"/>
                <a:gd name="T65" fmla="*/ 26 h 88"/>
                <a:gd name="T66" fmla="*/ 46 w 96"/>
                <a:gd name="T67" fmla="*/ 28 h 88"/>
                <a:gd name="T68" fmla="*/ 10 w 96"/>
                <a:gd name="T69" fmla="*/ 28 h 88"/>
                <a:gd name="T70" fmla="*/ 8 w 96"/>
                <a:gd name="T71" fmla="*/ 26 h 88"/>
                <a:gd name="T72" fmla="*/ 8 w 96"/>
                <a:gd name="T73" fmla="*/ 10 h 88"/>
                <a:gd name="T74" fmla="*/ 10 w 96"/>
                <a:gd name="T75" fmla="*/ 8 h 88"/>
                <a:gd name="T76" fmla="*/ 46 w 96"/>
                <a:gd name="T77" fmla="*/ 8 h 88"/>
                <a:gd name="T78" fmla="*/ 48 w 96"/>
                <a:gd name="T79" fmla="*/ 10 h 88"/>
                <a:gd name="T80" fmla="*/ 48 w 96"/>
                <a:gd name="T81" fmla="*/ 2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88">
                  <a:moveTo>
                    <a:pt x="95" y="36"/>
                  </a:moveTo>
                  <a:cubicBezTo>
                    <a:pt x="96" y="35"/>
                    <a:pt x="96" y="34"/>
                    <a:pt x="95" y="33"/>
                  </a:cubicBezTo>
                  <a:cubicBezTo>
                    <a:pt x="95" y="32"/>
                    <a:pt x="93" y="32"/>
                    <a:pt x="93" y="33"/>
                  </a:cubicBezTo>
                  <a:cubicBezTo>
                    <a:pt x="88" y="37"/>
                    <a:pt x="80" y="44"/>
                    <a:pt x="80" y="48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81"/>
                    <a:pt x="77" y="84"/>
                    <a:pt x="74" y="84"/>
                  </a:cubicBezTo>
                  <a:cubicBezTo>
                    <a:pt x="71" y="84"/>
                    <a:pt x="68" y="81"/>
                    <a:pt x="68" y="78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0"/>
                    <a:pt x="64" y="16"/>
                    <a:pt x="60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2" y="20"/>
                    <a:pt x="64" y="22"/>
                    <a:pt x="64" y="24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84"/>
                    <a:pt x="68" y="88"/>
                    <a:pt x="74" y="88"/>
                  </a:cubicBezTo>
                  <a:cubicBezTo>
                    <a:pt x="80" y="88"/>
                    <a:pt x="84" y="84"/>
                    <a:pt x="84" y="78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2" y="63"/>
                    <a:pt x="92" y="63"/>
                    <a:pt x="92" y="62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6"/>
                    <a:pt x="90" y="40"/>
                    <a:pt x="95" y="36"/>
                  </a:cubicBezTo>
                  <a:close/>
                  <a:moveTo>
                    <a:pt x="48" y="26"/>
                  </a:moveTo>
                  <a:cubicBezTo>
                    <a:pt x="48" y="27"/>
                    <a:pt x="47" y="28"/>
                    <a:pt x="46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lnTo>
                    <a:pt x="48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6" name="Freeform 6">
              <a:extLst>
                <a:ext uri="{FF2B5EF4-FFF2-40B4-BE49-F238E27FC236}">
                  <a16:creationId xmlns:a16="http://schemas.microsoft.com/office/drawing/2014/main" id="{263443A7-EF4B-4B84-A373-3DA3DFC11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645275"/>
              <a:ext cx="211138" cy="195263"/>
            </a:xfrm>
            <a:custGeom>
              <a:avLst/>
              <a:gdLst>
                <a:gd name="T0" fmla="*/ 0 w 56"/>
                <a:gd name="T1" fmla="*/ 50 h 52"/>
                <a:gd name="T2" fmla="*/ 2 w 56"/>
                <a:gd name="T3" fmla="*/ 52 h 52"/>
                <a:gd name="T4" fmla="*/ 54 w 56"/>
                <a:gd name="T5" fmla="*/ 52 h 52"/>
                <a:gd name="T6" fmla="*/ 56 w 56"/>
                <a:gd name="T7" fmla="*/ 50 h 52"/>
                <a:gd name="T8" fmla="*/ 56 w 56"/>
                <a:gd name="T9" fmla="*/ 0 h 52"/>
                <a:gd name="T10" fmla="*/ 0 w 56"/>
                <a:gd name="T11" fmla="*/ 0 h 52"/>
                <a:gd name="T12" fmla="*/ 0 w 56"/>
                <a:gd name="T13" fmla="*/ 50 h 52"/>
                <a:gd name="T14" fmla="*/ 32 w 56"/>
                <a:gd name="T15" fmla="*/ 14 h 52"/>
                <a:gd name="T16" fmla="*/ 34 w 56"/>
                <a:gd name="T17" fmla="*/ 12 h 52"/>
                <a:gd name="T18" fmla="*/ 42 w 56"/>
                <a:gd name="T19" fmla="*/ 12 h 52"/>
                <a:gd name="T20" fmla="*/ 44 w 56"/>
                <a:gd name="T21" fmla="*/ 14 h 52"/>
                <a:gd name="T22" fmla="*/ 44 w 56"/>
                <a:gd name="T23" fmla="*/ 30 h 52"/>
                <a:gd name="T24" fmla="*/ 42 w 56"/>
                <a:gd name="T25" fmla="*/ 32 h 52"/>
                <a:gd name="T26" fmla="*/ 34 w 56"/>
                <a:gd name="T27" fmla="*/ 32 h 52"/>
                <a:gd name="T28" fmla="*/ 32 w 56"/>
                <a:gd name="T29" fmla="*/ 30 h 52"/>
                <a:gd name="T30" fmla="*/ 32 w 56"/>
                <a:gd name="T31" fmla="*/ 14 h 52"/>
                <a:gd name="T32" fmla="*/ 34 w 56"/>
                <a:gd name="T33" fmla="*/ 36 h 52"/>
                <a:gd name="T34" fmla="*/ 42 w 56"/>
                <a:gd name="T35" fmla="*/ 36 h 52"/>
                <a:gd name="T36" fmla="*/ 44 w 56"/>
                <a:gd name="T37" fmla="*/ 38 h 52"/>
                <a:gd name="T38" fmla="*/ 42 w 56"/>
                <a:gd name="T39" fmla="*/ 40 h 52"/>
                <a:gd name="T40" fmla="*/ 34 w 56"/>
                <a:gd name="T41" fmla="*/ 40 h 52"/>
                <a:gd name="T42" fmla="*/ 32 w 56"/>
                <a:gd name="T43" fmla="*/ 38 h 52"/>
                <a:gd name="T44" fmla="*/ 34 w 56"/>
                <a:gd name="T45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52">
                  <a:moveTo>
                    <a:pt x="0" y="50"/>
                  </a:moveTo>
                  <a:cubicBezTo>
                    <a:pt x="0" y="51"/>
                    <a:pt x="1" y="52"/>
                    <a:pt x="2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1"/>
                    <a:pt x="56" y="5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0"/>
                  </a:lnTo>
                  <a:close/>
                  <a:moveTo>
                    <a:pt x="32" y="14"/>
                  </a:moveTo>
                  <a:cubicBezTo>
                    <a:pt x="32" y="13"/>
                    <a:pt x="33" y="12"/>
                    <a:pt x="34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4" y="13"/>
                    <a:pt x="44" y="1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1"/>
                    <a:pt x="43" y="32"/>
                    <a:pt x="42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1"/>
                    <a:pt x="32" y="30"/>
                  </a:cubicBezTo>
                  <a:lnTo>
                    <a:pt x="32" y="14"/>
                  </a:lnTo>
                  <a:close/>
                  <a:moveTo>
                    <a:pt x="34" y="36"/>
                  </a:moveTo>
                  <a:cubicBezTo>
                    <a:pt x="42" y="36"/>
                    <a:pt x="42" y="36"/>
                    <a:pt x="42" y="36"/>
                  </a:cubicBezTo>
                  <a:cubicBezTo>
                    <a:pt x="43" y="36"/>
                    <a:pt x="44" y="37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7E0F361E-BB7E-44A3-B559-633136368F24}"/>
              </a:ext>
            </a:extLst>
          </p:cNvPr>
          <p:cNvGrpSpPr/>
          <p:nvPr/>
        </p:nvGrpSpPr>
        <p:grpSpPr>
          <a:xfrm>
            <a:off x="6288175" y="5772502"/>
            <a:ext cx="297821" cy="286013"/>
            <a:chOff x="8445500" y="1847850"/>
            <a:chExt cx="360363" cy="346075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8" name="Freeform 26">
              <a:extLst>
                <a:ext uri="{FF2B5EF4-FFF2-40B4-BE49-F238E27FC236}">
                  <a16:creationId xmlns:a16="http://schemas.microsoft.com/office/drawing/2014/main" id="{4947256B-AEFC-42CD-BD7A-2287BBCA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9" name="Freeform 27">
              <a:extLst>
                <a:ext uri="{FF2B5EF4-FFF2-40B4-BE49-F238E27FC236}">
                  <a16:creationId xmlns:a16="http://schemas.microsoft.com/office/drawing/2014/main" id="{D44AB5B2-210C-4C6E-9290-2A5FAF73D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0" name="Freeform 28">
              <a:extLst>
                <a:ext uri="{FF2B5EF4-FFF2-40B4-BE49-F238E27FC236}">
                  <a16:creationId xmlns:a16="http://schemas.microsoft.com/office/drawing/2014/main" id="{D1C6183F-A546-4926-89F0-FB9FB305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1" name="Freeform 200">
            <a:extLst>
              <a:ext uri="{FF2B5EF4-FFF2-40B4-BE49-F238E27FC236}">
                <a16:creationId xmlns:a16="http://schemas.microsoft.com/office/drawing/2014/main" id="{BFAD6A32-60AD-4389-93CD-0B530B4C5702}"/>
              </a:ext>
            </a:extLst>
          </p:cNvPr>
          <p:cNvSpPr>
            <a:spLocks noEditPoints="1"/>
          </p:cNvSpPr>
          <p:nvPr/>
        </p:nvSpPr>
        <p:spPr bwMode="auto">
          <a:xfrm>
            <a:off x="6298671" y="4465350"/>
            <a:ext cx="276829" cy="255837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581064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1C6B47D-AC61-41B8-AB1C-9C5C5A3290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5872" y="1088019"/>
            <a:ext cx="8708653" cy="820834"/>
          </a:xfrm>
          <a:prstGeom prst="rect">
            <a:avLst/>
          </a:prstGeom>
        </p:spPr>
      </p:pic>
      <p:sp>
        <p:nvSpPr>
          <p:cNvPr id="62" name="Title 1">
            <a:extLst>
              <a:ext uri="{FF2B5EF4-FFF2-40B4-BE49-F238E27FC236}">
                <a16:creationId xmlns:a16="http://schemas.microsoft.com/office/drawing/2014/main" id="{9DA5307B-4072-4AB2-BDC3-746940965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365126"/>
            <a:ext cx="11059886" cy="810532"/>
          </a:xfrm>
        </p:spPr>
        <p:txBody>
          <a:bodyPr>
            <a:normAutofit/>
          </a:bodyPr>
          <a:lstStyle/>
          <a:p>
            <a:r>
              <a:rPr lang="en-US" dirty="0"/>
              <a:t>Seasonal Model – Winter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F207AB5-BEC0-44DE-AC6E-C4F1D23A3342}"/>
              </a:ext>
            </a:extLst>
          </p:cNvPr>
          <p:cNvSpPr txBox="1">
            <a:spLocks/>
          </p:cNvSpPr>
          <p:nvPr/>
        </p:nvSpPr>
        <p:spPr>
          <a:xfrm>
            <a:off x="1591528" y="2410142"/>
            <a:ext cx="4205590" cy="57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dirty="0"/>
              <a:t>Grouping Hou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8BD279-5F07-4D4B-B1C7-79A84578DDD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1606" b="44563"/>
          <a:stretch/>
        </p:blipFill>
        <p:spPr>
          <a:xfrm>
            <a:off x="726880" y="3884013"/>
            <a:ext cx="5070238" cy="22603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FCC321-4B21-4EF3-ABD1-0659D66E4C2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3352"/>
          <a:stretch/>
        </p:blipFill>
        <p:spPr>
          <a:xfrm>
            <a:off x="726881" y="2982297"/>
            <a:ext cx="5070237" cy="73565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32C9CA-7A47-487E-9716-7EACC6A0575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59" r="34509" b="43946"/>
          <a:stretch/>
        </p:blipFill>
        <p:spPr>
          <a:xfrm>
            <a:off x="6700036" y="3876608"/>
            <a:ext cx="4613426" cy="226775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A27BAD9-D98E-49F3-98B7-C4F050F700A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449" b="4844"/>
          <a:stretch/>
        </p:blipFill>
        <p:spPr>
          <a:xfrm>
            <a:off x="6700036" y="2949401"/>
            <a:ext cx="4676307" cy="47235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59FBDB04-5AE3-456D-A8AF-E29A341B9162}"/>
              </a:ext>
            </a:extLst>
          </p:cNvPr>
          <p:cNvSpPr txBox="1">
            <a:spLocks/>
          </p:cNvSpPr>
          <p:nvPr/>
        </p:nvSpPr>
        <p:spPr>
          <a:xfrm>
            <a:off x="6700036" y="2410142"/>
            <a:ext cx="4676307" cy="57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Not Grouping Hour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36FCB63-7AB4-48BB-8F6D-48586840AA84}"/>
              </a:ext>
            </a:extLst>
          </p:cNvPr>
          <p:cNvSpPr txBox="1">
            <a:spLocks/>
          </p:cNvSpPr>
          <p:nvPr/>
        </p:nvSpPr>
        <p:spPr>
          <a:xfrm>
            <a:off x="5990677" y="2652909"/>
            <a:ext cx="519045" cy="280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V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9646C4-8456-4E33-8AE1-76EECA40446D}"/>
              </a:ext>
            </a:extLst>
          </p:cNvPr>
          <p:cNvSpPr/>
          <p:nvPr/>
        </p:nvSpPr>
        <p:spPr>
          <a:xfrm>
            <a:off x="3675355" y="4145872"/>
            <a:ext cx="861134" cy="433601"/>
          </a:xfrm>
          <a:custGeom>
            <a:avLst/>
            <a:gdLst>
              <a:gd name="connsiteX0" fmla="*/ 0 w 861134"/>
              <a:gd name="connsiteY0" fmla="*/ 0 h 433601"/>
              <a:gd name="connsiteX1" fmla="*/ 421956 w 861134"/>
              <a:gd name="connsiteY1" fmla="*/ 0 h 433601"/>
              <a:gd name="connsiteX2" fmla="*/ 861134 w 861134"/>
              <a:gd name="connsiteY2" fmla="*/ 0 h 433601"/>
              <a:gd name="connsiteX3" fmla="*/ 861134 w 861134"/>
              <a:gd name="connsiteY3" fmla="*/ 433601 h 433601"/>
              <a:gd name="connsiteX4" fmla="*/ 430567 w 861134"/>
              <a:gd name="connsiteY4" fmla="*/ 433601 h 433601"/>
              <a:gd name="connsiteX5" fmla="*/ 0 w 861134"/>
              <a:gd name="connsiteY5" fmla="*/ 433601 h 433601"/>
              <a:gd name="connsiteX6" fmla="*/ 0 w 861134"/>
              <a:gd name="connsiteY6" fmla="*/ 0 h 4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1134" h="433601" extrusionOk="0">
                <a:moveTo>
                  <a:pt x="0" y="0"/>
                </a:moveTo>
                <a:cubicBezTo>
                  <a:pt x="99455" y="-40968"/>
                  <a:pt x="293157" y="49302"/>
                  <a:pt x="421956" y="0"/>
                </a:cubicBezTo>
                <a:cubicBezTo>
                  <a:pt x="550755" y="-49302"/>
                  <a:pt x="663749" y="34679"/>
                  <a:pt x="861134" y="0"/>
                </a:cubicBezTo>
                <a:cubicBezTo>
                  <a:pt x="862463" y="165724"/>
                  <a:pt x="818481" y="283966"/>
                  <a:pt x="861134" y="433601"/>
                </a:cubicBezTo>
                <a:cubicBezTo>
                  <a:pt x="712625" y="473454"/>
                  <a:pt x="555150" y="431716"/>
                  <a:pt x="430567" y="433601"/>
                </a:cubicBezTo>
                <a:cubicBezTo>
                  <a:pt x="305984" y="435486"/>
                  <a:pt x="193450" y="419322"/>
                  <a:pt x="0" y="433601"/>
                </a:cubicBezTo>
                <a:cubicBezTo>
                  <a:pt x="-9373" y="340690"/>
                  <a:pt x="2114" y="104599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785B0BF-5849-41F0-9191-A3B80A24BC38}"/>
              </a:ext>
            </a:extLst>
          </p:cNvPr>
          <p:cNvSpPr/>
          <p:nvPr/>
        </p:nvSpPr>
        <p:spPr>
          <a:xfrm>
            <a:off x="9392575" y="4145872"/>
            <a:ext cx="853734" cy="433601"/>
          </a:xfrm>
          <a:custGeom>
            <a:avLst/>
            <a:gdLst>
              <a:gd name="connsiteX0" fmla="*/ 0 w 853734"/>
              <a:gd name="connsiteY0" fmla="*/ 0 h 433601"/>
              <a:gd name="connsiteX1" fmla="*/ 418330 w 853734"/>
              <a:gd name="connsiteY1" fmla="*/ 0 h 433601"/>
              <a:gd name="connsiteX2" fmla="*/ 853734 w 853734"/>
              <a:gd name="connsiteY2" fmla="*/ 0 h 433601"/>
              <a:gd name="connsiteX3" fmla="*/ 853734 w 853734"/>
              <a:gd name="connsiteY3" fmla="*/ 433601 h 433601"/>
              <a:gd name="connsiteX4" fmla="*/ 426867 w 853734"/>
              <a:gd name="connsiteY4" fmla="*/ 433601 h 433601"/>
              <a:gd name="connsiteX5" fmla="*/ 0 w 853734"/>
              <a:gd name="connsiteY5" fmla="*/ 433601 h 433601"/>
              <a:gd name="connsiteX6" fmla="*/ 0 w 853734"/>
              <a:gd name="connsiteY6" fmla="*/ 0 h 433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3734" h="433601" extrusionOk="0">
                <a:moveTo>
                  <a:pt x="0" y="0"/>
                </a:moveTo>
                <a:cubicBezTo>
                  <a:pt x="149966" y="-38486"/>
                  <a:pt x="218934" y="38916"/>
                  <a:pt x="418330" y="0"/>
                </a:cubicBezTo>
                <a:cubicBezTo>
                  <a:pt x="617726" y="-38916"/>
                  <a:pt x="729944" y="50917"/>
                  <a:pt x="853734" y="0"/>
                </a:cubicBezTo>
                <a:cubicBezTo>
                  <a:pt x="855063" y="165724"/>
                  <a:pt x="811081" y="283966"/>
                  <a:pt x="853734" y="433601"/>
                </a:cubicBezTo>
                <a:cubicBezTo>
                  <a:pt x="695767" y="476192"/>
                  <a:pt x="587011" y="419223"/>
                  <a:pt x="426867" y="433601"/>
                </a:cubicBezTo>
                <a:cubicBezTo>
                  <a:pt x="266723" y="447979"/>
                  <a:pt x="135851" y="391164"/>
                  <a:pt x="0" y="433601"/>
                </a:cubicBezTo>
                <a:cubicBezTo>
                  <a:pt x="-9373" y="340690"/>
                  <a:pt x="2114" y="104599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A526FB-88D8-4C6F-AF6F-39EB8137C46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AC3BBE9-4782-491D-A1A2-01FC9981AB8D}"/>
              </a:ext>
            </a:extLst>
          </p:cNvPr>
          <p:cNvSpPr/>
          <p:nvPr/>
        </p:nvSpPr>
        <p:spPr>
          <a:xfrm>
            <a:off x="697189" y="2986408"/>
            <a:ext cx="5099929" cy="3166834"/>
          </a:xfrm>
          <a:prstGeom prst="rect">
            <a:avLst/>
          </a:prstGeom>
          <a:noFill/>
          <a:ln w="19050">
            <a:solidFill>
              <a:srgbClr val="4EC9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36B7CD-B195-437D-A2AD-47F5EF6775E5}"/>
              </a:ext>
            </a:extLst>
          </p:cNvPr>
          <p:cNvSpPr/>
          <p:nvPr/>
        </p:nvSpPr>
        <p:spPr>
          <a:xfrm>
            <a:off x="6700037" y="2977529"/>
            <a:ext cx="4613426" cy="3166834"/>
          </a:xfrm>
          <a:prstGeom prst="rect">
            <a:avLst/>
          </a:prstGeom>
          <a:noFill/>
          <a:ln w="19050">
            <a:solidFill>
              <a:srgbClr val="4EC9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 descr="Snowflake">
            <a:extLst>
              <a:ext uri="{FF2B5EF4-FFF2-40B4-BE49-F238E27FC236}">
                <a16:creationId xmlns:a16="http://schemas.microsoft.com/office/drawing/2014/main" id="{56FB06A6-AC29-44D8-9E93-F51E57E112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02356" y="384835"/>
            <a:ext cx="810532" cy="810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7017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sonal Model – Winter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332B15-017E-4749-A0B9-6229F9F126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1137"/>
          <a:stretch/>
        </p:blipFill>
        <p:spPr>
          <a:xfrm>
            <a:off x="1621609" y="1293296"/>
            <a:ext cx="3991887" cy="42714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481F2F-1087-466C-80A0-9063BC282B5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2" r="44287"/>
          <a:stretch/>
        </p:blipFill>
        <p:spPr>
          <a:xfrm>
            <a:off x="5786216" y="1293296"/>
            <a:ext cx="5529899" cy="4271408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D1C75C3-3B3A-4C13-B106-08A3558974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EFA239C-4D55-419D-A4F1-D4FBD12B0BAA}"/>
              </a:ext>
            </a:extLst>
          </p:cNvPr>
          <p:cNvSpPr/>
          <p:nvPr/>
        </p:nvSpPr>
        <p:spPr>
          <a:xfrm>
            <a:off x="3373513" y="4900475"/>
            <a:ext cx="1074199" cy="363984"/>
          </a:xfrm>
          <a:custGeom>
            <a:avLst/>
            <a:gdLst>
              <a:gd name="connsiteX0" fmla="*/ 0 w 1074199"/>
              <a:gd name="connsiteY0" fmla="*/ 0 h 363984"/>
              <a:gd name="connsiteX1" fmla="*/ 526358 w 1074199"/>
              <a:gd name="connsiteY1" fmla="*/ 0 h 363984"/>
              <a:gd name="connsiteX2" fmla="*/ 1074199 w 1074199"/>
              <a:gd name="connsiteY2" fmla="*/ 0 h 363984"/>
              <a:gd name="connsiteX3" fmla="*/ 1074199 w 1074199"/>
              <a:gd name="connsiteY3" fmla="*/ 363984 h 363984"/>
              <a:gd name="connsiteX4" fmla="*/ 537100 w 1074199"/>
              <a:gd name="connsiteY4" fmla="*/ 363984 h 363984"/>
              <a:gd name="connsiteX5" fmla="*/ 0 w 1074199"/>
              <a:gd name="connsiteY5" fmla="*/ 363984 h 363984"/>
              <a:gd name="connsiteX6" fmla="*/ 0 w 1074199"/>
              <a:gd name="connsiteY6" fmla="*/ 0 h 363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74199" h="363984" extrusionOk="0">
                <a:moveTo>
                  <a:pt x="0" y="0"/>
                </a:moveTo>
                <a:cubicBezTo>
                  <a:pt x="105580" y="-27110"/>
                  <a:pt x="408818" y="3224"/>
                  <a:pt x="526358" y="0"/>
                </a:cubicBezTo>
                <a:cubicBezTo>
                  <a:pt x="643898" y="-3224"/>
                  <a:pt x="910989" y="10637"/>
                  <a:pt x="1074199" y="0"/>
                </a:cubicBezTo>
                <a:cubicBezTo>
                  <a:pt x="1091182" y="125740"/>
                  <a:pt x="1068628" y="283725"/>
                  <a:pt x="1074199" y="363984"/>
                </a:cubicBezTo>
                <a:cubicBezTo>
                  <a:pt x="868286" y="388895"/>
                  <a:pt x="689449" y="342265"/>
                  <a:pt x="537100" y="363984"/>
                </a:cubicBezTo>
                <a:cubicBezTo>
                  <a:pt x="384751" y="385703"/>
                  <a:pt x="186142" y="310858"/>
                  <a:pt x="0" y="363984"/>
                </a:cubicBezTo>
                <a:cubicBezTo>
                  <a:pt x="-25006" y="211811"/>
                  <a:pt x="4652" y="108332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641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sonal Model – Winter – Testing Data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23DFF2-13C3-44E6-A775-F985F8612C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270" y="1031557"/>
            <a:ext cx="10553700" cy="503872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44B583-9937-442A-B684-BC703731493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F866ACC-6A75-4B12-ACB5-314E67AEEC14}"/>
              </a:ext>
            </a:extLst>
          </p:cNvPr>
          <p:cNvSpPr/>
          <p:nvPr/>
        </p:nvSpPr>
        <p:spPr>
          <a:xfrm>
            <a:off x="4021584" y="1526959"/>
            <a:ext cx="1145219" cy="594805"/>
          </a:xfrm>
          <a:custGeom>
            <a:avLst/>
            <a:gdLst>
              <a:gd name="connsiteX0" fmla="*/ 0 w 1145219"/>
              <a:gd name="connsiteY0" fmla="*/ 0 h 594805"/>
              <a:gd name="connsiteX1" fmla="*/ 561157 w 1145219"/>
              <a:gd name="connsiteY1" fmla="*/ 0 h 594805"/>
              <a:gd name="connsiteX2" fmla="*/ 1145219 w 1145219"/>
              <a:gd name="connsiteY2" fmla="*/ 0 h 594805"/>
              <a:gd name="connsiteX3" fmla="*/ 1145219 w 1145219"/>
              <a:gd name="connsiteY3" fmla="*/ 594805 h 594805"/>
              <a:gd name="connsiteX4" fmla="*/ 572610 w 1145219"/>
              <a:gd name="connsiteY4" fmla="*/ 594805 h 594805"/>
              <a:gd name="connsiteX5" fmla="*/ 0 w 1145219"/>
              <a:gd name="connsiteY5" fmla="*/ 594805 h 594805"/>
              <a:gd name="connsiteX6" fmla="*/ 0 w 1145219"/>
              <a:gd name="connsiteY6" fmla="*/ 0 h 594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5219" h="594805" extrusionOk="0">
                <a:moveTo>
                  <a:pt x="0" y="0"/>
                </a:moveTo>
                <a:cubicBezTo>
                  <a:pt x="186505" y="-47607"/>
                  <a:pt x="382276" y="59878"/>
                  <a:pt x="561157" y="0"/>
                </a:cubicBezTo>
                <a:cubicBezTo>
                  <a:pt x="740038" y="-59878"/>
                  <a:pt x="901472" y="37632"/>
                  <a:pt x="1145219" y="0"/>
                </a:cubicBezTo>
                <a:cubicBezTo>
                  <a:pt x="1174558" y="263110"/>
                  <a:pt x="1103585" y="298138"/>
                  <a:pt x="1145219" y="594805"/>
                </a:cubicBezTo>
                <a:cubicBezTo>
                  <a:pt x="861668" y="606509"/>
                  <a:pt x="809139" y="584475"/>
                  <a:pt x="572610" y="594805"/>
                </a:cubicBezTo>
                <a:cubicBezTo>
                  <a:pt x="336081" y="605135"/>
                  <a:pt x="215274" y="548189"/>
                  <a:pt x="0" y="594805"/>
                </a:cubicBezTo>
                <a:cubicBezTo>
                  <a:pt x="-882" y="371351"/>
                  <a:pt x="28406" y="198162"/>
                  <a:pt x="0" y="0"/>
                </a:cubicBezTo>
                <a:close/>
              </a:path>
            </a:pathLst>
          </a:custGeom>
          <a:noFill/>
          <a:ln w="38100">
            <a:solidFill>
              <a:srgbClr val="EF4B35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894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asonal Model – Winter – Feature Importance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5610C5-5897-4560-9384-BBCD45ACD9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930" r="23230"/>
          <a:stretch/>
        </p:blipFill>
        <p:spPr>
          <a:xfrm>
            <a:off x="788993" y="2522225"/>
            <a:ext cx="5009120" cy="2760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41AACF-03CA-40F1-A1B6-D2132221E42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93" t="6811" r="5888"/>
          <a:stretch/>
        </p:blipFill>
        <p:spPr>
          <a:xfrm>
            <a:off x="6646343" y="2522225"/>
            <a:ext cx="4934387" cy="27603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A232B0-24AF-4CA6-A5CF-CB2D1D5424F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CD07FAC-9443-4131-B600-67BD5F359F98}"/>
              </a:ext>
            </a:extLst>
          </p:cNvPr>
          <p:cNvSpPr txBox="1">
            <a:spLocks/>
          </p:cNvSpPr>
          <p:nvPr/>
        </p:nvSpPr>
        <p:spPr>
          <a:xfrm>
            <a:off x="1190758" y="1950071"/>
            <a:ext cx="4205590" cy="57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4EC9F0"/>
                </a:solidFill>
              </a:rPr>
              <a:t>Most Importan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E0B0B74-A333-4917-B519-795C1B6E8AAD}"/>
              </a:ext>
            </a:extLst>
          </p:cNvPr>
          <p:cNvSpPr txBox="1">
            <a:spLocks/>
          </p:cNvSpPr>
          <p:nvPr/>
        </p:nvSpPr>
        <p:spPr>
          <a:xfrm>
            <a:off x="7010741" y="1950070"/>
            <a:ext cx="4205590" cy="5721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4EC9F0"/>
                </a:solidFill>
              </a:rPr>
              <a:t>Least Importan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745732-B117-4077-8528-F87601E9E9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r="71485" b="93649"/>
          <a:stretch/>
        </p:blipFill>
        <p:spPr>
          <a:xfrm>
            <a:off x="2765409" y="6206691"/>
            <a:ext cx="3124912" cy="3461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3AD4E14-322C-4A3D-9B2C-989CF2B94E5C}"/>
              </a:ext>
            </a:extLst>
          </p:cNvPr>
          <p:cNvSpPr txBox="1">
            <a:spLocks/>
          </p:cNvSpPr>
          <p:nvPr/>
        </p:nvSpPr>
        <p:spPr>
          <a:xfrm>
            <a:off x="1347755" y="6282765"/>
            <a:ext cx="1571519" cy="2860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1600" dirty="0">
                <a:solidFill>
                  <a:srgbClr val="4EC9F0"/>
                </a:solidFill>
              </a:rPr>
              <a:t>Code used:</a:t>
            </a:r>
          </a:p>
        </p:txBody>
      </p:sp>
    </p:spTree>
    <p:extLst>
      <p:ext uri="{BB962C8B-B14F-4D97-AF65-F5344CB8AC3E}">
        <p14:creationId xmlns:p14="http://schemas.microsoft.com/office/powerpoint/2010/main" val="38196796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SONAL MODEL – WINTER – not binning Hours 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8C05B4-62D1-461D-8BD8-F80FB96F52C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383"/>
          <a:stretch/>
        </p:blipFill>
        <p:spPr>
          <a:xfrm>
            <a:off x="2175772" y="1220048"/>
            <a:ext cx="7973376" cy="1753842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D5F82AE-8B79-481C-B766-223452A31D0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098"/>
          <a:stretch/>
        </p:blipFill>
        <p:spPr>
          <a:xfrm>
            <a:off x="2175771" y="2973988"/>
            <a:ext cx="7973377" cy="3518886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42A5988-3549-446B-AC21-A9183C2C24FE}"/>
              </a:ext>
            </a:extLst>
          </p:cNvPr>
          <p:cNvSpPr/>
          <p:nvPr/>
        </p:nvSpPr>
        <p:spPr>
          <a:xfrm>
            <a:off x="4935984" y="3575758"/>
            <a:ext cx="470516" cy="20800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A423AC-9D4E-46AA-B740-1F26D1223DD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7737108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8D3934-8E4F-4DFD-9086-CB8692F47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asonal Models Comparison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A1CE391A-FE5E-4B3E-84A0-10518A6838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02854486"/>
              </p:ext>
            </p:extLst>
          </p:nvPr>
        </p:nvGraphicFramePr>
        <p:xfrm>
          <a:off x="774488" y="1449986"/>
          <a:ext cx="10643023" cy="267262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50492">
                  <a:extLst>
                    <a:ext uri="{9D8B030D-6E8A-4147-A177-3AD203B41FA5}">
                      <a16:colId xmlns:a16="http://schemas.microsoft.com/office/drawing/2014/main" val="1181257821"/>
                    </a:ext>
                  </a:extLst>
                </a:gridCol>
                <a:gridCol w="1484555">
                  <a:extLst>
                    <a:ext uri="{9D8B030D-6E8A-4147-A177-3AD203B41FA5}">
                      <a16:colId xmlns:a16="http://schemas.microsoft.com/office/drawing/2014/main" val="3680322245"/>
                    </a:ext>
                  </a:extLst>
                </a:gridCol>
                <a:gridCol w="1215614">
                  <a:extLst>
                    <a:ext uri="{9D8B030D-6E8A-4147-A177-3AD203B41FA5}">
                      <a16:colId xmlns:a16="http://schemas.microsoft.com/office/drawing/2014/main" val="4236833926"/>
                    </a:ext>
                  </a:extLst>
                </a:gridCol>
                <a:gridCol w="1107421">
                  <a:extLst>
                    <a:ext uri="{9D8B030D-6E8A-4147-A177-3AD203B41FA5}">
                      <a16:colId xmlns:a16="http://schemas.microsoft.com/office/drawing/2014/main" val="4209917094"/>
                    </a:ext>
                  </a:extLst>
                </a:gridCol>
                <a:gridCol w="1119412">
                  <a:extLst>
                    <a:ext uri="{9D8B030D-6E8A-4147-A177-3AD203B41FA5}">
                      <a16:colId xmlns:a16="http://schemas.microsoft.com/office/drawing/2014/main" val="35029588"/>
                    </a:ext>
                  </a:extLst>
                </a:gridCol>
                <a:gridCol w="849854">
                  <a:extLst>
                    <a:ext uri="{9D8B030D-6E8A-4147-A177-3AD203B41FA5}">
                      <a16:colId xmlns:a16="http://schemas.microsoft.com/office/drawing/2014/main" val="548561257"/>
                    </a:ext>
                  </a:extLst>
                </a:gridCol>
                <a:gridCol w="3415675">
                  <a:extLst>
                    <a:ext uri="{9D8B030D-6E8A-4147-A177-3AD203B41FA5}">
                      <a16:colId xmlns:a16="http://schemas.microsoft.com/office/drawing/2014/main" val="3138365339"/>
                    </a:ext>
                  </a:extLst>
                </a:gridCol>
              </a:tblGrid>
              <a:tr h="69841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easonal Models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st Model</a:t>
                      </a:r>
                    </a:p>
                    <a:p>
                      <a:pPr algn="ctr"/>
                      <a:r>
                        <a:rPr lang="en-US" dirty="0"/>
                        <a:t>Type 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MSE </a:t>
                      </a:r>
                    </a:p>
                    <a:p>
                      <a:pPr algn="ctr"/>
                      <a:r>
                        <a:rPr lang="en-US" dirty="0"/>
                        <a:t>from CV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^2 </a:t>
                      </a:r>
                    </a:p>
                    <a:p>
                      <a:pPr algn="ctr"/>
                      <a:r>
                        <a:rPr lang="en-US" dirty="0"/>
                        <a:t>from CV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est </a:t>
                      </a:r>
                    </a:p>
                    <a:p>
                      <a:pPr algn="ctr"/>
                      <a:r>
                        <a:rPr lang="en-US" dirty="0"/>
                        <a:t>RMSE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est </a:t>
                      </a:r>
                    </a:p>
                    <a:p>
                      <a:pPr algn="ctr"/>
                      <a:r>
                        <a:rPr lang="en-US" dirty="0"/>
                        <a:t>R^2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op 3 </a:t>
                      </a:r>
                    </a:p>
                    <a:p>
                      <a:pPr algn="ctr"/>
                      <a:r>
                        <a:rPr lang="en-US" dirty="0"/>
                        <a:t>Features</a:t>
                      </a:r>
                    </a:p>
                  </a:txBody>
                  <a:tcPr anchor="ctr">
                    <a:solidFill>
                      <a:srgbClr val="F16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6192658"/>
                  </a:ext>
                </a:extLst>
              </a:tr>
              <a:tr h="49355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inter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xgboost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57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77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54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79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our17, 2, 5 and 8</a:t>
                      </a:r>
                    </a:p>
                  </a:txBody>
                  <a:tcPr anchor="ctr">
                    <a:solidFill>
                      <a:srgbClr val="4EC9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822696"/>
                  </a:ext>
                </a:extLst>
              </a:tr>
              <a:tr h="49355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pring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ightgbm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5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4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3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5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umidity, Temperature, Wind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691610"/>
                  </a:ext>
                </a:extLst>
              </a:tr>
              <a:tr h="49355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mmer 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ightgbm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6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5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80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5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umidity, Temperature, Wind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629493"/>
                  </a:ext>
                </a:extLst>
              </a:tr>
              <a:tr h="493553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Fall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ightgbm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9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2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7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0.8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umidity, Temperature, Wind</a:t>
                      </a:r>
                    </a:p>
                  </a:txBody>
                  <a:tcPr anchor="ctr">
                    <a:solidFill>
                      <a:srgbClr val="D8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34372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0049F0-D64A-4C23-A36A-FBFB36491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8881DF-A57D-440C-AD5E-2A1472942E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1956553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8EA8E6A4-019B-48A2-A837-E44173F91CDC}"/>
              </a:ext>
            </a:extLst>
          </p:cNvPr>
          <p:cNvGrpSpPr/>
          <p:nvPr/>
        </p:nvGrpSpPr>
        <p:grpSpPr>
          <a:xfrm>
            <a:off x="378779" y="5150677"/>
            <a:ext cx="5989638" cy="1727201"/>
            <a:chOff x="1344273" y="4726718"/>
            <a:chExt cx="5989638" cy="1727201"/>
          </a:xfrm>
        </p:grpSpPr>
        <p:sp>
          <p:nvSpPr>
            <p:cNvPr id="67" name="Freeform 555">
              <a:extLst>
                <a:ext uri="{FF2B5EF4-FFF2-40B4-BE49-F238E27FC236}">
                  <a16:creationId xmlns:a16="http://schemas.microsoft.com/office/drawing/2014/main" id="{21F99A78-5331-4935-AF85-C406365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273" y="4726718"/>
              <a:ext cx="4805363" cy="1701800"/>
            </a:xfrm>
            <a:custGeom>
              <a:avLst/>
              <a:gdLst>
                <a:gd name="T0" fmla="*/ 1513 w 1733"/>
                <a:gd name="T1" fmla="*/ 498 h 613"/>
                <a:gd name="T2" fmla="*/ 1284 w 1733"/>
                <a:gd name="T3" fmla="*/ 389 h 613"/>
                <a:gd name="T4" fmla="*/ 1424 w 1733"/>
                <a:gd name="T5" fmla="*/ 253 h 613"/>
                <a:gd name="T6" fmla="*/ 1245 w 1733"/>
                <a:gd name="T7" fmla="*/ 359 h 613"/>
                <a:gd name="T8" fmla="*/ 1230 w 1733"/>
                <a:gd name="T9" fmla="*/ 349 h 613"/>
                <a:gd name="T10" fmla="*/ 1221 w 1733"/>
                <a:gd name="T11" fmla="*/ 209 h 613"/>
                <a:gd name="T12" fmla="*/ 1165 w 1733"/>
                <a:gd name="T13" fmla="*/ 323 h 613"/>
                <a:gd name="T14" fmla="*/ 859 w 1733"/>
                <a:gd name="T15" fmla="*/ 339 h 613"/>
                <a:gd name="T16" fmla="*/ 324 w 1733"/>
                <a:gd name="T17" fmla="*/ 167 h 613"/>
                <a:gd name="T18" fmla="*/ 242 w 1733"/>
                <a:gd name="T19" fmla="*/ 186 h 613"/>
                <a:gd name="T20" fmla="*/ 155 w 1733"/>
                <a:gd name="T21" fmla="*/ 1 h 613"/>
                <a:gd name="T22" fmla="*/ 179 w 1733"/>
                <a:gd name="T23" fmla="*/ 175 h 613"/>
                <a:gd name="T24" fmla="*/ 195 w 1733"/>
                <a:gd name="T25" fmla="*/ 213 h 613"/>
                <a:gd name="T26" fmla="*/ 172 w 1733"/>
                <a:gd name="T27" fmla="*/ 234 h 613"/>
                <a:gd name="T28" fmla="*/ 104 w 1733"/>
                <a:gd name="T29" fmla="*/ 126 h 613"/>
                <a:gd name="T30" fmla="*/ 51 w 1733"/>
                <a:gd name="T31" fmla="*/ 223 h 613"/>
                <a:gd name="T32" fmla="*/ 136 w 1733"/>
                <a:gd name="T33" fmla="*/ 284 h 613"/>
                <a:gd name="T34" fmla="*/ 147 w 1733"/>
                <a:gd name="T35" fmla="*/ 613 h 613"/>
                <a:gd name="T36" fmla="*/ 1733 w 1733"/>
                <a:gd name="T37" fmla="*/ 612 h 613"/>
                <a:gd name="T38" fmla="*/ 1513 w 1733"/>
                <a:gd name="T39" fmla="*/ 4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3" h="613">
                  <a:moveTo>
                    <a:pt x="1513" y="498"/>
                  </a:moveTo>
                  <a:cubicBezTo>
                    <a:pt x="1409" y="496"/>
                    <a:pt x="1345" y="438"/>
                    <a:pt x="1284" y="389"/>
                  </a:cubicBezTo>
                  <a:cubicBezTo>
                    <a:pt x="1372" y="346"/>
                    <a:pt x="1479" y="292"/>
                    <a:pt x="1424" y="253"/>
                  </a:cubicBezTo>
                  <a:cubicBezTo>
                    <a:pt x="1373" y="217"/>
                    <a:pt x="1298" y="292"/>
                    <a:pt x="1245" y="359"/>
                  </a:cubicBezTo>
                  <a:cubicBezTo>
                    <a:pt x="1240" y="356"/>
                    <a:pt x="1235" y="353"/>
                    <a:pt x="1230" y="349"/>
                  </a:cubicBezTo>
                  <a:cubicBezTo>
                    <a:pt x="1252" y="286"/>
                    <a:pt x="1264" y="220"/>
                    <a:pt x="1221" y="209"/>
                  </a:cubicBezTo>
                  <a:cubicBezTo>
                    <a:pt x="1179" y="197"/>
                    <a:pt x="1167" y="257"/>
                    <a:pt x="1165" y="323"/>
                  </a:cubicBezTo>
                  <a:cubicBezTo>
                    <a:pt x="1052" y="299"/>
                    <a:pt x="959" y="308"/>
                    <a:pt x="859" y="339"/>
                  </a:cubicBezTo>
                  <a:cubicBezTo>
                    <a:pt x="759" y="369"/>
                    <a:pt x="617" y="142"/>
                    <a:pt x="324" y="167"/>
                  </a:cubicBezTo>
                  <a:cubicBezTo>
                    <a:pt x="293" y="170"/>
                    <a:pt x="266" y="177"/>
                    <a:pt x="242" y="186"/>
                  </a:cubicBezTo>
                  <a:cubicBezTo>
                    <a:pt x="241" y="106"/>
                    <a:pt x="226" y="1"/>
                    <a:pt x="155" y="1"/>
                  </a:cubicBezTo>
                  <a:cubicBezTo>
                    <a:pt x="40" y="0"/>
                    <a:pt x="164" y="141"/>
                    <a:pt x="179" y="175"/>
                  </a:cubicBezTo>
                  <a:cubicBezTo>
                    <a:pt x="186" y="189"/>
                    <a:pt x="191" y="202"/>
                    <a:pt x="195" y="213"/>
                  </a:cubicBezTo>
                  <a:cubicBezTo>
                    <a:pt x="187" y="219"/>
                    <a:pt x="179" y="226"/>
                    <a:pt x="172" y="234"/>
                  </a:cubicBezTo>
                  <a:cubicBezTo>
                    <a:pt x="158" y="183"/>
                    <a:pt x="136" y="130"/>
                    <a:pt x="104" y="126"/>
                  </a:cubicBezTo>
                  <a:cubicBezTo>
                    <a:pt x="41" y="118"/>
                    <a:pt x="0" y="197"/>
                    <a:pt x="51" y="223"/>
                  </a:cubicBezTo>
                  <a:cubicBezTo>
                    <a:pt x="75" y="236"/>
                    <a:pt x="108" y="261"/>
                    <a:pt x="136" y="284"/>
                  </a:cubicBezTo>
                  <a:cubicBezTo>
                    <a:pt x="74" y="404"/>
                    <a:pt x="114" y="577"/>
                    <a:pt x="147" y="613"/>
                  </a:cubicBezTo>
                  <a:cubicBezTo>
                    <a:pt x="1733" y="612"/>
                    <a:pt x="1733" y="612"/>
                    <a:pt x="1733" y="612"/>
                  </a:cubicBezTo>
                  <a:cubicBezTo>
                    <a:pt x="1733" y="612"/>
                    <a:pt x="1681" y="501"/>
                    <a:pt x="1513" y="498"/>
                  </a:cubicBezTo>
                  <a:close/>
                </a:path>
              </a:pathLst>
            </a:custGeom>
            <a:solidFill>
              <a:srgbClr val="329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56">
              <a:extLst>
                <a:ext uri="{FF2B5EF4-FFF2-40B4-BE49-F238E27FC236}">
                  <a16:creationId xmlns:a16="http://schemas.microsoft.com/office/drawing/2014/main" id="{868B977D-3493-496E-B7BA-1F5C80DF7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548" y="6103081"/>
              <a:ext cx="5948363" cy="350838"/>
            </a:xfrm>
            <a:custGeom>
              <a:avLst/>
              <a:gdLst>
                <a:gd name="T0" fmla="*/ 0 w 2145"/>
                <a:gd name="T1" fmla="*/ 120 h 126"/>
                <a:gd name="T2" fmla="*/ 154 w 2145"/>
                <a:gd name="T3" fmla="*/ 65 h 126"/>
                <a:gd name="T4" fmla="*/ 400 w 2145"/>
                <a:gd name="T5" fmla="*/ 55 h 126"/>
                <a:gd name="T6" fmla="*/ 549 w 2145"/>
                <a:gd name="T7" fmla="*/ 60 h 126"/>
                <a:gd name="T8" fmla="*/ 823 w 2145"/>
                <a:gd name="T9" fmla="*/ 81 h 126"/>
                <a:gd name="T10" fmla="*/ 1230 w 2145"/>
                <a:gd name="T11" fmla="*/ 35 h 126"/>
                <a:gd name="T12" fmla="*/ 1649 w 2145"/>
                <a:gd name="T13" fmla="*/ 65 h 126"/>
                <a:gd name="T14" fmla="*/ 2145 w 2145"/>
                <a:gd name="T15" fmla="*/ 120 h 126"/>
                <a:gd name="T16" fmla="*/ 0 w 2145"/>
                <a:gd name="T17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26">
                  <a:moveTo>
                    <a:pt x="0" y="120"/>
                  </a:moveTo>
                  <a:cubicBezTo>
                    <a:pt x="0" y="120"/>
                    <a:pt x="27" y="45"/>
                    <a:pt x="154" y="65"/>
                  </a:cubicBezTo>
                  <a:cubicBezTo>
                    <a:pt x="281" y="85"/>
                    <a:pt x="337" y="71"/>
                    <a:pt x="400" y="55"/>
                  </a:cubicBezTo>
                  <a:cubicBezTo>
                    <a:pt x="462" y="39"/>
                    <a:pt x="489" y="38"/>
                    <a:pt x="549" y="60"/>
                  </a:cubicBezTo>
                  <a:cubicBezTo>
                    <a:pt x="608" y="81"/>
                    <a:pt x="629" y="126"/>
                    <a:pt x="823" y="81"/>
                  </a:cubicBezTo>
                  <a:cubicBezTo>
                    <a:pt x="1017" y="37"/>
                    <a:pt x="1109" y="0"/>
                    <a:pt x="1230" y="35"/>
                  </a:cubicBezTo>
                  <a:cubicBezTo>
                    <a:pt x="1351" y="69"/>
                    <a:pt x="1500" y="6"/>
                    <a:pt x="1649" y="65"/>
                  </a:cubicBezTo>
                  <a:cubicBezTo>
                    <a:pt x="1798" y="124"/>
                    <a:pt x="2028" y="21"/>
                    <a:pt x="2145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2CB1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7478199-D72C-4DBB-927B-4E8757F0C8DD}"/>
              </a:ext>
            </a:extLst>
          </p:cNvPr>
          <p:cNvSpPr/>
          <p:nvPr/>
        </p:nvSpPr>
        <p:spPr>
          <a:xfrm rot="16200000">
            <a:off x="6675498" y="-1192640"/>
            <a:ext cx="1822332" cy="921067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838FD-C1FD-40B9-9F72-2E8A22D6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646" y="3080300"/>
            <a:ext cx="6497654" cy="664797"/>
          </a:xfrm>
        </p:spPr>
        <p:txBody>
          <a:bodyPr wrap="square" lIns="0" tIns="0" rIns="0" bIns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Business Prediction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C08B7C-1DE1-47CA-BF19-F54C841E9520}"/>
              </a:ext>
            </a:extLst>
          </p:cNvPr>
          <p:cNvGrpSpPr/>
          <p:nvPr/>
        </p:nvGrpSpPr>
        <p:grpSpPr>
          <a:xfrm>
            <a:off x="622661" y="444097"/>
            <a:ext cx="3907292" cy="3623150"/>
            <a:chOff x="797607" y="1371600"/>
            <a:chExt cx="4869176" cy="451508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F2FE16D-0B15-45E7-BABD-4FA994DF9007}"/>
                </a:ext>
              </a:extLst>
            </p:cNvPr>
            <p:cNvGrpSpPr/>
            <p:nvPr/>
          </p:nvGrpSpPr>
          <p:grpSpPr>
            <a:xfrm>
              <a:off x="797607" y="1371600"/>
              <a:ext cx="4869176" cy="4515087"/>
              <a:chOff x="1021878" y="1817924"/>
              <a:chExt cx="4387850" cy="406876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A538A8CC-3F7C-45A9-9D32-23AB8F99A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21878" y="4394437"/>
                <a:ext cx="1490663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34EB672-18D7-4D01-AF56-9CCC6BF28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79028" y="4462699"/>
                <a:ext cx="1366838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8844B44-EEF2-47F5-82FF-41B38BB20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612428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2C4EE1-3FD1-4989-84F5-3CC31218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17478" y="4394437"/>
                <a:ext cx="1492250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D830B73-0D35-4E89-8A72-B20A890CD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85741" y="4462699"/>
                <a:ext cx="1365250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BA0E5DB-DFCF-4872-8E20-56C250043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19140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Line 14">
                <a:extLst>
                  <a:ext uri="{FF2B5EF4-FFF2-40B4-BE49-F238E27FC236}">
                    <a16:creationId xmlns:a16="http://schemas.microsoft.com/office/drawing/2014/main" id="{C95D0CAD-6C93-42D6-97F3-3D3C3A41C6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14240" y="4937362"/>
                <a:ext cx="1249363" cy="9683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E16D301-12D0-4571-9951-9D302B8D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161828" y="4937362"/>
                <a:ext cx="407988" cy="406400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6C276-8FA6-4BC4-AC9D-7A333BD8F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558703" y="3435587"/>
                <a:ext cx="504825" cy="1444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C512F17-2FF1-41FE-89AF-ABAE56FA10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774478" y="3095862"/>
                <a:ext cx="977900" cy="1463675"/>
              </a:xfrm>
              <a:custGeom>
                <a:avLst/>
                <a:gdLst>
                  <a:gd name="T0" fmla="*/ 28 w 101"/>
                  <a:gd name="T1" fmla="*/ 0 h 151"/>
                  <a:gd name="T2" fmla="*/ 100 w 101"/>
                  <a:gd name="T3" fmla="*/ 61 h 151"/>
                  <a:gd name="T4" fmla="*/ 35 w 101"/>
                  <a:gd name="T5" fmla="*/ 151 h 151"/>
                  <a:gd name="T6" fmla="*/ 25 w 101"/>
                  <a:gd name="T7" fmla="*/ 140 h 151"/>
                  <a:gd name="T8" fmla="*/ 63 w 101"/>
                  <a:gd name="T9" fmla="*/ 68 h 151"/>
                  <a:gd name="T10" fmla="*/ 0 w 101"/>
                  <a:gd name="T11" fmla="*/ 27 h 151"/>
                  <a:gd name="T12" fmla="*/ 28 w 101"/>
                  <a:gd name="T13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51">
                    <a:moveTo>
                      <a:pt x="28" y="0"/>
                    </a:moveTo>
                    <a:cubicBezTo>
                      <a:pt x="28" y="0"/>
                      <a:pt x="99" y="40"/>
                      <a:pt x="100" y="61"/>
                    </a:cubicBezTo>
                    <a:cubicBezTo>
                      <a:pt x="101" y="81"/>
                      <a:pt x="35" y="151"/>
                      <a:pt x="35" y="151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8" y="0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E9C1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3BD41E9-9B5D-430B-988C-CB02E105B8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83853" y="3299062"/>
                <a:ext cx="3079750" cy="1908175"/>
              </a:xfrm>
              <a:custGeom>
                <a:avLst/>
                <a:gdLst>
                  <a:gd name="T0" fmla="*/ 299 w 318"/>
                  <a:gd name="T1" fmla="*/ 190 h 197"/>
                  <a:gd name="T2" fmla="*/ 262 w 318"/>
                  <a:gd name="T3" fmla="*/ 1 h 197"/>
                  <a:gd name="T4" fmla="*/ 94 w 318"/>
                  <a:gd name="T5" fmla="*/ 49 h 197"/>
                  <a:gd name="T6" fmla="*/ 272 w 318"/>
                  <a:gd name="T7" fmla="*/ 49 h 197"/>
                  <a:gd name="T8" fmla="*/ 125 w 318"/>
                  <a:gd name="T9" fmla="*/ 158 h 197"/>
                  <a:gd name="T10" fmla="*/ 276 w 318"/>
                  <a:gd name="T11" fmla="*/ 71 h 197"/>
                  <a:gd name="T12" fmla="*/ 132 w 318"/>
                  <a:gd name="T13" fmla="*/ 190 h 197"/>
                  <a:gd name="T14" fmla="*/ 0 w 318"/>
                  <a:gd name="T15" fmla="*/ 190 h 197"/>
                  <a:gd name="T16" fmla="*/ 91 w 318"/>
                  <a:gd name="T17" fmla="*/ 36 h 197"/>
                  <a:gd name="T18" fmla="*/ 88 w 318"/>
                  <a:gd name="T19" fmla="*/ 27 h 197"/>
                  <a:gd name="T20" fmla="*/ 136 w 318"/>
                  <a:gd name="T21" fmla="*/ 197 h 197"/>
                  <a:gd name="T22" fmla="*/ 254 w 318"/>
                  <a:gd name="T23" fmla="*/ 0 h 197"/>
                  <a:gd name="T24" fmla="*/ 297 w 318"/>
                  <a:gd name="T25" fmla="*/ 0 h 197"/>
                  <a:gd name="T26" fmla="*/ 309 w 318"/>
                  <a:gd name="T27" fmla="*/ 27 h 197"/>
                  <a:gd name="T28" fmla="*/ 284 w 318"/>
                  <a:gd name="T29" fmla="*/ 34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8" h="197">
                    <a:moveTo>
                      <a:pt x="299" y="190"/>
                    </a:moveTo>
                    <a:cubicBezTo>
                      <a:pt x="262" y="1"/>
                      <a:pt x="262" y="1"/>
                      <a:pt x="262" y="1"/>
                    </a:cubicBezTo>
                    <a:moveTo>
                      <a:pt x="94" y="49"/>
                    </a:moveTo>
                    <a:cubicBezTo>
                      <a:pt x="272" y="49"/>
                      <a:pt x="272" y="49"/>
                      <a:pt x="272" y="49"/>
                    </a:cubicBezTo>
                    <a:moveTo>
                      <a:pt x="125" y="158"/>
                    </a:moveTo>
                    <a:cubicBezTo>
                      <a:pt x="125" y="158"/>
                      <a:pt x="176" y="71"/>
                      <a:pt x="276" y="71"/>
                    </a:cubicBezTo>
                    <a:moveTo>
                      <a:pt x="132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6" y="73"/>
                      <a:pt x="91" y="36"/>
                    </a:cubicBezTo>
                    <a:moveTo>
                      <a:pt x="88" y="27"/>
                    </a:moveTo>
                    <a:cubicBezTo>
                      <a:pt x="136" y="197"/>
                      <a:pt x="136" y="197"/>
                      <a:pt x="136" y="197"/>
                    </a:cubicBezTo>
                    <a:moveTo>
                      <a:pt x="254" y="0"/>
                    </a:moveTo>
                    <a:cubicBezTo>
                      <a:pt x="254" y="0"/>
                      <a:pt x="282" y="0"/>
                      <a:pt x="297" y="0"/>
                    </a:cubicBezTo>
                    <a:cubicBezTo>
                      <a:pt x="313" y="0"/>
                      <a:pt x="318" y="17"/>
                      <a:pt x="309" y="27"/>
                    </a:cubicBezTo>
                    <a:cubicBezTo>
                      <a:pt x="300" y="36"/>
                      <a:pt x="284" y="34"/>
                      <a:pt x="284" y="34"/>
                    </a:cubicBezTo>
                  </a:path>
                </a:pathLst>
              </a:custGeom>
              <a:noFill/>
              <a:ln w="77788" cap="rnd">
                <a:solidFill>
                  <a:srgbClr val="3B3E9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FB4724C-45E7-4835-B03C-DE3428E9BE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5978" y="5246924"/>
                <a:ext cx="1336675" cy="11588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DAAB1EE-8470-4EFD-8643-AF9D3C2431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56891" y="2602149"/>
                <a:ext cx="1133475" cy="793750"/>
              </a:xfrm>
              <a:custGeom>
                <a:avLst/>
                <a:gdLst>
                  <a:gd name="T0" fmla="*/ 12 w 117"/>
                  <a:gd name="T1" fmla="*/ 0 h 82"/>
                  <a:gd name="T2" fmla="*/ 35 w 117"/>
                  <a:gd name="T3" fmla="*/ 17 h 82"/>
                  <a:gd name="T4" fmla="*/ 112 w 117"/>
                  <a:gd name="T5" fmla="*/ 64 h 82"/>
                  <a:gd name="T6" fmla="*/ 112 w 117"/>
                  <a:gd name="T7" fmla="*/ 81 h 82"/>
                  <a:gd name="T8" fmla="*/ 97 w 117"/>
                  <a:gd name="T9" fmla="*/ 66 h 82"/>
                  <a:gd name="T10" fmla="*/ 0 w 117"/>
                  <a:gd name="T11" fmla="*/ 14 h 82"/>
                  <a:gd name="T12" fmla="*/ 12 w 117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82">
                    <a:moveTo>
                      <a:pt x="12" y="0"/>
                    </a:move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107" y="56"/>
                      <a:pt x="112" y="64"/>
                    </a:cubicBezTo>
                    <a:cubicBezTo>
                      <a:pt x="117" y="72"/>
                      <a:pt x="115" y="82"/>
                      <a:pt x="112" y="81"/>
                    </a:cubicBezTo>
                    <a:cubicBezTo>
                      <a:pt x="109" y="81"/>
                      <a:pt x="97" y="66"/>
                      <a:pt x="97" y="6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4573271-9C86-45DB-8F29-109527556B6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87203" y="4937362"/>
                <a:ext cx="474663" cy="531812"/>
              </a:xfrm>
              <a:custGeom>
                <a:avLst/>
                <a:gdLst>
                  <a:gd name="T0" fmla="*/ 0 w 49"/>
                  <a:gd name="T1" fmla="*/ 5 h 55"/>
                  <a:gd name="T2" fmla="*/ 12 w 49"/>
                  <a:gd name="T3" fmla="*/ 53 h 55"/>
                  <a:gd name="T4" fmla="*/ 47 w 49"/>
                  <a:gd name="T5" fmla="*/ 32 h 55"/>
                  <a:gd name="T6" fmla="*/ 26 w 49"/>
                  <a:gd name="T7" fmla="*/ 36 h 55"/>
                  <a:gd name="T8" fmla="*/ 16 w 49"/>
                  <a:gd name="T9" fmla="*/ 0 h 55"/>
                  <a:gd name="T10" fmla="*/ 0 w 49"/>
                  <a:gd name="T11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5"/>
                    </a:moveTo>
                    <a:cubicBezTo>
                      <a:pt x="0" y="5"/>
                      <a:pt x="9" y="51"/>
                      <a:pt x="12" y="53"/>
                    </a:cubicBezTo>
                    <a:cubicBezTo>
                      <a:pt x="16" y="55"/>
                      <a:pt x="49" y="35"/>
                      <a:pt x="47" y="32"/>
                    </a:cubicBezTo>
                    <a:cubicBezTo>
                      <a:pt x="46" y="30"/>
                      <a:pt x="31" y="39"/>
                      <a:pt x="26" y="36"/>
                    </a:cubicBezTo>
                    <a:cubicBezTo>
                      <a:pt x="20" y="32"/>
                      <a:pt x="16" y="0"/>
                      <a:pt x="16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0CD1A1B-5EDC-4F21-A014-A10F6D8381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96690" y="1952862"/>
                <a:ext cx="427038" cy="427037"/>
              </a:xfrm>
              <a:custGeom>
                <a:avLst/>
                <a:gdLst>
                  <a:gd name="T0" fmla="*/ 35 w 44"/>
                  <a:gd name="T1" fmla="*/ 0 h 44"/>
                  <a:gd name="T2" fmla="*/ 40 w 44"/>
                  <a:gd name="T3" fmla="*/ 37 h 44"/>
                  <a:gd name="T4" fmla="*/ 22 w 44"/>
                  <a:gd name="T5" fmla="*/ 39 h 44"/>
                  <a:gd name="T6" fmla="*/ 14 w 44"/>
                  <a:gd name="T7" fmla="*/ 44 h 44"/>
                  <a:gd name="T8" fmla="*/ 0 w 44"/>
                  <a:gd name="T9" fmla="*/ 39 h 44"/>
                  <a:gd name="T10" fmla="*/ 7 w 44"/>
                  <a:gd name="T11" fmla="*/ 26 h 44"/>
                  <a:gd name="T12" fmla="*/ 6 w 44"/>
                  <a:gd name="T13" fmla="*/ 16 h 44"/>
                  <a:gd name="T14" fmla="*/ 14 w 44"/>
                  <a:gd name="T15" fmla="*/ 17 h 44"/>
                  <a:gd name="T16" fmla="*/ 14 w 44"/>
                  <a:gd name="T17" fmla="*/ 2 h 44"/>
                  <a:gd name="T18" fmla="*/ 35 w 44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cubicBezTo>
                      <a:pt x="35" y="0"/>
                      <a:pt x="44" y="32"/>
                      <a:pt x="40" y="37"/>
                    </a:cubicBezTo>
                    <a:cubicBezTo>
                      <a:pt x="35" y="42"/>
                      <a:pt x="27" y="38"/>
                      <a:pt x="22" y="39"/>
                    </a:cubicBezTo>
                    <a:cubicBezTo>
                      <a:pt x="17" y="39"/>
                      <a:pt x="14" y="44"/>
                      <a:pt x="14" y="4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3" y="18"/>
                      <a:pt x="6" y="16"/>
                    </a:cubicBezTo>
                    <a:cubicBezTo>
                      <a:pt x="10" y="15"/>
                      <a:pt x="14" y="17"/>
                      <a:pt x="14" y="17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645FF67-D0C1-44A9-A0BC-68A8319804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20528" y="1992549"/>
                <a:ext cx="212725" cy="338137"/>
              </a:xfrm>
              <a:custGeom>
                <a:avLst/>
                <a:gdLst>
                  <a:gd name="T0" fmla="*/ 1 w 22"/>
                  <a:gd name="T1" fmla="*/ 2 h 35"/>
                  <a:gd name="T2" fmla="*/ 7 w 22"/>
                  <a:gd name="T3" fmla="*/ 28 h 35"/>
                  <a:gd name="T4" fmla="*/ 22 w 22"/>
                  <a:gd name="T5" fmla="*/ 0 h 35"/>
                  <a:gd name="T6" fmla="*/ 1 w 22"/>
                  <a:gd name="T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5">
                    <a:moveTo>
                      <a:pt x="1" y="2"/>
                    </a:moveTo>
                    <a:cubicBezTo>
                      <a:pt x="1" y="2"/>
                      <a:pt x="0" y="22"/>
                      <a:pt x="7" y="28"/>
                    </a:cubicBezTo>
                    <a:cubicBezTo>
                      <a:pt x="13" y="35"/>
                      <a:pt x="22" y="0"/>
                      <a:pt x="22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CABA783-5F9D-40C9-92E2-7D9DE3B5E31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90328" y="1817924"/>
                <a:ext cx="611188" cy="212725"/>
              </a:xfrm>
              <a:custGeom>
                <a:avLst/>
                <a:gdLst>
                  <a:gd name="T0" fmla="*/ 9 w 63"/>
                  <a:gd name="T1" fmla="*/ 22 h 22"/>
                  <a:gd name="T2" fmla="*/ 63 w 63"/>
                  <a:gd name="T3" fmla="*/ 22 h 22"/>
                  <a:gd name="T4" fmla="*/ 39 w 63"/>
                  <a:gd name="T5" fmla="*/ 3 h 22"/>
                  <a:gd name="T6" fmla="*/ 5 w 63"/>
                  <a:gd name="T7" fmla="*/ 19 h 22"/>
                  <a:gd name="T8" fmla="*/ 9 w 6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2">
                    <a:moveTo>
                      <a:pt x="9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54" y="7"/>
                      <a:pt x="39" y="3"/>
                    </a:cubicBezTo>
                    <a:cubicBezTo>
                      <a:pt x="26" y="0"/>
                      <a:pt x="0" y="1"/>
                      <a:pt x="5" y="19"/>
                    </a:cubicBezTo>
                    <a:cubicBezTo>
                      <a:pt x="5" y="20"/>
                      <a:pt x="7" y="22"/>
                      <a:pt x="9" y="2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D4E062-725F-4ED0-9E80-94B4B9DFE1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277715" y="2892662"/>
                <a:ext cx="833438" cy="2141537"/>
              </a:xfrm>
              <a:custGeom>
                <a:avLst/>
                <a:gdLst>
                  <a:gd name="T0" fmla="*/ 10 w 86"/>
                  <a:gd name="T1" fmla="*/ 0 h 221"/>
                  <a:gd name="T2" fmla="*/ 66 w 86"/>
                  <a:gd name="T3" fmla="*/ 221 h 221"/>
                  <a:gd name="T4" fmla="*/ 86 w 86"/>
                  <a:gd name="T5" fmla="*/ 216 h 221"/>
                  <a:gd name="T6" fmla="*/ 56 w 86"/>
                  <a:gd name="T7" fmla="*/ 19 h 221"/>
                  <a:gd name="T8" fmla="*/ 10 w 86"/>
                  <a:gd name="T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221">
                    <a:moveTo>
                      <a:pt x="10" y="0"/>
                    </a:moveTo>
                    <a:cubicBezTo>
                      <a:pt x="0" y="21"/>
                      <a:pt x="66" y="221"/>
                      <a:pt x="66" y="221"/>
                    </a:cubicBezTo>
                    <a:cubicBezTo>
                      <a:pt x="86" y="216"/>
                      <a:pt x="86" y="216"/>
                      <a:pt x="86" y="216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D8B6CE5D-CB61-489F-B18F-6728C0CDE36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52228" y="2186224"/>
                <a:ext cx="1501775" cy="1025525"/>
              </a:xfrm>
              <a:custGeom>
                <a:avLst/>
                <a:gdLst>
                  <a:gd name="T0" fmla="*/ 0 w 155"/>
                  <a:gd name="T1" fmla="*/ 80 h 106"/>
                  <a:gd name="T2" fmla="*/ 60 w 155"/>
                  <a:gd name="T3" fmla="*/ 102 h 106"/>
                  <a:gd name="T4" fmla="*/ 107 w 155"/>
                  <a:gd name="T5" fmla="*/ 58 h 106"/>
                  <a:gd name="T6" fmla="*/ 134 w 155"/>
                  <a:gd name="T7" fmla="*/ 73 h 106"/>
                  <a:gd name="T8" fmla="*/ 155 w 155"/>
                  <a:gd name="T9" fmla="*/ 54 h 106"/>
                  <a:gd name="T10" fmla="*/ 99 w 155"/>
                  <a:gd name="T11" fmla="*/ 10 h 106"/>
                  <a:gd name="T12" fmla="*/ 40 w 155"/>
                  <a:gd name="T13" fmla="*/ 34 h 106"/>
                  <a:gd name="T14" fmla="*/ 0 w 155"/>
                  <a:gd name="T1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106">
                    <a:moveTo>
                      <a:pt x="0" y="80"/>
                    </a:moveTo>
                    <a:cubicBezTo>
                      <a:pt x="0" y="80"/>
                      <a:pt x="41" y="106"/>
                      <a:pt x="60" y="102"/>
                    </a:cubicBezTo>
                    <a:cubicBezTo>
                      <a:pt x="79" y="97"/>
                      <a:pt x="78" y="71"/>
                      <a:pt x="107" y="58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23" y="20"/>
                      <a:pt x="99" y="10"/>
                    </a:cubicBezTo>
                    <a:cubicBezTo>
                      <a:pt x="75" y="0"/>
                      <a:pt x="63" y="14"/>
                      <a:pt x="40" y="34"/>
                    </a:cubicBezTo>
                    <a:cubicBezTo>
                      <a:pt x="16" y="54"/>
                      <a:pt x="0" y="80"/>
                      <a:pt x="0" y="8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09DFD-E1B7-44A5-8723-5A83A367DACF}"/>
                </a:ext>
              </a:extLst>
            </p:cNvPr>
            <p:cNvGrpSpPr/>
            <p:nvPr/>
          </p:nvGrpSpPr>
          <p:grpSpPr>
            <a:xfrm rot="932970">
              <a:off x="3258430" y="5046223"/>
              <a:ext cx="67162" cy="204898"/>
              <a:chOff x="3278816" y="5051890"/>
              <a:chExt cx="107809" cy="20489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D01C6BDF-480F-4406-A14E-B5DEF231D530}"/>
                  </a:ext>
                </a:extLst>
              </p:cNvPr>
              <p:cNvSpPr/>
              <p:nvPr/>
            </p:nvSpPr>
            <p:spPr>
              <a:xfrm>
                <a:off x="3278816" y="5051890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7CCEC1FC-7CE8-4334-B8A4-A1598FBEB5B0}"/>
                  </a:ext>
                </a:extLst>
              </p:cNvPr>
              <p:cNvSpPr/>
              <p:nvPr/>
            </p:nvSpPr>
            <p:spPr>
              <a:xfrm>
                <a:off x="3278816" y="5113726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C4FFC130-09F6-4E61-A981-3DED38FB73FD}"/>
                  </a:ext>
                </a:extLst>
              </p:cNvPr>
              <p:cNvSpPr/>
              <p:nvPr/>
            </p:nvSpPr>
            <p:spPr>
              <a:xfrm>
                <a:off x="3278816" y="5175562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D874E896-6E28-450F-85B3-EA1738B6478B}"/>
                  </a:ext>
                </a:extLst>
              </p:cNvPr>
              <p:cNvSpPr/>
              <p:nvPr/>
            </p:nvSpPr>
            <p:spPr>
              <a:xfrm>
                <a:off x="3278816" y="5237399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93" name="Slide Number Placeholder 92">
            <a:extLst>
              <a:ext uri="{FF2B5EF4-FFF2-40B4-BE49-F238E27FC236}">
                <a16:creationId xmlns:a16="http://schemas.microsoft.com/office/drawing/2014/main" id="{208151A9-7342-477A-A159-E8DC5647F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6</a:t>
            </a:fld>
            <a:endParaRPr lang="en-US"/>
          </a:p>
        </p:txBody>
      </p:sp>
      <p:pic>
        <p:nvPicPr>
          <p:cNvPr id="6" name="Graphic 5" descr="Briefcase">
            <a:extLst>
              <a:ext uri="{FF2B5EF4-FFF2-40B4-BE49-F238E27FC236}">
                <a16:creationId xmlns:a16="http://schemas.microsoft.com/office/drawing/2014/main" id="{807CA738-4E4D-424A-A51D-5B7D729AA6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34414" y="2885448"/>
            <a:ext cx="914400" cy="9144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21529FE-0237-42CD-B882-F4E53D092A3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619" t="5969" r="13172" b="11830"/>
          <a:stretch/>
        </p:blipFill>
        <p:spPr>
          <a:xfrm>
            <a:off x="11737727" y="0"/>
            <a:ext cx="433313" cy="44574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309452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A picture containing text, antenna&#10;&#10;Description automatically generated">
            <a:extLst>
              <a:ext uri="{FF2B5EF4-FFF2-40B4-BE49-F238E27FC236}">
                <a16:creationId xmlns:a16="http://schemas.microsoft.com/office/drawing/2014/main" id="{986EDB0F-6E61-41BD-8923-4B9678B0605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90" b="51323"/>
          <a:stretch/>
        </p:blipFill>
        <p:spPr>
          <a:xfrm>
            <a:off x="3356031" y="912286"/>
            <a:ext cx="7820955" cy="28445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2DA72C-2850-4761-B572-DE5BC3A47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191829"/>
            <a:ext cx="11059886" cy="810532"/>
          </a:xfrm>
        </p:spPr>
        <p:txBody>
          <a:bodyPr/>
          <a:lstStyle/>
          <a:p>
            <a:r>
              <a:rPr lang="en-US" dirty="0"/>
              <a:t>Predict Future Riders – Real Dat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E8A85C-27E8-4580-92E4-EAE95C813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11" name="Picture 10" descr="A picture containing text, antenna&#10;&#10;Description automatically generated">
            <a:extLst>
              <a:ext uri="{FF2B5EF4-FFF2-40B4-BE49-F238E27FC236}">
                <a16:creationId xmlns:a16="http://schemas.microsoft.com/office/drawing/2014/main" id="{4A6B2D85-12A4-4DF9-A7BF-07D54B4E83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679"/>
          <a:stretch/>
        </p:blipFill>
        <p:spPr>
          <a:xfrm>
            <a:off x="3356031" y="3879541"/>
            <a:ext cx="7820955" cy="28419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B294528-5B41-473F-9AD2-4FCE28978DF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CDBC3CC-EF6F-4E4D-89DB-E6FBEB3844BD}"/>
              </a:ext>
            </a:extLst>
          </p:cNvPr>
          <p:cNvSpPr txBox="1"/>
          <p:nvPr/>
        </p:nvSpPr>
        <p:spPr>
          <a:xfrm>
            <a:off x="385545" y="975732"/>
            <a:ext cx="297048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EF4B35"/>
                </a:solidFill>
              </a:rPr>
              <a:t>Full Week Prediction with real data.</a:t>
            </a:r>
          </a:p>
          <a:p>
            <a:endParaRPr lang="en-US" sz="1600" b="1" dirty="0">
              <a:solidFill>
                <a:srgbClr val="EF4B3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EF4B35"/>
                </a:solidFill>
              </a:rPr>
              <a:t>From Sep-16</a:t>
            </a:r>
            <a:r>
              <a:rPr lang="en-US" sz="1600" b="1" baseline="30000" dirty="0">
                <a:solidFill>
                  <a:srgbClr val="EF4B35"/>
                </a:solidFill>
              </a:rPr>
              <a:t>th</a:t>
            </a:r>
            <a:r>
              <a:rPr lang="en-US" sz="1600" b="1" dirty="0">
                <a:solidFill>
                  <a:srgbClr val="EF4B35"/>
                </a:solidFill>
              </a:rPr>
              <a:t> until Sep-23</a:t>
            </a:r>
            <a:r>
              <a:rPr lang="en-US" sz="1600" b="1" baseline="30000" dirty="0">
                <a:solidFill>
                  <a:srgbClr val="EF4B35"/>
                </a:solidFill>
              </a:rPr>
              <a:t>rd</a:t>
            </a:r>
            <a:r>
              <a:rPr lang="en-US" sz="1600" b="1" dirty="0">
                <a:solidFill>
                  <a:srgbClr val="EF4B35"/>
                </a:solidFill>
              </a:rPr>
              <a:t> 202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EF4B35"/>
                </a:solidFill>
              </a:rPr>
              <a:t>Weather Forecast extracted from TimeandDate.com for Washington DC, USA.</a:t>
            </a:r>
            <a:endParaRPr lang="en-US" sz="1200" b="1" dirty="0">
              <a:solidFill>
                <a:srgbClr val="EF4B35"/>
              </a:solidFill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9CFCBA72-62CC-419E-A680-A211C090F9EE}"/>
              </a:ext>
            </a:extLst>
          </p:cNvPr>
          <p:cNvSpPr/>
          <p:nvPr/>
        </p:nvSpPr>
        <p:spPr>
          <a:xfrm rot="17890235">
            <a:off x="6985652" y="5477765"/>
            <a:ext cx="404024" cy="329846"/>
          </a:xfrm>
          <a:prstGeom prst="rightArrow">
            <a:avLst/>
          </a:prstGeom>
          <a:ln>
            <a:solidFill>
              <a:srgbClr val="EF4B35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D418F3F-24C0-4443-AB3B-6B97C8583F81}"/>
              </a:ext>
            </a:extLst>
          </p:cNvPr>
          <p:cNvSpPr/>
          <p:nvPr/>
        </p:nvSpPr>
        <p:spPr>
          <a:xfrm>
            <a:off x="6120765" y="4098871"/>
            <a:ext cx="388620" cy="705540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F5E420C8-CA50-452B-9325-4E98F8819367}"/>
              </a:ext>
            </a:extLst>
          </p:cNvPr>
          <p:cNvSpPr/>
          <p:nvPr/>
        </p:nvSpPr>
        <p:spPr>
          <a:xfrm>
            <a:off x="7104408" y="4293412"/>
            <a:ext cx="324013" cy="510999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208697-2616-4189-BCD4-A1576CA6EFF0}"/>
              </a:ext>
            </a:extLst>
          </p:cNvPr>
          <p:cNvCxnSpPr>
            <a:cxnSpLocks/>
          </p:cNvCxnSpPr>
          <p:nvPr/>
        </p:nvCxnSpPr>
        <p:spPr>
          <a:xfrm>
            <a:off x="4019395" y="4777220"/>
            <a:ext cx="6818051" cy="0"/>
          </a:xfrm>
          <a:prstGeom prst="line">
            <a:avLst/>
          </a:prstGeom>
          <a:ln w="19050">
            <a:solidFill>
              <a:srgbClr val="EF4B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14">
            <a:extLst>
              <a:ext uri="{FF2B5EF4-FFF2-40B4-BE49-F238E27FC236}">
                <a16:creationId xmlns:a16="http://schemas.microsoft.com/office/drawing/2014/main" id="{3712EF34-BAE0-4BFD-B359-7AFFB9AE74D6}"/>
              </a:ext>
            </a:extLst>
          </p:cNvPr>
          <p:cNvSpPr/>
          <p:nvPr/>
        </p:nvSpPr>
        <p:spPr>
          <a:xfrm>
            <a:off x="8227670" y="4526290"/>
            <a:ext cx="203860" cy="250916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4AC5DD38-93A6-425C-A659-C6B058C0DCAB}"/>
              </a:ext>
            </a:extLst>
          </p:cNvPr>
          <p:cNvSpPr/>
          <p:nvPr/>
        </p:nvSpPr>
        <p:spPr>
          <a:xfrm>
            <a:off x="9172550" y="4433993"/>
            <a:ext cx="203860" cy="343214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14">
            <a:extLst>
              <a:ext uri="{FF2B5EF4-FFF2-40B4-BE49-F238E27FC236}">
                <a16:creationId xmlns:a16="http://schemas.microsoft.com/office/drawing/2014/main" id="{3B3993FF-8C04-43B4-83E2-E95353EE1DBD}"/>
              </a:ext>
            </a:extLst>
          </p:cNvPr>
          <p:cNvSpPr/>
          <p:nvPr/>
        </p:nvSpPr>
        <p:spPr>
          <a:xfrm>
            <a:off x="5231129" y="4664612"/>
            <a:ext cx="175925" cy="112608"/>
          </a:xfrm>
          <a:custGeom>
            <a:avLst/>
            <a:gdLst>
              <a:gd name="connsiteX0" fmla="*/ 0 w 588885"/>
              <a:gd name="connsiteY0" fmla="*/ 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0 w 588885"/>
              <a:gd name="connsiteY4" fmla="*/ 0 h 1056442"/>
              <a:gd name="connsiteX0" fmla="*/ 154940 w 588885"/>
              <a:gd name="connsiteY0" fmla="*/ 52578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54940 w 588885"/>
              <a:gd name="connsiteY4" fmla="*/ 525780 h 1056442"/>
              <a:gd name="connsiteX0" fmla="*/ 162560 w 588885"/>
              <a:gd name="connsiteY0" fmla="*/ 200660 h 1056442"/>
              <a:gd name="connsiteX1" fmla="*/ 588885 w 588885"/>
              <a:gd name="connsiteY1" fmla="*/ 0 h 1056442"/>
              <a:gd name="connsiteX2" fmla="*/ 588885 w 588885"/>
              <a:gd name="connsiteY2" fmla="*/ 1056442 h 1056442"/>
              <a:gd name="connsiteX3" fmla="*/ 0 w 588885"/>
              <a:gd name="connsiteY3" fmla="*/ 1056442 h 1056442"/>
              <a:gd name="connsiteX4" fmla="*/ 162560 w 588885"/>
              <a:gd name="connsiteY4" fmla="*/ 200660 h 1056442"/>
              <a:gd name="connsiteX0" fmla="*/ 147320 w 573645"/>
              <a:gd name="connsiteY0" fmla="*/ 200660 h 1089462"/>
              <a:gd name="connsiteX1" fmla="*/ 573645 w 573645"/>
              <a:gd name="connsiteY1" fmla="*/ 0 h 1089462"/>
              <a:gd name="connsiteX2" fmla="*/ 573645 w 573645"/>
              <a:gd name="connsiteY2" fmla="*/ 1056442 h 1089462"/>
              <a:gd name="connsiteX3" fmla="*/ 0 w 573645"/>
              <a:gd name="connsiteY3" fmla="*/ 1089462 h 1089462"/>
              <a:gd name="connsiteX4" fmla="*/ 147320 w 573645"/>
              <a:gd name="connsiteY4" fmla="*/ 200660 h 1089462"/>
              <a:gd name="connsiteX0" fmla="*/ 147320 w 573645"/>
              <a:gd name="connsiteY0" fmla="*/ 200660 h 1142802"/>
              <a:gd name="connsiteX1" fmla="*/ 573645 w 573645"/>
              <a:gd name="connsiteY1" fmla="*/ 0 h 1142802"/>
              <a:gd name="connsiteX2" fmla="*/ 553325 w 573645"/>
              <a:gd name="connsiteY2" fmla="*/ 1142802 h 1142802"/>
              <a:gd name="connsiteX3" fmla="*/ 0 w 573645"/>
              <a:gd name="connsiteY3" fmla="*/ 1089462 h 1142802"/>
              <a:gd name="connsiteX4" fmla="*/ 147320 w 573645"/>
              <a:gd name="connsiteY4" fmla="*/ 200660 h 1142802"/>
              <a:gd name="connsiteX0" fmla="*/ 147320 w 553325"/>
              <a:gd name="connsiteY0" fmla="*/ 0 h 942142"/>
              <a:gd name="connsiteX1" fmla="*/ 357745 w 553325"/>
              <a:gd name="connsiteY1" fmla="*/ 17780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47320 w 553325"/>
              <a:gd name="connsiteY0" fmla="*/ 0 h 942142"/>
              <a:gd name="connsiteX1" fmla="*/ 436485 w 553325"/>
              <a:gd name="connsiteY1" fmla="*/ 251460 h 942142"/>
              <a:gd name="connsiteX2" fmla="*/ 553325 w 553325"/>
              <a:gd name="connsiteY2" fmla="*/ 942142 h 942142"/>
              <a:gd name="connsiteX3" fmla="*/ 0 w 553325"/>
              <a:gd name="connsiteY3" fmla="*/ 888802 h 942142"/>
              <a:gd name="connsiteX4" fmla="*/ 147320 w 553325"/>
              <a:gd name="connsiteY4" fmla="*/ 0 h 942142"/>
              <a:gd name="connsiteX0" fmla="*/ 195580 w 553325"/>
              <a:gd name="connsiteY0" fmla="*/ 0 h 992942"/>
              <a:gd name="connsiteX1" fmla="*/ 436485 w 553325"/>
              <a:gd name="connsiteY1" fmla="*/ 302260 h 992942"/>
              <a:gd name="connsiteX2" fmla="*/ 553325 w 553325"/>
              <a:gd name="connsiteY2" fmla="*/ 992942 h 992942"/>
              <a:gd name="connsiteX3" fmla="*/ 0 w 553325"/>
              <a:gd name="connsiteY3" fmla="*/ 939602 h 992942"/>
              <a:gd name="connsiteX4" fmla="*/ 195580 w 553325"/>
              <a:gd name="connsiteY4" fmla="*/ 0 h 992942"/>
              <a:gd name="connsiteX0" fmla="*/ 180340 w 553325"/>
              <a:gd name="connsiteY0" fmla="*/ 0 h 1140262"/>
              <a:gd name="connsiteX1" fmla="*/ 436485 w 553325"/>
              <a:gd name="connsiteY1" fmla="*/ 449580 h 1140262"/>
              <a:gd name="connsiteX2" fmla="*/ 553325 w 553325"/>
              <a:gd name="connsiteY2" fmla="*/ 1140262 h 1140262"/>
              <a:gd name="connsiteX3" fmla="*/ 0 w 553325"/>
              <a:gd name="connsiteY3" fmla="*/ 1086922 h 1140262"/>
              <a:gd name="connsiteX4" fmla="*/ 180340 w 553325"/>
              <a:gd name="connsiteY4" fmla="*/ 0 h 1140262"/>
              <a:gd name="connsiteX0" fmla="*/ 236220 w 553325"/>
              <a:gd name="connsiteY0" fmla="*/ 0 h 1160582"/>
              <a:gd name="connsiteX1" fmla="*/ 436485 w 553325"/>
              <a:gd name="connsiteY1" fmla="*/ 469900 h 1160582"/>
              <a:gd name="connsiteX2" fmla="*/ 553325 w 553325"/>
              <a:gd name="connsiteY2" fmla="*/ 1160582 h 1160582"/>
              <a:gd name="connsiteX3" fmla="*/ 0 w 553325"/>
              <a:gd name="connsiteY3" fmla="*/ 1107242 h 1160582"/>
              <a:gd name="connsiteX4" fmla="*/ 236220 w 553325"/>
              <a:gd name="connsiteY4" fmla="*/ 0 h 11605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  <a:gd name="connsiteX0" fmla="*/ 243840 w 553325"/>
              <a:gd name="connsiteY0" fmla="*/ 0 h 1198682"/>
              <a:gd name="connsiteX1" fmla="*/ 436485 w 553325"/>
              <a:gd name="connsiteY1" fmla="*/ 508000 h 1198682"/>
              <a:gd name="connsiteX2" fmla="*/ 553325 w 553325"/>
              <a:gd name="connsiteY2" fmla="*/ 1198682 h 1198682"/>
              <a:gd name="connsiteX3" fmla="*/ 0 w 553325"/>
              <a:gd name="connsiteY3" fmla="*/ 1145342 h 1198682"/>
              <a:gd name="connsiteX4" fmla="*/ 243840 w 553325"/>
              <a:gd name="connsiteY4" fmla="*/ 0 h 1198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325" h="1198682">
                <a:moveTo>
                  <a:pt x="243840" y="0"/>
                </a:moveTo>
                <a:cubicBezTo>
                  <a:pt x="389335" y="133773"/>
                  <a:pt x="372270" y="338667"/>
                  <a:pt x="436485" y="508000"/>
                </a:cubicBezTo>
                <a:lnTo>
                  <a:pt x="553325" y="1198682"/>
                </a:lnTo>
                <a:lnTo>
                  <a:pt x="0" y="1145342"/>
                </a:lnTo>
                <a:cubicBezTo>
                  <a:pt x="104140" y="484161"/>
                  <a:pt x="139700" y="170961"/>
                  <a:pt x="243840" y="0"/>
                </a:cubicBezTo>
                <a:close/>
              </a:path>
            </a:pathLst>
          </a:cu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8FCC9BC-D41A-45F1-870E-BBA7E5AA1554}"/>
              </a:ext>
            </a:extLst>
          </p:cNvPr>
          <p:cNvCxnSpPr>
            <a:cxnSpLocks/>
          </p:cNvCxnSpPr>
          <p:nvPr/>
        </p:nvCxnSpPr>
        <p:spPr>
          <a:xfrm>
            <a:off x="1403124" y="4128812"/>
            <a:ext cx="271216" cy="0"/>
          </a:xfrm>
          <a:prstGeom prst="line">
            <a:avLst/>
          </a:prstGeom>
          <a:ln w="19050">
            <a:solidFill>
              <a:srgbClr val="EF4B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5856DDE5-6677-4240-9E9D-48136144F18C}"/>
              </a:ext>
            </a:extLst>
          </p:cNvPr>
          <p:cNvSpPr txBox="1"/>
          <p:nvPr/>
        </p:nvSpPr>
        <p:spPr>
          <a:xfrm>
            <a:off x="1670545" y="3944849"/>
            <a:ext cx="1766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EF4B35"/>
                </a:solidFill>
              </a:rPr>
              <a:t>Avg of Riders on Working Hours </a:t>
            </a:r>
          </a:p>
          <a:p>
            <a:r>
              <a:rPr lang="en-US" sz="900" b="1" dirty="0">
                <a:solidFill>
                  <a:srgbClr val="EF4B35"/>
                </a:solidFill>
              </a:rPr>
              <a:t>8AM – 6PM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387F69-237A-47BF-BD06-F3D4FB0AB2B7}"/>
              </a:ext>
            </a:extLst>
          </p:cNvPr>
          <p:cNvCxnSpPr>
            <a:cxnSpLocks/>
          </p:cNvCxnSpPr>
          <p:nvPr/>
        </p:nvCxnSpPr>
        <p:spPr>
          <a:xfrm>
            <a:off x="1406184" y="4384779"/>
            <a:ext cx="271216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2ACD1C9D-E1E5-406A-B0DE-892B04AA2DC6}"/>
              </a:ext>
            </a:extLst>
          </p:cNvPr>
          <p:cNvSpPr txBox="1"/>
          <p:nvPr/>
        </p:nvSpPr>
        <p:spPr>
          <a:xfrm>
            <a:off x="1673606" y="4270009"/>
            <a:ext cx="18801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FFC000"/>
                </a:solidFill>
              </a:rPr>
              <a:t>Avg of Riders on the Week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A68D72D-47FA-4C24-82C5-16C69D41DC39}"/>
              </a:ext>
            </a:extLst>
          </p:cNvPr>
          <p:cNvCxnSpPr>
            <a:cxnSpLocks/>
          </p:cNvCxnSpPr>
          <p:nvPr/>
        </p:nvCxnSpPr>
        <p:spPr>
          <a:xfrm>
            <a:off x="1409978" y="4646576"/>
            <a:ext cx="271216" cy="0"/>
          </a:xfrm>
          <a:prstGeom prst="line">
            <a:avLst/>
          </a:prstGeom>
          <a:ln w="1905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A7BA0AC6-956A-4369-A1F9-43EEE2F73AE5}"/>
              </a:ext>
            </a:extLst>
          </p:cNvPr>
          <p:cNvSpPr txBox="1"/>
          <p:nvPr/>
        </p:nvSpPr>
        <p:spPr>
          <a:xfrm>
            <a:off x="1677400" y="4531806"/>
            <a:ext cx="18801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00B050"/>
                </a:solidFill>
              </a:rPr>
              <a:t>Riders Trend Line for the Week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1FC1BAB-39B3-43EF-83F8-0F46105B7149}"/>
              </a:ext>
            </a:extLst>
          </p:cNvPr>
          <p:cNvCxnSpPr>
            <a:cxnSpLocks/>
          </p:cNvCxnSpPr>
          <p:nvPr/>
        </p:nvCxnSpPr>
        <p:spPr>
          <a:xfrm>
            <a:off x="9072064" y="1122743"/>
            <a:ext cx="271216" cy="0"/>
          </a:xfrm>
          <a:prstGeom prst="line">
            <a:avLst/>
          </a:prstGeom>
          <a:ln w="19050">
            <a:solidFill>
              <a:srgbClr val="EF4B3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E9DA7BA0-4880-4A3F-8C67-2A1015393E4B}"/>
              </a:ext>
            </a:extLst>
          </p:cNvPr>
          <p:cNvSpPr txBox="1"/>
          <p:nvPr/>
        </p:nvSpPr>
        <p:spPr>
          <a:xfrm>
            <a:off x="9296814" y="1012506"/>
            <a:ext cx="18801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EF4B35"/>
                </a:solidFill>
              </a:rPr>
              <a:t>Humidity Trend Line for the Week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4569DD7-F3DC-4748-A32A-ECD0323A3B9F}"/>
              </a:ext>
            </a:extLst>
          </p:cNvPr>
          <p:cNvCxnSpPr>
            <a:cxnSpLocks/>
          </p:cNvCxnSpPr>
          <p:nvPr/>
        </p:nvCxnSpPr>
        <p:spPr>
          <a:xfrm>
            <a:off x="4923085" y="1122743"/>
            <a:ext cx="271216" cy="0"/>
          </a:xfrm>
          <a:prstGeom prst="line">
            <a:avLst/>
          </a:prstGeom>
          <a:ln w="19050">
            <a:solidFill>
              <a:srgbClr val="EF4B3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43E89413-011F-4E3F-BE46-52ACC8605AFC}"/>
              </a:ext>
            </a:extLst>
          </p:cNvPr>
          <p:cNvSpPr txBox="1"/>
          <p:nvPr/>
        </p:nvSpPr>
        <p:spPr>
          <a:xfrm>
            <a:off x="5133111" y="1002361"/>
            <a:ext cx="20199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EF4B35"/>
                </a:solidFill>
              </a:rPr>
              <a:t>Temperature Trend Line for the Wee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7CF994-BEA8-4F7F-B9E8-5D536B9606C3}"/>
              </a:ext>
            </a:extLst>
          </p:cNvPr>
          <p:cNvSpPr txBox="1"/>
          <p:nvPr/>
        </p:nvSpPr>
        <p:spPr>
          <a:xfrm>
            <a:off x="4909363" y="4177816"/>
            <a:ext cx="819455" cy="417135"/>
          </a:xfrm>
          <a:prstGeom prst="roundRect">
            <a:avLst>
              <a:gd name="adj" fmla="val 12283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50">
                <a:solidFill>
                  <a:srgbClr val="4EC9F0"/>
                </a:solidFill>
              </a:defRPr>
            </a:lvl1pPr>
          </a:lstStyle>
          <a:p>
            <a:r>
              <a:rPr lang="pt-BR" b="1" dirty="0">
                <a:solidFill>
                  <a:srgbClr val="92D050"/>
                </a:solidFill>
              </a:rPr>
              <a:t>281 Riders</a:t>
            </a:r>
            <a:endParaRPr lang="en-US" b="1" dirty="0">
              <a:solidFill>
                <a:srgbClr val="92D050"/>
              </a:solidFill>
            </a:endParaRPr>
          </a:p>
          <a:p>
            <a:r>
              <a:rPr lang="pt-BR" sz="800" dirty="0">
                <a:solidFill>
                  <a:srgbClr val="92D050"/>
                </a:solidFill>
              </a:rPr>
              <a:t>2PM – 6P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21E4F60-7B57-4799-834B-EAF995331D76}"/>
              </a:ext>
            </a:extLst>
          </p:cNvPr>
          <p:cNvSpPr txBox="1"/>
          <p:nvPr/>
        </p:nvSpPr>
        <p:spPr>
          <a:xfrm>
            <a:off x="5850375" y="3627136"/>
            <a:ext cx="929400" cy="426571"/>
          </a:xfrm>
          <a:prstGeom prst="roundRect">
            <a:avLst>
              <a:gd name="adj" fmla="val 13859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/>
            </a:lvl1pPr>
          </a:lstStyle>
          <a:p>
            <a:pPr algn="ctr"/>
            <a:r>
              <a:rPr lang="pt-BR" b="1" dirty="0">
                <a:solidFill>
                  <a:srgbClr val="92D050"/>
                </a:solidFill>
              </a:rPr>
              <a:t>1.386 Riders</a:t>
            </a:r>
          </a:p>
          <a:p>
            <a:pPr algn="ctr"/>
            <a:r>
              <a:rPr lang="pt-BR" sz="800" dirty="0">
                <a:solidFill>
                  <a:srgbClr val="92D050"/>
                </a:solidFill>
              </a:rPr>
              <a:t>2PM – 8PM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6654D160-6E37-4307-B9A2-5833F4EB22D9}"/>
              </a:ext>
            </a:extLst>
          </p:cNvPr>
          <p:cNvSpPr/>
          <p:nvPr/>
        </p:nvSpPr>
        <p:spPr>
          <a:xfrm rot="4526535">
            <a:off x="9958771" y="4280484"/>
            <a:ext cx="404024" cy="329846"/>
          </a:xfrm>
          <a:prstGeom prst="rightArrow">
            <a:avLst/>
          </a:prstGeom>
          <a:ln>
            <a:solidFill>
              <a:srgbClr val="EF4B35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564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32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55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6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7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8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9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32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78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9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0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81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82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5" grpId="0" animBg="1"/>
      <p:bldP spid="18" grpId="0" animBg="1"/>
      <p:bldP spid="22" grpId="0" animBg="1"/>
      <p:bldP spid="23" grpId="0" animBg="1"/>
      <p:bldP spid="25" grpId="0" animBg="1"/>
      <p:bldP spid="29" grpId="0"/>
      <p:bldP spid="31" grpId="0"/>
      <p:bldP spid="33" grpId="0"/>
      <p:bldP spid="35" grpId="0"/>
      <p:bldP spid="37" grpId="0"/>
      <p:bldP spid="3" grpId="0" animBg="1"/>
      <p:bldP spid="26" grpId="0" animBg="1"/>
      <p:bldP spid="28" grpId="0" animBg="1"/>
      <p:bldP spid="28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Business Recommendations &amp; </a:t>
            </a:r>
            <a:r>
              <a:rPr lang="en-US" sz="4000" dirty="0" err="1"/>
              <a:t>Mgmt</a:t>
            </a:r>
            <a:r>
              <a:rPr lang="en-US" sz="4000" dirty="0"/>
              <a:t> Tool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74" name="Rectangle: Top Corners Rounded 473">
            <a:extLst>
              <a:ext uri="{FF2B5EF4-FFF2-40B4-BE49-F238E27FC236}">
                <a16:creationId xmlns:a16="http://schemas.microsoft.com/office/drawing/2014/main" id="{21447E56-29C6-4286-B9F9-1F365CCAD89B}"/>
              </a:ext>
            </a:extLst>
          </p:cNvPr>
          <p:cNvSpPr/>
          <p:nvPr/>
        </p:nvSpPr>
        <p:spPr>
          <a:xfrm rot="5400000">
            <a:off x="3153815" y="1276272"/>
            <a:ext cx="2808597" cy="3481546"/>
          </a:xfrm>
          <a:prstGeom prst="round2SameRect">
            <a:avLst/>
          </a:prstGeom>
          <a:noFill/>
          <a:ln w="19050">
            <a:solidFill>
              <a:srgbClr val="EF4B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D7AE6B2B-D5D3-4CB0-9579-49A2E4C204DA}"/>
              </a:ext>
            </a:extLst>
          </p:cNvPr>
          <p:cNvSpPr/>
          <p:nvPr/>
        </p:nvSpPr>
        <p:spPr>
          <a:xfrm>
            <a:off x="877236" y="1204466"/>
            <a:ext cx="2571752" cy="2571752"/>
          </a:xfrm>
          <a:prstGeom prst="ellipse">
            <a:avLst/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: Top Corners Rounded 107">
            <a:extLst>
              <a:ext uri="{FF2B5EF4-FFF2-40B4-BE49-F238E27FC236}">
                <a16:creationId xmlns:a16="http://schemas.microsoft.com/office/drawing/2014/main" id="{E5879A7E-DEF2-4E20-A7A2-22BFA6176F48}"/>
              </a:ext>
            </a:extLst>
          </p:cNvPr>
          <p:cNvSpPr/>
          <p:nvPr/>
        </p:nvSpPr>
        <p:spPr>
          <a:xfrm rot="5400000">
            <a:off x="9437434" y="609395"/>
            <a:ext cx="1139946" cy="3146646"/>
          </a:xfrm>
          <a:prstGeom prst="round2SameRect">
            <a:avLst/>
          </a:prstGeom>
          <a:noFill/>
          <a:ln w="19050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3" name="Oval 472">
            <a:extLst>
              <a:ext uri="{FF2B5EF4-FFF2-40B4-BE49-F238E27FC236}">
                <a16:creationId xmlns:a16="http://schemas.microsoft.com/office/drawing/2014/main" id="{6045506A-8956-435D-BE7D-4305C46575AA}"/>
              </a:ext>
            </a:extLst>
          </p:cNvPr>
          <p:cNvSpPr/>
          <p:nvPr/>
        </p:nvSpPr>
        <p:spPr>
          <a:xfrm>
            <a:off x="6493978" y="1204466"/>
            <a:ext cx="2571752" cy="2571752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0" name="Group 479">
            <a:extLst>
              <a:ext uri="{FF2B5EF4-FFF2-40B4-BE49-F238E27FC236}">
                <a16:creationId xmlns:a16="http://schemas.microsoft.com/office/drawing/2014/main" id="{E10B7209-2793-49FB-BD9F-2E6D7178CC56}"/>
              </a:ext>
            </a:extLst>
          </p:cNvPr>
          <p:cNvGrpSpPr/>
          <p:nvPr/>
        </p:nvGrpSpPr>
        <p:grpSpPr>
          <a:xfrm>
            <a:off x="933322" y="1201734"/>
            <a:ext cx="2459580" cy="2577216"/>
            <a:chOff x="1233255" y="2055713"/>
            <a:chExt cx="1939252" cy="2032002"/>
          </a:xfrm>
        </p:grpSpPr>
        <p:sp>
          <p:nvSpPr>
            <p:cNvPr id="479" name="Oval 478">
              <a:extLst>
                <a:ext uri="{FF2B5EF4-FFF2-40B4-BE49-F238E27FC236}">
                  <a16:creationId xmlns:a16="http://schemas.microsoft.com/office/drawing/2014/main" id="{6A6F67E4-04AB-4E80-860E-9C846E3D505C}"/>
                </a:ext>
              </a:extLst>
            </p:cNvPr>
            <p:cNvSpPr/>
            <p:nvPr/>
          </p:nvSpPr>
          <p:spPr>
            <a:xfrm>
              <a:off x="1536526" y="2405359"/>
              <a:ext cx="1332711" cy="1332711"/>
            </a:xfrm>
            <a:prstGeom prst="ellipse">
              <a:avLst/>
            </a:prstGeom>
            <a:noFill/>
            <a:ln w="635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115" name="Chart 114">
              <a:extLst>
                <a:ext uri="{FF2B5EF4-FFF2-40B4-BE49-F238E27FC236}">
                  <a16:creationId xmlns:a16="http://schemas.microsoft.com/office/drawing/2014/main" id="{D67D8A66-8427-473A-8075-28296AE296B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85147415"/>
                </p:ext>
              </p:extLst>
            </p:nvPr>
          </p:nvGraphicFramePr>
          <p:xfrm>
            <a:off x="1233255" y="2055713"/>
            <a:ext cx="1939252" cy="20320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pSp>
        <p:nvGrpSpPr>
          <p:cNvPr id="472" name="Group 471">
            <a:extLst>
              <a:ext uri="{FF2B5EF4-FFF2-40B4-BE49-F238E27FC236}">
                <a16:creationId xmlns:a16="http://schemas.microsoft.com/office/drawing/2014/main" id="{BFF58774-770B-4F15-8151-CB2E52463CDB}"/>
              </a:ext>
            </a:extLst>
          </p:cNvPr>
          <p:cNvGrpSpPr/>
          <p:nvPr/>
        </p:nvGrpSpPr>
        <p:grpSpPr>
          <a:xfrm flipH="1">
            <a:off x="1019663" y="2417433"/>
            <a:ext cx="3282583" cy="3424276"/>
            <a:chOff x="1331913" y="1874838"/>
            <a:chExt cx="3971925" cy="4143374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C63C3B62-E9FA-4103-8E08-71474A4C7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675" y="2289175"/>
              <a:ext cx="900112" cy="685800"/>
            </a:xfrm>
            <a:custGeom>
              <a:avLst/>
              <a:gdLst>
                <a:gd name="T0" fmla="*/ 313 w 313"/>
                <a:gd name="T1" fmla="*/ 28 h 238"/>
                <a:gd name="T2" fmla="*/ 183 w 313"/>
                <a:gd name="T3" fmla="*/ 146 h 238"/>
                <a:gd name="T4" fmla="*/ 81 w 313"/>
                <a:gd name="T5" fmla="*/ 238 h 238"/>
                <a:gd name="T6" fmla="*/ 45 w 313"/>
                <a:gd name="T7" fmla="*/ 151 h 238"/>
                <a:gd name="T8" fmla="*/ 116 w 313"/>
                <a:gd name="T9" fmla="*/ 89 h 238"/>
                <a:gd name="T10" fmla="*/ 267 w 313"/>
                <a:gd name="T11" fmla="*/ 5 h 238"/>
                <a:gd name="T12" fmla="*/ 313 w 313"/>
                <a:gd name="T13" fmla="*/ 2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238">
                  <a:moveTo>
                    <a:pt x="313" y="28"/>
                  </a:moveTo>
                  <a:cubicBezTo>
                    <a:pt x="183" y="146"/>
                    <a:pt x="183" y="146"/>
                    <a:pt x="183" y="146"/>
                  </a:cubicBezTo>
                  <a:cubicBezTo>
                    <a:pt x="81" y="238"/>
                    <a:pt x="81" y="238"/>
                    <a:pt x="81" y="238"/>
                  </a:cubicBezTo>
                  <a:cubicBezTo>
                    <a:pt x="81" y="238"/>
                    <a:pt x="0" y="199"/>
                    <a:pt x="45" y="151"/>
                  </a:cubicBezTo>
                  <a:cubicBezTo>
                    <a:pt x="66" y="128"/>
                    <a:pt x="91" y="107"/>
                    <a:pt x="116" y="89"/>
                  </a:cubicBezTo>
                  <a:cubicBezTo>
                    <a:pt x="180" y="41"/>
                    <a:pt x="246" y="9"/>
                    <a:pt x="267" y="5"/>
                  </a:cubicBezTo>
                  <a:cubicBezTo>
                    <a:pt x="297" y="0"/>
                    <a:pt x="313" y="28"/>
                    <a:pt x="313" y="28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9B5EA7A-3091-4D20-B910-2FDEED26C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4150" y="2544763"/>
              <a:ext cx="534987" cy="449262"/>
            </a:xfrm>
            <a:custGeom>
              <a:avLst/>
              <a:gdLst>
                <a:gd name="T0" fmla="*/ 186 w 186"/>
                <a:gd name="T1" fmla="*/ 57 h 156"/>
                <a:gd name="T2" fmla="*/ 86 w 186"/>
                <a:gd name="T3" fmla="*/ 156 h 156"/>
                <a:gd name="T4" fmla="*/ 45 w 186"/>
                <a:gd name="T5" fmla="*/ 60 h 156"/>
                <a:gd name="T6" fmla="*/ 119 w 186"/>
                <a:gd name="T7" fmla="*/ 0 h 156"/>
                <a:gd name="T8" fmla="*/ 186 w 186"/>
                <a:gd name="T9" fmla="*/ 5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56">
                  <a:moveTo>
                    <a:pt x="186" y="57"/>
                  </a:moveTo>
                  <a:cubicBezTo>
                    <a:pt x="86" y="156"/>
                    <a:pt x="86" y="156"/>
                    <a:pt x="86" y="156"/>
                  </a:cubicBezTo>
                  <a:cubicBezTo>
                    <a:pt x="86" y="156"/>
                    <a:pt x="0" y="108"/>
                    <a:pt x="45" y="60"/>
                  </a:cubicBezTo>
                  <a:cubicBezTo>
                    <a:pt x="67" y="37"/>
                    <a:pt x="94" y="18"/>
                    <a:pt x="119" y="0"/>
                  </a:cubicBezTo>
                  <a:cubicBezTo>
                    <a:pt x="186" y="57"/>
                    <a:pt x="186" y="57"/>
                    <a:pt x="186" y="57"/>
                  </a:cubicBezTo>
                  <a:close/>
                </a:path>
              </a:pathLst>
            </a:cu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8D0CB645-91BA-4C13-B577-418382992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5600" y="3768725"/>
              <a:ext cx="552450" cy="455612"/>
            </a:xfrm>
            <a:custGeom>
              <a:avLst/>
              <a:gdLst>
                <a:gd name="T0" fmla="*/ 135 w 192"/>
                <a:gd name="T1" fmla="*/ 153 h 158"/>
                <a:gd name="T2" fmla="*/ 130 w 192"/>
                <a:gd name="T3" fmla="*/ 147 h 158"/>
                <a:gd name="T4" fmla="*/ 130 w 192"/>
                <a:gd name="T5" fmla="*/ 147 h 158"/>
                <a:gd name="T6" fmla="*/ 135 w 192"/>
                <a:gd name="T7" fmla="*/ 153 h 158"/>
                <a:gd name="T8" fmla="*/ 139 w 192"/>
                <a:gd name="T9" fmla="*/ 158 h 158"/>
                <a:gd name="T10" fmla="*/ 130 w 192"/>
                <a:gd name="T11" fmla="*/ 147 h 158"/>
                <a:gd name="T12" fmla="*/ 177 w 192"/>
                <a:gd name="T13" fmla="*/ 72 h 158"/>
                <a:gd name="T14" fmla="*/ 162 w 192"/>
                <a:gd name="T15" fmla="*/ 33 h 158"/>
                <a:gd name="T16" fmla="*/ 121 w 192"/>
                <a:gd name="T17" fmla="*/ 14 h 158"/>
                <a:gd name="T18" fmla="*/ 51 w 192"/>
                <a:gd name="T19" fmla="*/ 47 h 158"/>
                <a:gd name="T20" fmla="*/ 51 w 192"/>
                <a:gd name="T21" fmla="*/ 48 h 158"/>
                <a:gd name="T22" fmla="*/ 9 w 192"/>
                <a:gd name="T23" fmla="*/ 86 h 158"/>
                <a:gd name="T24" fmla="*/ 0 w 192"/>
                <a:gd name="T25" fmla="*/ 75 h 158"/>
                <a:gd name="T26" fmla="*/ 41 w 192"/>
                <a:gd name="T27" fmla="*/ 37 h 158"/>
                <a:gd name="T28" fmla="*/ 120 w 192"/>
                <a:gd name="T29" fmla="*/ 0 h 158"/>
                <a:gd name="T30" fmla="*/ 121 w 192"/>
                <a:gd name="T31" fmla="*/ 0 h 158"/>
                <a:gd name="T32" fmla="*/ 172 w 192"/>
                <a:gd name="T33" fmla="*/ 23 h 158"/>
                <a:gd name="T34" fmla="*/ 191 w 192"/>
                <a:gd name="T35" fmla="*/ 73 h 158"/>
                <a:gd name="T36" fmla="*/ 139 w 192"/>
                <a:gd name="T3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158">
                  <a:moveTo>
                    <a:pt x="135" y="153"/>
                  </a:move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5" y="153"/>
                    <a:pt x="135" y="153"/>
                    <a:pt x="135" y="153"/>
                  </a:cubicBezTo>
                  <a:close/>
                  <a:moveTo>
                    <a:pt x="139" y="158"/>
                  </a:moveTo>
                  <a:cubicBezTo>
                    <a:pt x="130" y="147"/>
                    <a:pt x="130" y="147"/>
                    <a:pt x="130" y="147"/>
                  </a:cubicBezTo>
                  <a:cubicBezTo>
                    <a:pt x="131" y="147"/>
                    <a:pt x="174" y="111"/>
                    <a:pt x="177" y="72"/>
                  </a:cubicBezTo>
                  <a:cubicBezTo>
                    <a:pt x="178" y="58"/>
                    <a:pt x="173" y="45"/>
                    <a:pt x="162" y="33"/>
                  </a:cubicBezTo>
                  <a:cubicBezTo>
                    <a:pt x="150" y="20"/>
                    <a:pt x="136" y="14"/>
                    <a:pt x="121" y="14"/>
                  </a:cubicBezTo>
                  <a:cubicBezTo>
                    <a:pt x="85" y="13"/>
                    <a:pt x="52" y="47"/>
                    <a:pt x="51" y="47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4" y="34"/>
                    <a:pt x="80" y="0"/>
                    <a:pt x="120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40" y="0"/>
                    <a:pt x="158" y="8"/>
                    <a:pt x="172" y="23"/>
                  </a:cubicBezTo>
                  <a:cubicBezTo>
                    <a:pt x="186" y="38"/>
                    <a:pt x="192" y="55"/>
                    <a:pt x="191" y="73"/>
                  </a:cubicBezTo>
                  <a:cubicBezTo>
                    <a:pt x="188" y="118"/>
                    <a:pt x="141" y="157"/>
                    <a:pt x="139" y="158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78ECDB2-21C8-48AB-B37B-B4820FB4A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5603875"/>
              <a:ext cx="271462" cy="31750"/>
            </a:xfrm>
            <a:custGeom>
              <a:avLst/>
              <a:gdLst>
                <a:gd name="T0" fmla="*/ 171 w 171"/>
                <a:gd name="T1" fmla="*/ 20 h 20"/>
                <a:gd name="T2" fmla="*/ 0 w 171"/>
                <a:gd name="T3" fmla="*/ 20 h 20"/>
                <a:gd name="T4" fmla="*/ 0 w 171"/>
                <a:gd name="T5" fmla="*/ 0 h 20"/>
                <a:gd name="T6" fmla="*/ 171 w 171"/>
                <a:gd name="T7" fmla="*/ 0 h 20"/>
                <a:gd name="T8" fmla="*/ 171 w 171"/>
                <a:gd name="T9" fmla="*/ 20 h 20"/>
                <a:gd name="T10" fmla="*/ 171 w 171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20">
                  <a:moveTo>
                    <a:pt x="171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71" y="0"/>
                  </a:lnTo>
                  <a:lnTo>
                    <a:pt x="171" y="20"/>
                  </a:lnTo>
                  <a:lnTo>
                    <a:pt x="171" y="20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D5B5B7B2-BC64-4615-AAE2-59D69FD1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0550" y="5335588"/>
              <a:ext cx="212725" cy="98425"/>
            </a:xfrm>
            <a:custGeom>
              <a:avLst/>
              <a:gdLst>
                <a:gd name="T0" fmla="*/ 128 w 134"/>
                <a:gd name="T1" fmla="*/ 0 h 62"/>
                <a:gd name="T2" fmla="*/ 134 w 134"/>
                <a:gd name="T3" fmla="*/ 53 h 62"/>
                <a:gd name="T4" fmla="*/ 7 w 134"/>
                <a:gd name="T5" fmla="*/ 62 h 62"/>
                <a:gd name="T6" fmla="*/ 0 w 134"/>
                <a:gd name="T7" fmla="*/ 0 h 62"/>
                <a:gd name="T8" fmla="*/ 128 w 134"/>
                <a:gd name="T9" fmla="*/ 0 h 62"/>
                <a:gd name="T10" fmla="*/ 128 w 134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62">
                  <a:moveTo>
                    <a:pt x="128" y="0"/>
                  </a:moveTo>
                  <a:lnTo>
                    <a:pt x="134" y="53"/>
                  </a:lnTo>
                  <a:lnTo>
                    <a:pt x="7" y="62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128" y="0"/>
                  </a:lnTo>
                  <a:close/>
                </a:path>
              </a:pathLst>
            </a:custGeom>
            <a:solidFill>
              <a:srgbClr val="3338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9C46AEC0-ED0D-4827-831F-0FE22C243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1650" y="3694113"/>
              <a:ext cx="354012" cy="219075"/>
            </a:xfrm>
            <a:custGeom>
              <a:avLst/>
              <a:gdLst>
                <a:gd name="T0" fmla="*/ 30 w 123"/>
                <a:gd name="T1" fmla="*/ 0 h 76"/>
                <a:gd name="T2" fmla="*/ 44 w 123"/>
                <a:gd name="T3" fmla="*/ 9 h 76"/>
                <a:gd name="T4" fmla="*/ 87 w 123"/>
                <a:gd name="T5" fmla="*/ 11 h 76"/>
                <a:gd name="T6" fmla="*/ 119 w 123"/>
                <a:gd name="T7" fmla="*/ 54 h 76"/>
                <a:gd name="T8" fmla="*/ 109 w 123"/>
                <a:gd name="T9" fmla="*/ 54 h 76"/>
                <a:gd name="T10" fmla="*/ 79 w 123"/>
                <a:gd name="T11" fmla="*/ 30 h 76"/>
                <a:gd name="T12" fmla="*/ 97 w 123"/>
                <a:gd name="T13" fmla="*/ 62 h 76"/>
                <a:gd name="T14" fmla="*/ 83 w 123"/>
                <a:gd name="T15" fmla="*/ 69 h 76"/>
                <a:gd name="T16" fmla="*/ 65 w 123"/>
                <a:gd name="T17" fmla="*/ 73 h 76"/>
                <a:gd name="T18" fmla="*/ 23 w 123"/>
                <a:gd name="T19" fmla="*/ 35 h 76"/>
                <a:gd name="T20" fmla="*/ 0 w 123"/>
                <a:gd name="T21" fmla="*/ 19 h 76"/>
                <a:gd name="T22" fmla="*/ 30 w 123"/>
                <a:gd name="T2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3" h="76">
                  <a:moveTo>
                    <a:pt x="30" y="0"/>
                  </a:moveTo>
                  <a:cubicBezTo>
                    <a:pt x="30" y="0"/>
                    <a:pt x="38" y="9"/>
                    <a:pt x="44" y="9"/>
                  </a:cubicBezTo>
                  <a:cubicBezTo>
                    <a:pt x="49" y="8"/>
                    <a:pt x="82" y="5"/>
                    <a:pt x="87" y="11"/>
                  </a:cubicBezTo>
                  <a:cubicBezTo>
                    <a:pt x="91" y="16"/>
                    <a:pt x="123" y="49"/>
                    <a:pt x="119" y="54"/>
                  </a:cubicBezTo>
                  <a:cubicBezTo>
                    <a:pt x="114" y="58"/>
                    <a:pt x="111" y="56"/>
                    <a:pt x="109" y="54"/>
                  </a:cubicBezTo>
                  <a:cubicBezTo>
                    <a:pt x="107" y="51"/>
                    <a:pt x="82" y="30"/>
                    <a:pt x="79" y="30"/>
                  </a:cubicBezTo>
                  <a:cubicBezTo>
                    <a:pt x="79" y="30"/>
                    <a:pt x="101" y="55"/>
                    <a:pt x="97" y="62"/>
                  </a:cubicBezTo>
                  <a:cubicBezTo>
                    <a:pt x="94" y="69"/>
                    <a:pt x="87" y="68"/>
                    <a:pt x="83" y="69"/>
                  </a:cubicBezTo>
                  <a:cubicBezTo>
                    <a:pt x="79" y="71"/>
                    <a:pt x="72" y="76"/>
                    <a:pt x="65" y="73"/>
                  </a:cubicBezTo>
                  <a:cubicBezTo>
                    <a:pt x="57" y="69"/>
                    <a:pt x="29" y="39"/>
                    <a:pt x="23" y="35"/>
                  </a:cubicBezTo>
                  <a:cubicBezTo>
                    <a:pt x="16" y="30"/>
                    <a:pt x="1" y="21"/>
                    <a:pt x="0" y="19"/>
                  </a:cubicBezTo>
                  <a:cubicBezTo>
                    <a:pt x="0" y="18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38F5AAC0-918E-46C1-8D0A-F3F379DED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938" y="2320925"/>
              <a:ext cx="287337" cy="282575"/>
            </a:xfrm>
            <a:custGeom>
              <a:avLst/>
              <a:gdLst>
                <a:gd name="T0" fmla="*/ 37 w 100"/>
                <a:gd name="T1" fmla="*/ 0 h 98"/>
                <a:gd name="T2" fmla="*/ 11 w 100"/>
                <a:gd name="T3" fmla="*/ 12 h 98"/>
                <a:gd name="T4" fmla="*/ 42 w 100"/>
                <a:gd name="T5" fmla="*/ 98 h 98"/>
                <a:gd name="T6" fmla="*/ 90 w 100"/>
                <a:gd name="T7" fmla="*/ 43 h 98"/>
                <a:gd name="T8" fmla="*/ 37 w 100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98">
                  <a:moveTo>
                    <a:pt x="37" y="0"/>
                  </a:moveTo>
                  <a:cubicBezTo>
                    <a:pt x="37" y="0"/>
                    <a:pt x="23" y="13"/>
                    <a:pt x="11" y="12"/>
                  </a:cubicBezTo>
                  <a:cubicBezTo>
                    <a:pt x="0" y="11"/>
                    <a:pt x="42" y="98"/>
                    <a:pt x="42" y="98"/>
                  </a:cubicBezTo>
                  <a:cubicBezTo>
                    <a:pt x="42" y="98"/>
                    <a:pt x="80" y="46"/>
                    <a:pt x="90" y="43"/>
                  </a:cubicBezTo>
                  <a:cubicBezTo>
                    <a:pt x="100" y="40"/>
                    <a:pt x="37" y="0"/>
                    <a:pt x="37" y="0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FAE4F7ED-0B0A-4A95-B822-8FC7F85B7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188" y="2994025"/>
              <a:ext cx="660400" cy="449262"/>
            </a:xfrm>
            <a:custGeom>
              <a:avLst/>
              <a:gdLst>
                <a:gd name="T0" fmla="*/ 230 w 230"/>
                <a:gd name="T1" fmla="*/ 0 h 156"/>
                <a:gd name="T2" fmla="*/ 108 w 230"/>
                <a:gd name="T3" fmla="*/ 118 h 156"/>
                <a:gd name="T4" fmla="*/ 0 w 230"/>
                <a:gd name="T5" fmla="*/ 54 h 156"/>
                <a:gd name="T6" fmla="*/ 230 w 230"/>
                <a:gd name="T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0" h="156">
                  <a:moveTo>
                    <a:pt x="230" y="0"/>
                  </a:moveTo>
                  <a:cubicBezTo>
                    <a:pt x="230" y="0"/>
                    <a:pt x="128" y="80"/>
                    <a:pt x="108" y="118"/>
                  </a:cubicBezTo>
                  <a:cubicBezTo>
                    <a:pt x="88" y="156"/>
                    <a:pt x="0" y="54"/>
                    <a:pt x="0" y="54"/>
                  </a:cubicBezTo>
                  <a:cubicBezTo>
                    <a:pt x="230" y="0"/>
                    <a:pt x="230" y="0"/>
                    <a:pt x="230" y="0"/>
                  </a:cubicBezTo>
                  <a:close/>
                </a:path>
              </a:pathLst>
            </a:custGeom>
            <a:solidFill>
              <a:srgbClr val="EDDC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CD4A6AC3-424F-4787-855D-18CD13521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5450" y="3176588"/>
              <a:ext cx="374650" cy="220662"/>
            </a:xfrm>
            <a:custGeom>
              <a:avLst/>
              <a:gdLst>
                <a:gd name="T0" fmla="*/ 130 w 130"/>
                <a:gd name="T1" fmla="*/ 53 h 77"/>
                <a:gd name="T2" fmla="*/ 127 w 130"/>
                <a:gd name="T3" fmla="*/ 63 h 77"/>
                <a:gd name="T4" fmla="*/ 123 w 130"/>
                <a:gd name="T5" fmla="*/ 77 h 77"/>
                <a:gd name="T6" fmla="*/ 123 w 130"/>
                <a:gd name="T7" fmla="*/ 77 h 77"/>
                <a:gd name="T8" fmla="*/ 123 w 130"/>
                <a:gd name="T9" fmla="*/ 77 h 77"/>
                <a:gd name="T10" fmla="*/ 8 w 130"/>
                <a:gd name="T11" fmla="*/ 19 h 77"/>
                <a:gd name="T12" fmla="*/ 34 w 130"/>
                <a:gd name="T13" fmla="*/ 0 h 77"/>
                <a:gd name="T14" fmla="*/ 130 w 130"/>
                <a:gd name="T15" fmla="*/ 5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77">
                  <a:moveTo>
                    <a:pt x="130" y="53"/>
                  </a:moveTo>
                  <a:cubicBezTo>
                    <a:pt x="127" y="63"/>
                    <a:pt x="127" y="63"/>
                    <a:pt x="127" y="63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1" y="76"/>
                    <a:pt x="17" y="21"/>
                    <a:pt x="8" y="19"/>
                  </a:cubicBezTo>
                  <a:cubicBezTo>
                    <a:pt x="0" y="17"/>
                    <a:pt x="34" y="0"/>
                    <a:pt x="34" y="0"/>
                  </a:cubicBezTo>
                  <a:cubicBezTo>
                    <a:pt x="130" y="53"/>
                    <a:pt x="130" y="53"/>
                    <a:pt x="130" y="53"/>
                  </a:cubicBezTo>
                  <a:close/>
                </a:path>
              </a:pathLst>
            </a:custGeom>
            <a:solidFill>
              <a:srgbClr val="323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C66EF48E-85CE-4FE3-8D57-86B13B504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5900" y="3521075"/>
              <a:ext cx="595312" cy="1831975"/>
            </a:xfrm>
            <a:custGeom>
              <a:avLst/>
              <a:gdLst>
                <a:gd name="T0" fmla="*/ 158 w 207"/>
                <a:gd name="T1" fmla="*/ 90 h 636"/>
                <a:gd name="T2" fmla="*/ 171 w 207"/>
                <a:gd name="T3" fmla="*/ 299 h 636"/>
                <a:gd name="T4" fmla="*/ 174 w 207"/>
                <a:gd name="T5" fmla="*/ 387 h 636"/>
                <a:gd name="T6" fmla="*/ 207 w 207"/>
                <a:gd name="T7" fmla="*/ 630 h 636"/>
                <a:gd name="T8" fmla="*/ 121 w 207"/>
                <a:gd name="T9" fmla="*/ 636 h 636"/>
                <a:gd name="T10" fmla="*/ 79 w 207"/>
                <a:gd name="T11" fmla="*/ 365 h 636"/>
                <a:gd name="T12" fmla="*/ 0 w 207"/>
                <a:gd name="T13" fmla="*/ 24 h 636"/>
                <a:gd name="T14" fmla="*/ 158 w 207"/>
                <a:gd name="T15" fmla="*/ 9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7" h="636">
                  <a:moveTo>
                    <a:pt x="158" y="90"/>
                  </a:moveTo>
                  <a:cubicBezTo>
                    <a:pt x="158" y="90"/>
                    <a:pt x="170" y="286"/>
                    <a:pt x="171" y="299"/>
                  </a:cubicBezTo>
                  <a:cubicBezTo>
                    <a:pt x="172" y="313"/>
                    <a:pt x="176" y="377"/>
                    <a:pt x="174" y="387"/>
                  </a:cubicBezTo>
                  <a:cubicBezTo>
                    <a:pt x="172" y="398"/>
                    <a:pt x="207" y="630"/>
                    <a:pt x="207" y="630"/>
                  </a:cubicBezTo>
                  <a:cubicBezTo>
                    <a:pt x="121" y="636"/>
                    <a:pt x="121" y="636"/>
                    <a:pt x="121" y="636"/>
                  </a:cubicBezTo>
                  <a:cubicBezTo>
                    <a:pt x="121" y="636"/>
                    <a:pt x="86" y="396"/>
                    <a:pt x="79" y="365"/>
                  </a:cubicBezTo>
                  <a:cubicBezTo>
                    <a:pt x="72" y="333"/>
                    <a:pt x="1" y="48"/>
                    <a:pt x="0" y="24"/>
                  </a:cubicBezTo>
                  <a:cubicBezTo>
                    <a:pt x="0" y="0"/>
                    <a:pt x="158" y="90"/>
                    <a:pt x="158" y="90"/>
                  </a:cubicBezTo>
                  <a:close/>
                </a:path>
              </a:pathLst>
            </a:custGeom>
            <a:solidFill>
              <a:srgbClr val="2324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52CFC1C3-E880-4F2A-AAED-320DEB721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6188" y="1874838"/>
              <a:ext cx="425450" cy="633412"/>
            </a:xfrm>
            <a:custGeom>
              <a:avLst/>
              <a:gdLst>
                <a:gd name="T0" fmla="*/ 144 w 148"/>
                <a:gd name="T1" fmla="*/ 68 h 220"/>
                <a:gd name="T2" fmla="*/ 139 w 148"/>
                <a:gd name="T3" fmla="*/ 121 h 220"/>
                <a:gd name="T4" fmla="*/ 139 w 148"/>
                <a:gd name="T5" fmla="*/ 168 h 220"/>
                <a:gd name="T6" fmla="*/ 120 w 148"/>
                <a:gd name="T7" fmla="*/ 175 h 220"/>
                <a:gd name="T8" fmla="*/ 80 w 148"/>
                <a:gd name="T9" fmla="*/ 216 h 220"/>
                <a:gd name="T10" fmla="*/ 4 w 148"/>
                <a:gd name="T11" fmla="*/ 153 h 220"/>
                <a:gd name="T12" fmla="*/ 13 w 148"/>
                <a:gd name="T13" fmla="*/ 61 h 220"/>
                <a:gd name="T14" fmla="*/ 144 w 148"/>
                <a:gd name="T15" fmla="*/ 6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8" h="220">
                  <a:moveTo>
                    <a:pt x="144" y="68"/>
                  </a:moveTo>
                  <a:cubicBezTo>
                    <a:pt x="144" y="68"/>
                    <a:pt x="148" y="114"/>
                    <a:pt x="139" y="121"/>
                  </a:cubicBezTo>
                  <a:cubicBezTo>
                    <a:pt x="130" y="129"/>
                    <a:pt x="146" y="165"/>
                    <a:pt x="139" y="168"/>
                  </a:cubicBezTo>
                  <a:cubicBezTo>
                    <a:pt x="133" y="171"/>
                    <a:pt x="121" y="173"/>
                    <a:pt x="120" y="175"/>
                  </a:cubicBezTo>
                  <a:cubicBezTo>
                    <a:pt x="120" y="176"/>
                    <a:pt x="90" y="220"/>
                    <a:pt x="80" y="216"/>
                  </a:cubicBezTo>
                  <a:cubicBezTo>
                    <a:pt x="69" y="213"/>
                    <a:pt x="0" y="177"/>
                    <a:pt x="4" y="153"/>
                  </a:cubicBezTo>
                  <a:cubicBezTo>
                    <a:pt x="8" y="128"/>
                    <a:pt x="13" y="72"/>
                    <a:pt x="13" y="61"/>
                  </a:cubicBezTo>
                  <a:cubicBezTo>
                    <a:pt x="13" y="50"/>
                    <a:pt x="85" y="0"/>
                    <a:pt x="144" y="68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F12D5898-AEA2-4921-A310-736EED611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3671888"/>
              <a:ext cx="139700" cy="103187"/>
            </a:xfrm>
            <a:custGeom>
              <a:avLst/>
              <a:gdLst>
                <a:gd name="T0" fmla="*/ 79 w 88"/>
                <a:gd name="T1" fmla="*/ 0 h 65"/>
                <a:gd name="T2" fmla="*/ 88 w 88"/>
                <a:gd name="T3" fmla="*/ 12 h 65"/>
                <a:gd name="T4" fmla="*/ 18 w 88"/>
                <a:gd name="T5" fmla="*/ 65 h 65"/>
                <a:gd name="T6" fmla="*/ 0 w 88"/>
                <a:gd name="T7" fmla="*/ 45 h 65"/>
                <a:gd name="T8" fmla="*/ 79 w 88"/>
                <a:gd name="T9" fmla="*/ 0 h 65"/>
                <a:gd name="T10" fmla="*/ 79 w 88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65">
                  <a:moveTo>
                    <a:pt x="79" y="0"/>
                  </a:moveTo>
                  <a:lnTo>
                    <a:pt x="88" y="12"/>
                  </a:lnTo>
                  <a:lnTo>
                    <a:pt x="18" y="65"/>
                  </a:lnTo>
                  <a:lnTo>
                    <a:pt x="0" y="45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45EBE398-A956-4BF5-9EDA-F4DE61724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1813" y="4838700"/>
              <a:ext cx="187325" cy="184150"/>
            </a:xfrm>
            <a:custGeom>
              <a:avLst/>
              <a:gdLst>
                <a:gd name="T0" fmla="*/ 65 w 65"/>
                <a:gd name="T1" fmla="*/ 44 h 64"/>
                <a:gd name="T2" fmla="*/ 45 w 65"/>
                <a:gd name="T3" fmla="*/ 64 h 64"/>
                <a:gd name="T4" fmla="*/ 0 w 65"/>
                <a:gd name="T5" fmla="*/ 22 h 64"/>
                <a:gd name="T6" fmla="*/ 16 w 65"/>
                <a:gd name="T7" fmla="*/ 0 h 64"/>
                <a:gd name="T8" fmla="*/ 65 w 65"/>
                <a:gd name="T9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4">
                  <a:moveTo>
                    <a:pt x="65" y="44"/>
                  </a:move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0" y="23"/>
                    <a:pt x="0" y="22"/>
                  </a:cubicBezTo>
                  <a:cubicBezTo>
                    <a:pt x="0" y="22"/>
                    <a:pt x="16" y="0"/>
                    <a:pt x="16" y="0"/>
                  </a:cubicBezTo>
                  <a:cubicBezTo>
                    <a:pt x="65" y="44"/>
                    <a:pt x="65" y="44"/>
                    <a:pt x="65" y="44"/>
                  </a:cubicBezTo>
                  <a:close/>
                </a:path>
              </a:pathLst>
            </a:custGeom>
            <a:solidFill>
              <a:srgbClr val="3D4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22DD7CDE-3C2A-482F-8FE2-939CF35F3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3563" y="5391150"/>
              <a:ext cx="573087" cy="236537"/>
            </a:xfrm>
            <a:custGeom>
              <a:avLst/>
              <a:gdLst>
                <a:gd name="T0" fmla="*/ 83 w 199"/>
                <a:gd name="T1" fmla="*/ 5 h 82"/>
                <a:gd name="T2" fmla="*/ 110 w 199"/>
                <a:gd name="T3" fmla="*/ 29 h 82"/>
                <a:gd name="T4" fmla="*/ 170 w 199"/>
                <a:gd name="T5" fmla="*/ 46 h 82"/>
                <a:gd name="T6" fmla="*/ 196 w 199"/>
                <a:gd name="T7" fmla="*/ 67 h 82"/>
                <a:gd name="T8" fmla="*/ 68 w 199"/>
                <a:gd name="T9" fmla="*/ 76 h 82"/>
                <a:gd name="T10" fmla="*/ 59 w 199"/>
                <a:gd name="T11" fmla="*/ 70 h 82"/>
                <a:gd name="T12" fmla="*/ 54 w 199"/>
                <a:gd name="T13" fmla="*/ 77 h 82"/>
                <a:gd name="T14" fmla="*/ 3 w 199"/>
                <a:gd name="T15" fmla="*/ 76 h 82"/>
                <a:gd name="T16" fmla="*/ 14 w 199"/>
                <a:gd name="T17" fmla="*/ 13 h 82"/>
                <a:gd name="T18" fmla="*/ 67 w 199"/>
                <a:gd name="T19" fmla="*/ 2 h 82"/>
                <a:gd name="T20" fmla="*/ 83 w 199"/>
                <a:gd name="T21" fmla="*/ 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9" h="82">
                  <a:moveTo>
                    <a:pt x="83" y="5"/>
                  </a:moveTo>
                  <a:cubicBezTo>
                    <a:pt x="83" y="5"/>
                    <a:pt x="103" y="27"/>
                    <a:pt x="110" y="29"/>
                  </a:cubicBezTo>
                  <a:cubicBezTo>
                    <a:pt x="117" y="31"/>
                    <a:pt x="154" y="45"/>
                    <a:pt x="170" y="46"/>
                  </a:cubicBezTo>
                  <a:cubicBezTo>
                    <a:pt x="185" y="46"/>
                    <a:pt x="199" y="51"/>
                    <a:pt x="196" y="67"/>
                  </a:cubicBezTo>
                  <a:cubicBezTo>
                    <a:pt x="193" y="82"/>
                    <a:pt x="68" y="76"/>
                    <a:pt x="68" y="76"/>
                  </a:cubicBezTo>
                  <a:cubicBezTo>
                    <a:pt x="68" y="76"/>
                    <a:pt x="62" y="69"/>
                    <a:pt x="59" y="70"/>
                  </a:cubicBezTo>
                  <a:cubicBezTo>
                    <a:pt x="56" y="71"/>
                    <a:pt x="54" y="77"/>
                    <a:pt x="54" y="77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0" y="33"/>
                    <a:pt x="14" y="13"/>
                  </a:cubicBezTo>
                  <a:cubicBezTo>
                    <a:pt x="14" y="13"/>
                    <a:pt x="63" y="4"/>
                    <a:pt x="67" y="2"/>
                  </a:cubicBezTo>
                  <a:cubicBezTo>
                    <a:pt x="71" y="0"/>
                    <a:pt x="83" y="5"/>
                    <a:pt x="83" y="5"/>
                  </a:cubicBezTo>
                  <a:close/>
                </a:path>
              </a:pathLst>
            </a:custGeom>
            <a:solidFill>
              <a:srgbClr val="4E55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F20EE959-8FD6-4A10-BEB5-062C8A2B8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9838" y="1911350"/>
              <a:ext cx="488950" cy="381000"/>
            </a:xfrm>
            <a:custGeom>
              <a:avLst/>
              <a:gdLst>
                <a:gd name="T0" fmla="*/ 62 w 170"/>
                <a:gd name="T1" fmla="*/ 9 h 132"/>
                <a:gd name="T2" fmla="*/ 42 w 170"/>
                <a:gd name="T3" fmla="*/ 16 h 132"/>
                <a:gd name="T4" fmla="*/ 2 w 170"/>
                <a:gd name="T5" fmla="*/ 34 h 132"/>
                <a:gd name="T6" fmla="*/ 7 w 170"/>
                <a:gd name="T7" fmla="*/ 131 h 132"/>
                <a:gd name="T8" fmla="*/ 9 w 170"/>
                <a:gd name="T9" fmla="*/ 127 h 132"/>
                <a:gd name="T10" fmla="*/ 52 w 170"/>
                <a:gd name="T11" fmla="*/ 99 h 132"/>
                <a:gd name="T12" fmla="*/ 67 w 170"/>
                <a:gd name="T13" fmla="*/ 99 h 132"/>
                <a:gd name="T14" fmla="*/ 73 w 170"/>
                <a:gd name="T15" fmla="*/ 74 h 132"/>
                <a:gd name="T16" fmla="*/ 147 w 170"/>
                <a:gd name="T17" fmla="*/ 70 h 132"/>
                <a:gd name="T18" fmla="*/ 62 w 170"/>
                <a:gd name="T19" fmla="*/ 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32">
                  <a:moveTo>
                    <a:pt x="62" y="9"/>
                  </a:moveTo>
                  <a:cubicBezTo>
                    <a:pt x="54" y="10"/>
                    <a:pt x="47" y="13"/>
                    <a:pt x="42" y="16"/>
                  </a:cubicBezTo>
                  <a:cubicBezTo>
                    <a:pt x="36" y="16"/>
                    <a:pt x="3" y="17"/>
                    <a:pt x="2" y="34"/>
                  </a:cubicBezTo>
                  <a:cubicBezTo>
                    <a:pt x="0" y="57"/>
                    <a:pt x="7" y="124"/>
                    <a:pt x="7" y="131"/>
                  </a:cubicBezTo>
                  <a:cubicBezTo>
                    <a:pt x="7" y="132"/>
                    <a:pt x="8" y="130"/>
                    <a:pt x="9" y="127"/>
                  </a:cubicBezTo>
                  <a:cubicBezTo>
                    <a:pt x="20" y="109"/>
                    <a:pt x="52" y="99"/>
                    <a:pt x="52" y="99"/>
                  </a:cubicBezTo>
                  <a:cubicBezTo>
                    <a:pt x="67" y="99"/>
                    <a:pt x="67" y="99"/>
                    <a:pt x="67" y="99"/>
                  </a:cubicBezTo>
                  <a:cubicBezTo>
                    <a:pt x="66" y="84"/>
                    <a:pt x="73" y="74"/>
                    <a:pt x="73" y="74"/>
                  </a:cubicBezTo>
                  <a:cubicBezTo>
                    <a:pt x="94" y="66"/>
                    <a:pt x="147" y="70"/>
                    <a:pt x="147" y="70"/>
                  </a:cubicBezTo>
                  <a:cubicBezTo>
                    <a:pt x="170" y="2"/>
                    <a:pt x="103" y="0"/>
                    <a:pt x="62" y="9"/>
                  </a:cubicBezTo>
                  <a:close/>
                </a:path>
              </a:pathLst>
            </a:custGeom>
            <a:solidFill>
              <a:srgbClr val="16173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E537602D-888C-40AD-B456-F42BA6C27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2108200"/>
              <a:ext cx="85725" cy="152400"/>
            </a:xfrm>
            <a:custGeom>
              <a:avLst/>
              <a:gdLst>
                <a:gd name="T0" fmla="*/ 26 w 30"/>
                <a:gd name="T1" fmla="*/ 13 h 53"/>
                <a:gd name="T2" fmla="*/ 4 w 30"/>
                <a:gd name="T3" fmla="*/ 16 h 53"/>
                <a:gd name="T4" fmla="*/ 23 w 30"/>
                <a:gd name="T5" fmla="*/ 48 h 53"/>
                <a:gd name="T6" fmla="*/ 26 w 30"/>
                <a:gd name="T7" fmla="*/ 1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53">
                  <a:moveTo>
                    <a:pt x="26" y="13"/>
                  </a:moveTo>
                  <a:cubicBezTo>
                    <a:pt x="25" y="7"/>
                    <a:pt x="8" y="0"/>
                    <a:pt x="4" y="16"/>
                  </a:cubicBezTo>
                  <a:cubicBezTo>
                    <a:pt x="0" y="32"/>
                    <a:pt x="15" y="53"/>
                    <a:pt x="23" y="48"/>
                  </a:cubicBezTo>
                  <a:cubicBezTo>
                    <a:pt x="30" y="44"/>
                    <a:pt x="27" y="20"/>
                    <a:pt x="26" y="13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6DC465FC-E000-4F7D-9A5D-D34A43270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8338" y="5416550"/>
              <a:ext cx="60325" cy="184150"/>
            </a:xfrm>
            <a:custGeom>
              <a:avLst/>
              <a:gdLst>
                <a:gd name="T0" fmla="*/ 29 w 38"/>
                <a:gd name="T1" fmla="*/ 116 h 116"/>
                <a:gd name="T2" fmla="*/ 0 w 38"/>
                <a:gd name="T3" fmla="*/ 2 h 116"/>
                <a:gd name="T4" fmla="*/ 7 w 38"/>
                <a:gd name="T5" fmla="*/ 0 h 116"/>
                <a:gd name="T6" fmla="*/ 38 w 38"/>
                <a:gd name="T7" fmla="*/ 114 h 116"/>
                <a:gd name="T8" fmla="*/ 29 w 38"/>
                <a:gd name="T9" fmla="*/ 116 h 116"/>
                <a:gd name="T10" fmla="*/ 29 w 38"/>
                <a:gd name="T1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16">
                  <a:moveTo>
                    <a:pt x="29" y="116"/>
                  </a:moveTo>
                  <a:lnTo>
                    <a:pt x="0" y="2"/>
                  </a:lnTo>
                  <a:lnTo>
                    <a:pt x="7" y="0"/>
                  </a:lnTo>
                  <a:lnTo>
                    <a:pt x="38" y="114"/>
                  </a:lnTo>
                  <a:lnTo>
                    <a:pt x="29" y="116"/>
                  </a:lnTo>
                  <a:lnTo>
                    <a:pt x="29" y="116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2984193E-6178-44A3-9473-2BF1E4B1A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6688" y="3711575"/>
              <a:ext cx="503237" cy="1719262"/>
            </a:xfrm>
            <a:custGeom>
              <a:avLst/>
              <a:gdLst>
                <a:gd name="T0" fmla="*/ 292 w 317"/>
                <a:gd name="T1" fmla="*/ 1083 h 1083"/>
                <a:gd name="T2" fmla="*/ 0 w 317"/>
                <a:gd name="T3" fmla="*/ 7 h 1083"/>
                <a:gd name="T4" fmla="*/ 26 w 317"/>
                <a:gd name="T5" fmla="*/ 0 h 1083"/>
                <a:gd name="T6" fmla="*/ 317 w 317"/>
                <a:gd name="T7" fmla="*/ 1076 h 1083"/>
                <a:gd name="T8" fmla="*/ 292 w 317"/>
                <a:gd name="T9" fmla="*/ 1083 h 1083"/>
                <a:gd name="T10" fmla="*/ 292 w 317"/>
                <a:gd name="T11" fmla="*/ 1083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7" h="1083">
                  <a:moveTo>
                    <a:pt x="292" y="1083"/>
                  </a:moveTo>
                  <a:lnTo>
                    <a:pt x="0" y="7"/>
                  </a:lnTo>
                  <a:lnTo>
                    <a:pt x="26" y="0"/>
                  </a:lnTo>
                  <a:lnTo>
                    <a:pt x="317" y="1076"/>
                  </a:lnTo>
                  <a:lnTo>
                    <a:pt x="292" y="1083"/>
                  </a:lnTo>
                  <a:lnTo>
                    <a:pt x="292" y="1083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DC9F6958-9825-4864-964F-0D788313D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0738" y="4103688"/>
              <a:ext cx="2155825" cy="1344612"/>
            </a:xfrm>
            <a:custGeom>
              <a:avLst/>
              <a:gdLst>
                <a:gd name="T0" fmla="*/ 696 w 1358"/>
                <a:gd name="T1" fmla="*/ 847 h 847"/>
                <a:gd name="T2" fmla="*/ 0 w 1358"/>
                <a:gd name="T3" fmla="*/ 707 h 847"/>
                <a:gd name="T4" fmla="*/ 468 w 1358"/>
                <a:gd name="T5" fmla="*/ 0 h 847"/>
                <a:gd name="T6" fmla="*/ 1330 w 1358"/>
                <a:gd name="T7" fmla="*/ 0 h 847"/>
                <a:gd name="T8" fmla="*/ 1330 w 1358"/>
                <a:gd name="T9" fmla="*/ 25 h 847"/>
                <a:gd name="T10" fmla="*/ 482 w 1358"/>
                <a:gd name="T11" fmla="*/ 25 h 847"/>
                <a:gd name="T12" fmla="*/ 44 w 1358"/>
                <a:gd name="T13" fmla="*/ 691 h 847"/>
                <a:gd name="T14" fmla="*/ 687 w 1358"/>
                <a:gd name="T15" fmla="*/ 818 h 847"/>
                <a:gd name="T16" fmla="*/ 1341 w 1358"/>
                <a:gd name="T17" fmla="*/ 78 h 847"/>
                <a:gd name="T18" fmla="*/ 1358 w 1358"/>
                <a:gd name="T19" fmla="*/ 100 h 847"/>
                <a:gd name="T20" fmla="*/ 696 w 1358"/>
                <a:gd name="T21" fmla="*/ 847 h 847"/>
                <a:gd name="T22" fmla="*/ 696 w 1358"/>
                <a:gd name="T23" fmla="*/ 847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8" h="847">
                  <a:moveTo>
                    <a:pt x="696" y="847"/>
                  </a:moveTo>
                  <a:lnTo>
                    <a:pt x="0" y="707"/>
                  </a:lnTo>
                  <a:lnTo>
                    <a:pt x="468" y="0"/>
                  </a:lnTo>
                  <a:lnTo>
                    <a:pt x="1330" y="0"/>
                  </a:lnTo>
                  <a:lnTo>
                    <a:pt x="1330" y="25"/>
                  </a:lnTo>
                  <a:lnTo>
                    <a:pt x="482" y="25"/>
                  </a:lnTo>
                  <a:lnTo>
                    <a:pt x="44" y="691"/>
                  </a:lnTo>
                  <a:lnTo>
                    <a:pt x="687" y="818"/>
                  </a:lnTo>
                  <a:lnTo>
                    <a:pt x="1341" y="78"/>
                  </a:lnTo>
                  <a:lnTo>
                    <a:pt x="1358" y="100"/>
                  </a:lnTo>
                  <a:lnTo>
                    <a:pt x="696" y="847"/>
                  </a:lnTo>
                  <a:lnTo>
                    <a:pt x="696" y="847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34E2EC43-AB9D-4325-BEDC-6AF139652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7513" y="5180013"/>
              <a:ext cx="471487" cy="466725"/>
            </a:xfrm>
            <a:custGeom>
              <a:avLst/>
              <a:gdLst>
                <a:gd name="T0" fmla="*/ 84 w 164"/>
                <a:gd name="T1" fmla="*/ 24 h 162"/>
                <a:gd name="T2" fmla="*/ 25 w 164"/>
                <a:gd name="T3" fmla="*/ 73 h 162"/>
                <a:gd name="T4" fmla="*/ 73 w 164"/>
                <a:gd name="T5" fmla="*/ 143 h 162"/>
                <a:gd name="T6" fmla="*/ 143 w 164"/>
                <a:gd name="T7" fmla="*/ 95 h 162"/>
                <a:gd name="T8" fmla="*/ 133 w 164"/>
                <a:gd name="T9" fmla="*/ 50 h 162"/>
                <a:gd name="T10" fmla="*/ 95 w 164"/>
                <a:gd name="T11" fmla="*/ 25 h 162"/>
                <a:gd name="T12" fmla="*/ 84 w 164"/>
                <a:gd name="T13" fmla="*/ 24 h 162"/>
                <a:gd name="T14" fmla="*/ 84 w 164"/>
                <a:gd name="T15" fmla="*/ 162 h 162"/>
                <a:gd name="T16" fmla="*/ 70 w 164"/>
                <a:gd name="T17" fmla="*/ 161 h 162"/>
                <a:gd name="T18" fmla="*/ 8 w 164"/>
                <a:gd name="T19" fmla="*/ 70 h 162"/>
                <a:gd name="T20" fmla="*/ 98 w 164"/>
                <a:gd name="T21" fmla="*/ 8 h 162"/>
                <a:gd name="T22" fmla="*/ 148 w 164"/>
                <a:gd name="T23" fmla="*/ 40 h 162"/>
                <a:gd name="T24" fmla="*/ 160 w 164"/>
                <a:gd name="T25" fmla="*/ 99 h 162"/>
                <a:gd name="T26" fmla="*/ 84 w 164"/>
                <a:gd name="T2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162">
                  <a:moveTo>
                    <a:pt x="84" y="24"/>
                  </a:moveTo>
                  <a:cubicBezTo>
                    <a:pt x="56" y="24"/>
                    <a:pt x="30" y="45"/>
                    <a:pt x="25" y="73"/>
                  </a:cubicBezTo>
                  <a:cubicBezTo>
                    <a:pt x="19" y="106"/>
                    <a:pt x="41" y="137"/>
                    <a:pt x="73" y="143"/>
                  </a:cubicBezTo>
                  <a:cubicBezTo>
                    <a:pt x="106" y="149"/>
                    <a:pt x="137" y="128"/>
                    <a:pt x="143" y="95"/>
                  </a:cubicBezTo>
                  <a:cubicBezTo>
                    <a:pt x="146" y="80"/>
                    <a:pt x="143" y="64"/>
                    <a:pt x="133" y="50"/>
                  </a:cubicBezTo>
                  <a:cubicBezTo>
                    <a:pt x="124" y="37"/>
                    <a:pt x="111" y="28"/>
                    <a:pt x="95" y="25"/>
                  </a:cubicBezTo>
                  <a:cubicBezTo>
                    <a:pt x="91" y="25"/>
                    <a:pt x="88" y="24"/>
                    <a:pt x="84" y="24"/>
                  </a:cubicBezTo>
                  <a:close/>
                  <a:moveTo>
                    <a:pt x="84" y="162"/>
                  </a:moveTo>
                  <a:cubicBezTo>
                    <a:pt x="79" y="162"/>
                    <a:pt x="75" y="162"/>
                    <a:pt x="70" y="161"/>
                  </a:cubicBezTo>
                  <a:cubicBezTo>
                    <a:pt x="28" y="153"/>
                    <a:pt x="0" y="112"/>
                    <a:pt x="8" y="70"/>
                  </a:cubicBezTo>
                  <a:cubicBezTo>
                    <a:pt x="16" y="28"/>
                    <a:pt x="56" y="0"/>
                    <a:pt x="98" y="8"/>
                  </a:cubicBezTo>
                  <a:cubicBezTo>
                    <a:pt x="119" y="12"/>
                    <a:pt x="136" y="23"/>
                    <a:pt x="148" y="40"/>
                  </a:cubicBezTo>
                  <a:cubicBezTo>
                    <a:pt x="160" y="58"/>
                    <a:pt x="164" y="78"/>
                    <a:pt x="160" y="99"/>
                  </a:cubicBezTo>
                  <a:cubicBezTo>
                    <a:pt x="153" y="136"/>
                    <a:pt x="121" y="162"/>
                    <a:pt x="84" y="162"/>
                  </a:cubicBezTo>
                  <a:close/>
                </a:path>
              </a:pathLst>
            </a:custGeom>
            <a:solidFill>
              <a:srgbClr val="5B8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01FCFA00-4077-4ED5-ADAF-A5B1AC36F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9213" y="3541713"/>
              <a:ext cx="454025" cy="227012"/>
            </a:xfrm>
            <a:custGeom>
              <a:avLst/>
              <a:gdLst>
                <a:gd name="T0" fmla="*/ 3 w 158"/>
                <a:gd name="T1" fmla="*/ 25 h 79"/>
                <a:gd name="T2" fmla="*/ 41 w 158"/>
                <a:gd name="T3" fmla="*/ 74 h 79"/>
                <a:gd name="T4" fmla="*/ 158 w 158"/>
                <a:gd name="T5" fmla="*/ 74 h 79"/>
                <a:gd name="T6" fmla="*/ 3 w 158"/>
                <a:gd name="T7" fmla="*/ 2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79">
                  <a:moveTo>
                    <a:pt x="3" y="25"/>
                  </a:moveTo>
                  <a:cubicBezTo>
                    <a:pt x="3" y="25"/>
                    <a:pt x="0" y="69"/>
                    <a:pt x="41" y="74"/>
                  </a:cubicBezTo>
                  <a:cubicBezTo>
                    <a:pt x="83" y="79"/>
                    <a:pt x="158" y="74"/>
                    <a:pt x="158" y="74"/>
                  </a:cubicBezTo>
                  <a:cubicBezTo>
                    <a:pt x="158" y="74"/>
                    <a:pt x="51" y="0"/>
                    <a:pt x="3" y="25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304CE705-06B2-4CA1-A1D7-EFC8EB03A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6338" y="4425950"/>
              <a:ext cx="1587500" cy="1592262"/>
            </a:xfrm>
            <a:custGeom>
              <a:avLst/>
              <a:gdLst>
                <a:gd name="T0" fmla="*/ 276 w 552"/>
                <a:gd name="T1" fmla="*/ 15 h 553"/>
                <a:gd name="T2" fmla="*/ 14 w 552"/>
                <a:gd name="T3" fmla="*/ 277 h 553"/>
                <a:gd name="T4" fmla="*/ 276 w 552"/>
                <a:gd name="T5" fmla="*/ 539 h 553"/>
                <a:gd name="T6" fmla="*/ 538 w 552"/>
                <a:gd name="T7" fmla="*/ 277 h 553"/>
                <a:gd name="T8" fmla="*/ 276 w 552"/>
                <a:gd name="T9" fmla="*/ 15 h 553"/>
                <a:gd name="T10" fmla="*/ 276 w 552"/>
                <a:gd name="T11" fmla="*/ 553 h 553"/>
                <a:gd name="T12" fmla="*/ 168 w 552"/>
                <a:gd name="T13" fmla="*/ 531 h 553"/>
                <a:gd name="T14" fmla="*/ 81 w 552"/>
                <a:gd name="T15" fmla="*/ 472 h 553"/>
                <a:gd name="T16" fmla="*/ 21 w 552"/>
                <a:gd name="T17" fmla="*/ 384 h 553"/>
                <a:gd name="T18" fmla="*/ 0 w 552"/>
                <a:gd name="T19" fmla="*/ 277 h 553"/>
                <a:gd name="T20" fmla="*/ 21 w 552"/>
                <a:gd name="T21" fmla="*/ 169 h 553"/>
                <a:gd name="T22" fmla="*/ 81 w 552"/>
                <a:gd name="T23" fmla="*/ 81 h 553"/>
                <a:gd name="T24" fmla="*/ 168 w 552"/>
                <a:gd name="T25" fmla="*/ 22 h 553"/>
                <a:gd name="T26" fmla="*/ 276 w 552"/>
                <a:gd name="T27" fmla="*/ 0 h 553"/>
                <a:gd name="T28" fmla="*/ 384 w 552"/>
                <a:gd name="T29" fmla="*/ 22 h 553"/>
                <a:gd name="T30" fmla="*/ 471 w 552"/>
                <a:gd name="T31" fmla="*/ 81 h 553"/>
                <a:gd name="T32" fmla="*/ 531 w 552"/>
                <a:gd name="T33" fmla="*/ 169 h 553"/>
                <a:gd name="T34" fmla="*/ 552 w 552"/>
                <a:gd name="T35" fmla="*/ 277 h 553"/>
                <a:gd name="T36" fmla="*/ 531 w 552"/>
                <a:gd name="T37" fmla="*/ 384 h 553"/>
                <a:gd name="T38" fmla="*/ 471 w 552"/>
                <a:gd name="T39" fmla="*/ 472 h 553"/>
                <a:gd name="T40" fmla="*/ 384 w 552"/>
                <a:gd name="T41" fmla="*/ 531 h 553"/>
                <a:gd name="T42" fmla="*/ 276 w 552"/>
                <a:gd name="T43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2" h="553">
                  <a:moveTo>
                    <a:pt x="276" y="15"/>
                  </a:moveTo>
                  <a:cubicBezTo>
                    <a:pt x="131" y="15"/>
                    <a:pt x="14" y="132"/>
                    <a:pt x="14" y="277"/>
                  </a:cubicBezTo>
                  <a:cubicBezTo>
                    <a:pt x="14" y="421"/>
                    <a:pt x="131" y="539"/>
                    <a:pt x="276" y="539"/>
                  </a:cubicBezTo>
                  <a:cubicBezTo>
                    <a:pt x="421" y="539"/>
                    <a:pt x="538" y="421"/>
                    <a:pt x="538" y="277"/>
                  </a:cubicBezTo>
                  <a:cubicBezTo>
                    <a:pt x="538" y="132"/>
                    <a:pt x="421" y="15"/>
                    <a:pt x="276" y="15"/>
                  </a:cubicBezTo>
                  <a:close/>
                  <a:moveTo>
                    <a:pt x="276" y="553"/>
                  </a:moveTo>
                  <a:cubicBezTo>
                    <a:pt x="239" y="553"/>
                    <a:pt x="203" y="546"/>
                    <a:pt x="168" y="531"/>
                  </a:cubicBezTo>
                  <a:cubicBezTo>
                    <a:pt x="136" y="518"/>
                    <a:pt x="106" y="498"/>
                    <a:pt x="81" y="472"/>
                  </a:cubicBezTo>
                  <a:cubicBezTo>
                    <a:pt x="55" y="447"/>
                    <a:pt x="35" y="417"/>
                    <a:pt x="21" y="384"/>
                  </a:cubicBezTo>
                  <a:cubicBezTo>
                    <a:pt x="7" y="350"/>
                    <a:pt x="0" y="314"/>
                    <a:pt x="0" y="277"/>
                  </a:cubicBezTo>
                  <a:cubicBezTo>
                    <a:pt x="0" y="239"/>
                    <a:pt x="7" y="203"/>
                    <a:pt x="21" y="169"/>
                  </a:cubicBezTo>
                  <a:cubicBezTo>
                    <a:pt x="35" y="136"/>
                    <a:pt x="55" y="107"/>
                    <a:pt x="81" y="81"/>
                  </a:cubicBezTo>
                  <a:cubicBezTo>
                    <a:pt x="106" y="56"/>
                    <a:pt x="136" y="36"/>
                    <a:pt x="168" y="22"/>
                  </a:cubicBezTo>
                  <a:cubicBezTo>
                    <a:pt x="203" y="8"/>
                    <a:pt x="239" y="0"/>
                    <a:pt x="276" y="0"/>
                  </a:cubicBezTo>
                  <a:cubicBezTo>
                    <a:pt x="313" y="0"/>
                    <a:pt x="350" y="8"/>
                    <a:pt x="384" y="22"/>
                  </a:cubicBezTo>
                  <a:cubicBezTo>
                    <a:pt x="417" y="36"/>
                    <a:pt x="446" y="56"/>
                    <a:pt x="471" y="81"/>
                  </a:cubicBezTo>
                  <a:cubicBezTo>
                    <a:pt x="497" y="107"/>
                    <a:pt x="517" y="136"/>
                    <a:pt x="531" y="169"/>
                  </a:cubicBezTo>
                  <a:cubicBezTo>
                    <a:pt x="545" y="203"/>
                    <a:pt x="552" y="239"/>
                    <a:pt x="552" y="277"/>
                  </a:cubicBezTo>
                  <a:cubicBezTo>
                    <a:pt x="552" y="314"/>
                    <a:pt x="545" y="350"/>
                    <a:pt x="531" y="384"/>
                  </a:cubicBezTo>
                  <a:cubicBezTo>
                    <a:pt x="517" y="417"/>
                    <a:pt x="497" y="447"/>
                    <a:pt x="471" y="472"/>
                  </a:cubicBezTo>
                  <a:cubicBezTo>
                    <a:pt x="446" y="498"/>
                    <a:pt x="417" y="518"/>
                    <a:pt x="384" y="531"/>
                  </a:cubicBezTo>
                  <a:cubicBezTo>
                    <a:pt x="350" y="546"/>
                    <a:pt x="313" y="553"/>
                    <a:pt x="276" y="55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8EF6D8FC-18D5-4EDD-8608-633AAF4BA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7613" y="4468813"/>
              <a:ext cx="1506537" cy="1509712"/>
            </a:xfrm>
            <a:custGeom>
              <a:avLst/>
              <a:gdLst>
                <a:gd name="T0" fmla="*/ 262 w 524"/>
                <a:gd name="T1" fmla="*/ 14 h 524"/>
                <a:gd name="T2" fmla="*/ 14 w 524"/>
                <a:gd name="T3" fmla="*/ 262 h 524"/>
                <a:gd name="T4" fmla="*/ 262 w 524"/>
                <a:gd name="T5" fmla="*/ 510 h 524"/>
                <a:gd name="T6" fmla="*/ 510 w 524"/>
                <a:gd name="T7" fmla="*/ 262 h 524"/>
                <a:gd name="T8" fmla="*/ 262 w 524"/>
                <a:gd name="T9" fmla="*/ 14 h 524"/>
                <a:gd name="T10" fmla="*/ 262 w 524"/>
                <a:gd name="T11" fmla="*/ 524 h 524"/>
                <a:gd name="T12" fmla="*/ 160 w 524"/>
                <a:gd name="T13" fmla="*/ 503 h 524"/>
                <a:gd name="T14" fmla="*/ 77 w 524"/>
                <a:gd name="T15" fmla="*/ 447 h 524"/>
                <a:gd name="T16" fmla="*/ 21 w 524"/>
                <a:gd name="T17" fmla="*/ 364 h 524"/>
                <a:gd name="T18" fmla="*/ 0 w 524"/>
                <a:gd name="T19" fmla="*/ 262 h 524"/>
                <a:gd name="T20" fmla="*/ 21 w 524"/>
                <a:gd name="T21" fmla="*/ 160 h 524"/>
                <a:gd name="T22" fmla="*/ 77 w 524"/>
                <a:gd name="T23" fmla="*/ 77 h 524"/>
                <a:gd name="T24" fmla="*/ 160 w 524"/>
                <a:gd name="T25" fmla="*/ 20 h 524"/>
                <a:gd name="T26" fmla="*/ 262 w 524"/>
                <a:gd name="T27" fmla="*/ 0 h 524"/>
                <a:gd name="T28" fmla="*/ 364 w 524"/>
                <a:gd name="T29" fmla="*/ 20 h 524"/>
                <a:gd name="T30" fmla="*/ 447 w 524"/>
                <a:gd name="T31" fmla="*/ 77 h 524"/>
                <a:gd name="T32" fmla="*/ 503 w 524"/>
                <a:gd name="T33" fmla="*/ 160 h 524"/>
                <a:gd name="T34" fmla="*/ 524 w 524"/>
                <a:gd name="T35" fmla="*/ 262 h 524"/>
                <a:gd name="T36" fmla="*/ 503 w 524"/>
                <a:gd name="T37" fmla="*/ 364 h 524"/>
                <a:gd name="T38" fmla="*/ 447 w 524"/>
                <a:gd name="T39" fmla="*/ 447 h 524"/>
                <a:gd name="T40" fmla="*/ 364 w 524"/>
                <a:gd name="T41" fmla="*/ 503 h 524"/>
                <a:gd name="T42" fmla="*/ 262 w 524"/>
                <a:gd name="T4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4" h="524">
                  <a:moveTo>
                    <a:pt x="262" y="14"/>
                  </a:moveTo>
                  <a:cubicBezTo>
                    <a:pt x="125" y="14"/>
                    <a:pt x="14" y="125"/>
                    <a:pt x="14" y="262"/>
                  </a:cubicBezTo>
                  <a:cubicBezTo>
                    <a:pt x="14" y="399"/>
                    <a:pt x="125" y="510"/>
                    <a:pt x="262" y="510"/>
                  </a:cubicBezTo>
                  <a:cubicBezTo>
                    <a:pt x="399" y="510"/>
                    <a:pt x="510" y="399"/>
                    <a:pt x="510" y="262"/>
                  </a:cubicBezTo>
                  <a:cubicBezTo>
                    <a:pt x="510" y="125"/>
                    <a:pt x="399" y="14"/>
                    <a:pt x="262" y="14"/>
                  </a:cubicBezTo>
                  <a:close/>
                  <a:moveTo>
                    <a:pt x="262" y="524"/>
                  </a:moveTo>
                  <a:cubicBezTo>
                    <a:pt x="227" y="524"/>
                    <a:pt x="192" y="517"/>
                    <a:pt x="160" y="503"/>
                  </a:cubicBezTo>
                  <a:cubicBezTo>
                    <a:pt x="129" y="490"/>
                    <a:pt x="101" y="471"/>
                    <a:pt x="77" y="447"/>
                  </a:cubicBezTo>
                  <a:cubicBezTo>
                    <a:pt x="53" y="423"/>
                    <a:pt x="34" y="395"/>
                    <a:pt x="21" y="364"/>
                  </a:cubicBezTo>
                  <a:cubicBezTo>
                    <a:pt x="7" y="331"/>
                    <a:pt x="0" y="297"/>
                    <a:pt x="0" y="262"/>
                  </a:cubicBezTo>
                  <a:cubicBezTo>
                    <a:pt x="0" y="226"/>
                    <a:pt x="7" y="192"/>
                    <a:pt x="21" y="160"/>
                  </a:cubicBezTo>
                  <a:cubicBezTo>
                    <a:pt x="34" y="129"/>
                    <a:pt x="53" y="101"/>
                    <a:pt x="77" y="77"/>
                  </a:cubicBezTo>
                  <a:cubicBezTo>
                    <a:pt x="101" y="52"/>
                    <a:pt x="129" y="34"/>
                    <a:pt x="160" y="20"/>
                  </a:cubicBezTo>
                  <a:cubicBezTo>
                    <a:pt x="192" y="7"/>
                    <a:pt x="227" y="0"/>
                    <a:pt x="262" y="0"/>
                  </a:cubicBezTo>
                  <a:cubicBezTo>
                    <a:pt x="297" y="0"/>
                    <a:pt x="332" y="7"/>
                    <a:pt x="364" y="20"/>
                  </a:cubicBezTo>
                  <a:cubicBezTo>
                    <a:pt x="395" y="34"/>
                    <a:pt x="423" y="52"/>
                    <a:pt x="447" y="77"/>
                  </a:cubicBezTo>
                  <a:cubicBezTo>
                    <a:pt x="471" y="101"/>
                    <a:pt x="490" y="129"/>
                    <a:pt x="503" y="160"/>
                  </a:cubicBezTo>
                  <a:cubicBezTo>
                    <a:pt x="517" y="192"/>
                    <a:pt x="524" y="226"/>
                    <a:pt x="524" y="262"/>
                  </a:cubicBezTo>
                  <a:cubicBezTo>
                    <a:pt x="524" y="297"/>
                    <a:pt x="517" y="331"/>
                    <a:pt x="503" y="364"/>
                  </a:cubicBezTo>
                  <a:cubicBezTo>
                    <a:pt x="490" y="395"/>
                    <a:pt x="471" y="423"/>
                    <a:pt x="447" y="447"/>
                  </a:cubicBezTo>
                  <a:cubicBezTo>
                    <a:pt x="423" y="471"/>
                    <a:pt x="395" y="490"/>
                    <a:pt x="364" y="503"/>
                  </a:cubicBezTo>
                  <a:cubicBezTo>
                    <a:pt x="332" y="517"/>
                    <a:pt x="297" y="524"/>
                    <a:pt x="262" y="524"/>
                  </a:cubicBezTo>
                  <a:close/>
                </a:path>
              </a:pathLst>
            </a:cu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17C37C11-77E1-4E36-838F-634544F7BD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1913" y="4425950"/>
              <a:ext cx="1587500" cy="1592262"/>
            </a:xfrm>
            <a:custGeom>
              <a:avLst/>
              <a:gdLst>
                <a:gd name="T0" fmla="*/ 276 w 552"/>
                <a:gd name="T1" fmla="*/ 15 h 553"/>
                <a:gd name="T2" fmla="*/ 14 w 552"/>
                <a:gd name="T3" fmla="*/ 277 h 553"/>
                <a:gd name="T4" fmla="*/ 276 w 552"/>
                <a:gd name="T5" fmla="*/ 539 h 553"/>
                <a:gd name="T6" fmla="*/ 538 w 552"/>
                <a:gd name="T7" fmla="*/ 277 h 553"/>
                <a:gd name="T8" fmla="*/ 276 w 552"/>
                <a:gd name="T9" fmla="*/ 15 h 553"/>
                <a:gd name="T10" fmla="*/ 276 w 552"/>
                <a:gd name="T11" fmla="*/ 553 h 553"/>
                <a:gd name="T12" fmla="*/ 168 w 552"/>
                <a:gd name="T13" fmla="*/ 531 h 553"/>
                <a:gd name="T14" fmla="*/ 81 w 552"/>
                <a:gd name="T15" fmla="*/ 472 h 553"/>
                <a:gd name="T16" fmla="*/ 21 w 552"/>
                <a:gd name="T17" fmla="*/ 384 h 553"/>
                <a:gd name="T18" fmla="*/ 0 w 552"/>
                <a:gd name="T19" fmla="*/ 277 h 553"/>
                <a:gd name="T20" fmla="*/ 21 w 552"/>
                <a:gd name="T21" fmla="*/ 169 h 553"/>
                <a:gd name="T22" fmla="*/ 81 w 552"/>
                <a:gd name="T23" fmla="*/ 81 h 553"/>
                <a:gd name="T24" fmla="*/ 168 w 552"/>
                <a:gd name="T25" fmla="*/ 22 h 553"/>
                <a:gd name="T26" fmla="*/ 276 w 552"/>
                <a:gd name="T27" fmla="*/ 0 h 553"/>
                <a:gd name="T28" fmla="*/ 384 w 552"/>
                <a:gd name="T29" fmla="*/ 22 h 553"/>
                <a:gd name="T30" fmla="*/ 471 w 552"/>
                <a:gd name="T31" fmla="*/ 81 h 553"/>
                <a:gd name="T32" fmla="*/ 531 w 552"/>
                <a:gd name="T33" fmla="*/ 169 h 553"/>
                <a:gd name="T34" fmla="*/ 552 w 552"/>
                <a:gd name="T35" fmla="*/ 277 h 553"/>
                <a:gd name="T36" fmla="*/ 531 w 552"/>
                <a:gd name="T37" fmla="*/ 384 h 553"/>
                <a:gd name="T38" fmla="*/ 471 w 552"/>
                <a:gd name="T39" fmla="*/ 472 h 553"/>
                <a:gd name="T40" fmla="*/ 384 w 552"/>
                <a:gd name="T41" fmla="*/ 531 h 553"/>
                <a:gd name="T42" fmla="*/ 276 w 552"/>
                <a:gd name="T43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2" h="553">
                  <a:moveTo>
                    <a:pt x="276" y="15"/>
                  </a:moveTo>
                  <a:cubicBezTo>
                    <a:pt x="131" y="15"/>
                    <a:pt x="14" y="132"/>
                    <a:pt x="14" y="277"/>
                  </a:cubicBezTo>
                  <a:cubicBezTo>
                    <a:pt x="14" y="421"/>
                    <a:pt x="131" y="539"/>
                    <a:pt x="276" y="539"/>
                  </a:cubicBezTo>
                  <a:cubicBezTo>
                    <a:pt x="421" y="539"/>
                    <a:pt x="538" y="421"/>
                    <a:pt x="538" y="277"/>
                  </a:cubicBezTo>
                  <a:cubicBezTo>
                    <a:pt x="538" y="132"/>
                    <a:pt x="421" y="15"/>
                    <a:pt x="276" y="15"/>
                  </a:cubicBezTo>
                  <a:close/>
                  <a:moveTo>
                    <a:pt x="276" y="553"/>
                  </a:moveTo>
                  <a:cubicBezTo>
                    <a:pt x="239" y="553"/>
                    <a:pt x="203" y="546"/>
                    <a:pt x="168" y="531"/>
                  </a:cubicBezTo>
                  <a:cubicBezTo>
                    <a:pt x="136" y="518"/>
                    <a:pt x="106" y="498"/>
                    <a:pt x="81" y="472"/>
                  </a:cubicBezTo>
                  <a:cubicBezTo>
                    <a:pt x="55" y="447"/>
                    <a:pt x="35" y="417"/>
                    <a:pt x="21" y="384"/>
                  </a:cubicBezTo>
                  <a:cubicBezTo>
                    <a:pt x="7" y="350"/>
                    <a:pt x="0" y="314"/>
                    <a:pt x="0" y="277"/>
                  </a:cubicBezTo>
                  <a:cubicBezTo>
                    <a:pt x="0" y="239"/>
                    <a:pt x="7" y="203"/>
                    <a:pt x="21" y="169"/>
                  </a:cubicBezTo>
                  <a:cubicBezTo>
                    <a:pt x="35" y="136"/>
                    <a:pt x="55" y="107"/>
                    <a:pt x="81" y="81"/>
                  </a:cubicBezTo>
                  <a:cubicBezTo>
                    <a:pt x="106" y="56"/>
                    <a:pt x="136" y="36"/>
                    <a:pt x="168" y="22"/>
                  </a:cubicBezTo>
                  <a:cubicBezTo>
                    <a:pt x="203" y="8"/>
                    <a:pt x="239" y="0"/>
                    <a:pt x="276" y="0"/>
                  </a:cubicBezTo>
                  <a:cubicBezTo>
                    <a:pt x="313" y="0"/>
                    <a:pt x="350" y="8"/>
                    <a:pt x="384" y="22"/>
                  </a:cubicBezTo>
                  <a:cubicBezTo>
                    <a:pt x="417" y="36"/>
                    <a:pt x="446" y="56"/>
                    <a:pt x="471" y="81"/>
                  </a:cubicBezTo>
                  <a:cubicBezTo>
                    <a:pt x="497" y="107"/>
                    <a:pt x="517" y="136"/>
                    <a:pt x="531" y="169"/>
                  </a:cubicBezTo>
                  <a:cubicBezTo>
                    <a:pt x="545" y="203"/>
                    <a:pt x="552" y="239"/>
                    <a:pt x="552" y="277"/>
                  </a:cubicBezTo>
                  <a:cubicBezTo>
                    <a:pt x="552" y="314"/>
                    <a:pt x="545" y="350"/>
                    <a:pt x="531" y="384"/>
                  </a:cubicBezTo>
                  <a:cubicBezTo>
                    <a:pt x="517" y="417"/>
                    <a:pt x="497" y="447"/>
                    <a:pt x="471" y="472"/>
                  </a:cubicBezTo>
                  <a:cubicBezTo>
                    <a:pt x="446" y="498"/>
                    <a:pt x="417" y="518"/>
                    <a:pt x="384" y="531"/>
                  </a:cubicBezTo>
                  <a:cubicBezTo>
                    <a:pt x="350" y="546"/>
                    <a:pt x="313" y="553"/>
                    <a:pt x="276" y="55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6405A48C-3890-4BE8-A73A-5A7BFD5954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1600" y="4468813"/>
              <a:ext cx="1508125" cy="1509712"/>
            </a:xfrm>
            <a:custGeom>
              <a:avLst/>
              <a:gdLst>
                <a:gd name="T0" fmla="*/ 262 w 524"/>
                <a:gd name="T1" fmla="*/ 14 h 524"/>
                <a:gd name="T2" fmla="*/ 14 w 524"/>
                <a:gd name="T3" fmla="*/ 262 h 524"/>
                <a:gd name="T4" fmla="*/ 262 w 524"/>
                <a:gd name="T5" fmla="*/ 510 h 524"/>
                <a:gd name="T6" fmla="*/ 510 w 524"/>
                <a:gd name="T7" fmla="*/ 262 h 524"/>
                <a:gd name="T8" fmla="*/ 262 w 524"/>
                <a:gd name="T9" fmla="*/ 14 h 524"/>
                <a:gd name="T10" fmla="*/ 262 w 524"/>
                <a:gd name="T11" fmla="*/ 524 h 524"/>
                <a:gd name="T12" fmla="*/ 160 w 524"/>
                <a:gd name="T13" fmla="*/ 503 h 524"/>
                <a:gd name="T14" fmla="*/ 77 w 524"/>
                <a:gd name="T15" fmla="*/ 447 h 524"/>
                <a:gd name="T16" fmla="*/ 21 w 524"/>
                <a:gd name="T17" fmla="*/ 364 h 524"/>
                <a:gd name="T18" fmla="*/ 0 w 524"/>
                <a:gd name="T19" fmla="*/ 262 h 524"/>
                <a:gd name="T20" fmla="*/ 21 w 524"/>
                <a:gd name="T21" fmla="*/ 160 h 524"/>
                <a:gd name="T22" fmla="*/ 77 w 524"/>
                <a:gd name="T23" fmla="*/ 77 h 524"/>
                <a:gd name="T24" fmla="*/ 160 w 524"/>
                <a:gd name="T25" fmla="*/ 20 h 524"/>
                <a:gd name="T26" fmla="*/ 262 w 524"/>
                <a:gd name="T27" fmla="*/ 0 h 524"/>
                <a:gd name="T28" fmla="*/ 364 w 524"/>
                <a:gd name="T29" fmla="*/ 20 h 524"/>
                <a:gd name="T30" fmla="*/ 447 w 524"/>
                <a:gd name="T31" fmla="*/ 77 h 524"/>
                <a:gd name="T32" fmla="*/ 503 w 524"/>
                <a:gd name="T33" fmla="*/ 160 h 524"/>
                <a:gd name="T34" fmla="*/ 524 w 524"/>
                <a:gd name="T35" fmla="*/ 262 h 524"/>
                <a:gd name="T36" fmla="*/ 503 w 524"/>
                <a:gd name="T37" fmla="*/ 364 h 524"/>
                <a:gd name="T38" fmla="*/ 447 w 524"/>
                <a:gd name="T39" fmla="*/ 447 h 524"/>
                <a:gd name="T40" fmla="*/ 364 w 524"/>
                <a:gd name="T41" fmla="*/ 503 h 524"/>
                <a:gd name="T42" fmla="*/ 262 w 524"/>
                <a:gd name="T4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4" h="524">
                  <a:moveTo>
                    <a:pt x="262" y="14"/>
                  </a:moveTo>
                  <a:cubicBezTo>
                    <a:pt x="125" y="14"/>
                    <a:pt x="14" y="125"/>
                    <a:pt x="14" y="262"/>
                  </a:cubicBezTo>
                  <a:cubicBezTo>
                    <a:pt x="14" y="399"/>
                    <a:pt x="125" y="510"/>
                    <a:pt x="262" y="510"/>
                  </a:cubicBezTo>
                  <a:cubicBezTo>
                    <a:pt x="399" y="510"/>
                    <a:pt x="510" y="399"/>
                    <a:pt x="510" y="262"/>
                  </a:cubicBezTo>
                  <a:cubicBezTo>
                    <a:pt x="510" y="125"/>
                    <a:pt x="399" y="14"/>
                    <a:pt x="262" y="14"/>
                  </a:cubicBezTo>
                  <a:close/>
                  <a:moveTo>
                    <a:pt x="262" y="524"/>
                  </a:moveTo>
                  <a:cubicBezTo>
                    <a:pt x="227" y="524"/>
                    <a:pt x="192" y="517"/>
                    <a:pt x="160" y="503"/>
                  </a:cubicBezTo>
                  <a:cubicBezTo>
                    <a:pt x="129" y="490"/>
                    <a:pt x="101" y="471"/>
                    <a:pt x="77" y="447"/>
                  </a:cubicBezTo>
                  <a:cubicBezTo>
                    <a:pt x="53" y="423"/>
                    <a:pt x="34" y="395"/>
                    <a:pt x="21" y="364"/>
                  </a:cubicBezTo>
                  <a:cubicBezTo>
                    <a:pt x="7" y="331"/>
                    <a:pt x="0" y="297"/>
                    <a:pt x="0" y="262"/>
                  </a:cubicBezTo>
                  <a:cubicBezTo>
                    <a:pt x="0" y="226"/>
                    <a:pt x="7" y="192"/>
                    <a:pt x="21" y="160"/>
                  </a:cubicBezTo>
                  <a:cubicBezTo>
                    <a:pt x="34" y="129"/>
                    <a:pt x="53" y="101"/>
                    <a:pt x="77" y="77"/>
                  </a:cubicBezTo>
                  <a:cubicBezTo>
                    <a:pt x="101" y="52"/>
                    <a:pt x="129" y="34"/>
                    <a:pt x="160" y="20"/>
                  </a:cubicBezTo>
                  <a:cubicBezTo>
                    <a:pt x="192" y="7"/>
                    <a:pt x="227" y="0"/>
                    <a:pt x="262" y="0"/>
                  </a:cubicBezTo>
                  <a:cubicBezTo>
                    <a:pt x="297" y="0"/>
                    <a:pt x="332" y="7"/>
                    <a:pt x="364" y="20"/>
                  </a:cubicBezTo>
                  <a:cubicBezTo>
                    <a:pt x="395" y="34"/>
                    <a:pt x="423" y="52"/>
                    <a:pt x="447" y="77"/>
                  </a:cubicBezTo>
                  <a:cubicBezTo>
                    <a:pt x="471" y="101"/>
                    <a:pt x="490" y="129"/>
                    <a:pt x="503" y="160"/>
                  </a:cubicBezTo>
                  <a:cubicBezTo>
                    <a:pt x="517" y="192"/>
                    <a:pt x="524" y="226"/>
                    <a:pt x="524" y="262"/>
                  </a:cubicBezTo>
                  <a:cubicBezTo>
                    <a:pt x="524" y="297"/>
                    <a:pt x="517" y="331"/>
                    <a:pt x="503" y="364"/>
                  </a:cubicBezTo>
                  <a:cubicBezTo>
                    <a:pt x="490" y="395"/>
                    <a:pt x="471" y="423"/>
                    <a:pt x="447" y="447"/>
                  </a:cubicBezTo>
                  <a:cubicBezTo>
                    <a:pt x="423" y="471"/>
                    <a:pt x="395" y="490"/>
                    <a:pt x="364" y="503"/>
                  </a:cubicBezTo>
                  <a:cubicBezTo>
                    <a:pt x="332" y="517"/>
                    <a:pt x="297" y="524"/>
                    <a:pt x="262" y="524"/>
                  </a:cubicBezTo>
                  <a:close/>
                </a:path>
              </a:pathLst>
            </a:cu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1">
              <a:extLst>
                <a:ext uri="{FF2B5EF4-FFF2-40B4-BE49-F238E27FC236}">
                  <a16:creationId xmlns:a16="http://schemas.microsoft.com/office/drawing/2014/main" id="{9712A0D0-CE2F-471D-8653-90A4A109C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638" y="3155950"/>
              <a:ext cx="1336675" cy="1835150"/>
            </a:xfrm>
            <a:custGeom>
              <a:avLst/>
              <a:gdLst>
                <a:gd name="T0" fmla="*/ 220 w 465"/>
                <a:gd name="T1" fmla="*/ 84 h 637"/>
                <a:gd name="T2" fmla="*/ 365 w 465"/>
                <a:gd name="T3" fmla="*/ 199 h 637"/>
                <a:gd name="T4" fmla="*/ 448 w 465"/>
                <a:gd name="T5" fmla="*/ 275 h 637"/>
                <a:gd name="T6" fmla="*/ 438 w 465"/>
                <a:gd name="T7" fmla="*/ 352 h 637"/>
                <a:gd name="T8" fmla="*/ 265 w 465"/>
                <a:gd name="T9" fmla="*/ 567 h 637"/>
                <a:gd name="T10" fmla="*/ 209 w 465"/>
                <a:gd name="T11" fmla="*/ 637 h 637"/>
                <a:gd name="T12" fmla="*/ 141 w 465"/>
                <a:gd name="T13" fmla="*/ 583 h 637"/>
                <a:gd name="T14" fmla="*/ 297 w 465"/>
                <a:gd name="T15" fmla="*/ 371 h 637"/>
                <a:gd name="T16" fmla="*/ 318 w 465"/>
                <a:gd name="T17" fmla="*/ 314 h 637"/>
                <a:gd name="T18" fmla="*/ 82 w 465"/>
                <a:gd name="T19" fmla="*/ 197 h 637"/>
                <a:gd name="T20" fmla="*/ 3 w 465"/>
                <a:gd name="T21" fmla="*/ 146 h 637"/>
                <a:gd name="T22" fmla="*/ 53 w 465"/>
                <a:gd name="T23" fmla="*/ 19 h 637"/>
                <a:gd name="T24" fmla="*/ 220 w 465"/>
                <a:gd name="T25" fmla="*/ 84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637">
                  <a:moveTo>
                    <a:pt x="220" y="84"/>
                  </a:moveTo>
                  <a:cubicBezTo>
                    <a:pt x="220" y="84"/>
                    <a:pt x="339" y="176"/>
                    <a:pt x="365" y="199"/>
                  </a:cubicBezTo>
                  <a:cubicBezTo>
                    <a:pt x="390" y="222"/>
                    <a:pt x="447" y="266"/>
                    <a:pt x="448" y="275"/>
                  </a:cubicBezTo>
                  <a:cubicBezTo>
                    <a:pt x="449" y="285"/>
                    <a:pt x="465" y="309"/>
                    <a:pt x="438" y="352"/>
                  </a:cubicBezTo>
                  <a:cubicBezTo>
                    <a:pt x="411" y="395"/>
                    <a:pt x="274" y="553"/>
                    <a:pt x="265" y="567"/>
                  </a:cubicBezTo>
                  <a:cubicBezTo>
                    <a:pt x="256" y="580"/>
                    <a:pt x="209" y="637"/>
                    <a:pt x="209" y="637"/>
                  </a:cubicBezTo>
                  <a:cubicBezTo>
                    <a:pt x="141" y="583"/>
                    <a:pt x="141" y="583"/>
                    <a:pt x="141" y="583"/>
                  </a:cubicBezTo>
                  <a:cubicBezTo>
                    <a:pt x="141" y="583"/>
                    <a:pt x="280" y="392"/>
                    <a:pt x="297" y="371"/>
                  </a:cubicBezTo>
                  <a:cubicBezTo>
                    <a:pt x="315" y="350"/>
                    <a:pt x="326" y="325"/>
                    <a:pt x="318" y="314"/>
                  </a:cubicBezTo>
                  <a:cubicBezTo>
                    <a:pt x="310" y="304"/>
                    <a:pt x="255" y="292"/>
                    <a:pt x="82" y="197"/>
                  </a:cubicBezTo>
                  <a:cubicBezTo>
                    <a:pt x="65" y="188"/>
                    <a:pt x="0" y="171"/>
                    <a:pt x="3" y="146"/>
                  </a:cubicBezTo>
                  <a:cubicBezTo>
                    <a:pt x="5" y="121"/>
                    <a:pt x="2" y="38"/>
                    <a:pt x="53" y="19"/>
                  </a:cubicBezTo>
                  <a:cubicBezTo>
                    <a:pt x="105" y="0"/>
                    <a:pt x="220" y="84"/>
                    <a:pt x="220" y="84"/>
                  </a:cubicBezTo>
                  <a:close/>
                </a:path>
              </a:pathLst>
            </a:custGeom>
            <a:solidFill>
              <a:srgbClr val="2E30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32">
              <a:extLst>
                <a:ext uri="{FF2B5EF4-FFF2-40B4-BE49-F238E27FC236}">
                  <a16:creationId xmlns:a16="http://schemas.microsoft.com/office/drawing/2014/main" id="{58B87C38-948A-4CA5-837A-3B034C56C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4863" y="5168900"/>
              <a:ext cx="106362" cy="106362"/>
            </a:xfrm>
            <a:prstGeom prst="ellipse">
              <a:avLst/>
            </a:pr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3">
              <a:extLst>
                <a:ext uri="{FF2B5EF4-FFF2-40B4-BE49-F238E27FC236}">
                  <a16:creationId xmlns:a16="http://schemas.microsoft.com/office/drawing/2014/main" id="{0A53C3AD-41D7-4263-BF3C-E403C17878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025" y="5200650"/>
              <a:ext cx="71437" cy="222250"/>
            </a:xfrm>
            <a:custGeom>
              <a:avLst/>
              <a:gdLst>
                <a:gd name="T0" fmla="*/ 38 w 45"/>
                <a:gd name="T1" fmla="*/ 140 h 140"/>
                <a:gd name="T2" fmla="*/ 0 w 45"/>
                <a:gd name="T3" fmla="*/ 2 h 140"/>
                <a:gd name="T4" fmla="*/ 9 w 45"/>
                <a:gd name="T5" fmla="*/ 0 h 140"/>
                <a:gd name="T6" fmla="*/ 45 w 45"/>
                <a:gd name="T7" fmla="*/ 136 h 140"/>
                <a:gd name="T8" fmla="*/ 38 w 45"/>
                <a:gd name="T9" fmla="*/ 140 h 140"/>
                <a:gd name="T10" fmla="*/ 38 w 45"/>
                <a:gd name="T11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140">
                  <a:moveTo>
                    <a:pt x="38" y="140"/>
                  </a:moveTo>
                  <a:lnTo>
                    <a:pt x="0" y="2"/>
                  </a:lnTo>
                  <a:lnTo>
                    <a:pt x="9" y="0"/>
                  </a:lnTo>
                  <a:lnTo>
                    <a:pt x="45" y="136"/>
                  </a:lnTo>
                  <a:lnTo>
                    <a:pt x="38" y="140"/>
                  </a:lnTo>
                  <a:lnTo>
                    <a:pt x="38" y="140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BEA819D4-D72A-46D6-9103-46A6015B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950" y="5116513"/>
              <a:ext cx="230187" cy="193675"/>
            </a:xfrm>
            <a:custGeom>
              <a:avLst/>
              <a:gdLst>
                <a:gd name="T0" fmla="*/ 132 w 145"/>
                <a:gd name="T1" fmla="*/ 122 h 122"/>
                <a:gd name="T2" fmla="*/ 0 w 145"/>
                <a:gd name="T3" fmla="*/ 15 h 122"/>
                <a:gd name="T4" fmla="*/ 13 w 145"/>
                <a:gd name="T5" fmla="*/ 0 h 122"/>
                <a:gd name="T6" fmla="*/ 145 w 145"/>
                <a:gd name="T7" fmla="*/ 108 h 122"/>
                <a:gd name="T8" fmla="*/ 132 w 145"/>
                <a:gd name="T9" fmla="*/ 122 h 122"/>
                <a:gd name="T10" fmla="*/ 132 w 145"/>
                <a:gd name="T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122">
                  <a:moveTo>
                    <a:pt x="132" y="122"/>
                  </a:moveTo>
                  <a:lnTo>
                    <a:pt x="0" y="15"/>
                  </a:lnTo>
                  <a:lnTo>
                    <a:pt x="13" y="0"/>
                  </a:lnTo>
                  <a:lnTo>
                    <a:pt x="145" y="108"/>
                  </a:lnTo>
                  <a:lnTo>
                    <a:pt x="132" y="122"/>
                  </a:lnTo>
                  <a:lnTo>
                    <a:pt x="132" y="122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9D176E77-0EC8-46AC-8E52-B1CEC88F3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400" y="4900613"/>
              <a:ext cx="500062" cy="444500"/>
            </a:xfrm>
            <a:custGeom>
              <a:avLst/>
              <a:gdLst>
                <a:gd name="T0" fmla="*/ 44 w 174"/>
                <a:gd name="T1" fmla="*/ 0 h 154"/>
                <a:gd name="T2" fmla="*/ 86 w 174"/>
                <a:gd name="T3" fmla="*/ 31 h 154"/>
                <a:gd name="T4" fmla="*/ 96 w 174"/>
                <a:gd name="T5" fmla="*/ 36 h 154"/>
                <a:gd name="T6" fmla="*/ 101 w 174"/>
                <a:gd name="T7" fmla="*/ 60 h 154"/>
                <a:gd name="T8" fmla="*/ 139 w 174"/>
                <a:gd name="T9" fmla="*/ 112 h 154"/>
                <a:gd name="T10" fmla="*/ 168 w 174"/>
                <a:gd name="T11" fmla="*/ 143 h 154"/>
                <a:gd name="T12" fmla="*/ 118 w 174"/>
                <a:gd name="T13" fmla="*/ 138 h 154"/>
                <a:gd name="T14" fmla="*/ 38 w 174"/>
                <a:gd name="T15" fmla="*/ 76 h 154"/>
                <a:gd name="T16" fmla="*/ 35 w 174"/>
                <a:gd name="T17" fmla="*/ 70 h 154"/>
                <a:gd name="T18" fmla="*/ 26 w 174"/>
                <a:gd name="T19" fmla="*/ 69 h 154"/>
                <a:gd name="T20" fmla="*/ 0 w 174"/>
                <a:gd name="T21" fmla="*/ 48 h 154"/>
                <a:gd name="T22" fmla="*/ 44 w 174"/>
                <a:gd name="T2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4" h="154">
                  <a:moveTo>
                    <a:pt x="44" y="0"/>
                  </a:moveTo>
                  <a:cubicBezTo>
                    <a:pt x="44" y="0"/>
                    <a:pt x="83" y="27"/>
                    <a:pt x="86" y="31"/>
                  </a:cubicBezTo>
                  <a:cubicBezTo>
                    <a:pt x="89" y="34"/>
                    <a:pt x="96" y="36"/>
                    <a:pt x="96" y="36"/>
                  </a:cubicBezTo>
                  <a:cubicBezTo>
                    <a:pt x="96" y="36"/>
                    <a:pt x="99" y="55"/>
                    <a:pt x="101" y="60"/>
                  </a:cubicBezTo>
                  <a:cubicBezTo>
                    <a:pt x="102" y="65"/>
                    <a:pt x="135" y="110"/>
                    <a:pt x="139" y="112"/>
                  </a:cubicBezTo>
                  <a:cubicBezTo>
                    <a:pt x="144" y="113"/>
                    <a:pt x="174" y="131"/>
                    <a:pt x="168" y="143"/>
                  </a:cubicBezTo>
                  <a:cubicBezTo>
                    <a:pt x="162" y="154"/>
                    <a:pt x="135" y="146"/>
                    <a:pt x="118" y="138"/>
                  </a:cubicBezTo>
                  <a:cubicBezTo>
                    <a:pt x="101" y="129"/>
                    <a:pt x="43" y="84"/>
                    <a:pt x="38" y="76"/>
                  </a:cubicBezTo>
                  <a:cubicBezTo>
                    <a:pt x="35" y="70"/>
                    <a:pt x="35" y="70"/>
                    <a:pt x="35" y="70"/>
                  </a:cubicBezTo>
                  <a:cubicBezTo>
                    <a:pt x="35" y="70"/>
                    <a:pt x="28" y="69"/>
                    <a:pt x="26" y="69"/>
                  </a:cubicBezTo>
                  <a:cubicBezTo>
                    <a:pt x="23" y="69"/>
                    <a:pt x="0" y="48"/>
                    <a:pt x="0" y="48"/>
                  </a:cubicBezTo>
                  <a:cubicBezTo>
                    <a:pt x="0" y="48"/>
                    <a:pt x="24" y="14"/>
                    <a:pt x="44" y="0"/>
                  </a:cubicBezTo>
                  <a:close/>
                </a:path>
              </a:pathLst>
            </a:custGeom>
            <a:solidFill>
              <a:srgbClr val="555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01BA3639-6B9F-4575-8A71-14178D77E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300" y="5384800"/>
              <a:ext cx="74612" cy="77787"/>
            </a:xfrm>
            <a:custGeom>
              <a:avLst/>
              <a:gdLst>
                <a:gd name="T0" fmla="*/ 25 w 26"/>
                <a:gd name="T1" fmla="*/ 16 h 27"/>
                <a:gd name="T2" fmla="*/ 11 w 26"/>
                <a:gd name="T3" fmla="*/ 26 h 27"/>
                <a:gd name="T4" fmla="*/ 1 w 26"/>
                <a:gd name="T5" fmla="*/ 11 h 27"/>
                <a:gd name="T6" fmla="*/ 15 w 26"/>
                <a:gd name="T7" fmla="*/ 1 h 27"/>
                <a:gd name="T8" fmla="*/ 25 w 26"/>
                <a:gd name="T9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7">
                  <a:moveTo>
                    <a:pt x="25" y="16"/>
                  </a:moveTo>
                  <a:cubicBezTo>
                    <a:pt x="24" y="22"/>
                    <a:pt x="17" y="27"/>
                    <a:pt x="11" y="26"/>
                  </a:cubicBezTo>
                  <a:cubicBezTo>
                    <a:pt x="4" y="24"/>
                    <a:pt x="0" y="18"/>
                    <a:pt x="1" y="11"/>
                  </a:cubicBezTo>
                  <a:cubicBezTo>
                    <a:pt x="2" y="5"/>
                    <a:pt x="9" y="0"/>
                    <a:pt x="15" y="1"/>
                  </a:cubicBezTo>
                  <a:cubicBezTo>
                    <a:pt x="22" y="3"/>
                    <a:pt x="26" y="9"/>
                    <a:pt x="25" y="16"/>
                  </a:cubicBezTo>
                  <a:close/>
                </a:path>
              </a:pathLst>
            </a:custGeom>
            <a:solidFill>
              <a:srgbClr val="5B83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B86FF576-595A-4E70-BEE9-6B80A8626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8138" y="3959225"/>
              <a:ext cx="382587" cy="1270000"/>
            </a:xfrm>
            <a:custGeom>
              <a:avLst/>
              <a:gdLst>
                <a:gd name="T0" fmla="*/ 216 w 241"/>
                <a:gd name="T1" fmla="*/ 800 h 800"/>
                <a:gd name="T2" fmla="*/ 0 w 241"/>
                <a:gd name="T3" fmla="*/ 7 h 800"/>
                <a:gd name="T4" fmla="*/ 25 w 241"/>
                <a:gd name="T5" fmla="*/ 0 h 800"/>
                <a:gd name="T6" fmla="*/ 241 w 241"/>
                <a:gd name="T7" fmla="*/ 793 h 800"/>
                <a:gd name="T8" fmla="*/ 216 w 241"/>
                <a:gd name="T9" fmla="*/ 800 h 800"/>
                <a:gd name="T10" fmla="*/ 216 w 241"/>
                <a:gd name="T11" fmla="*/ 8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1" h="800">
                  <a:moveTo>
                    <a:pt x="216" y="800"/>
                  </a:moveTo>
                  <a:lnTo>
                    <a:pt x="0" y="7"/>
                  </a:lnTo>
                  <a:lnTo>
                    <a:pt x="25" y="0"/>
                  </a:lnTo>
                  <a:lnTo>
                    <a:pt x="241" y="793"/>
                  </a:lnTo>
                  <a:lnTo>
                    <a:pt x="216" y="800"/>
                  </a:lnTo>
                  <a:lnTo>
                    <a:pt x="216" y="800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BC786FE1-366F-4048-882B-AE3CA5195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956050"/>
              <a:ext cx="74612" cy="38100"/>
            </a:xfrm>
            <a:custGeom>
              <a:avLst/>
              <a:gdLst>
                <a:gd name="T0" fmla="*/ 47 w 47"/>
                <a:gd name="T1" fmla="*/ 24 h 24"/>
                <a:gd name="T2" fmla="*/ 0 w 47"/>
                <a:gd name="T3" fmla="*/ 24 h 24"/>
                <a:gd name="T4" fmla="*/ 0 w 47"/>
                <a:gd name="T5" fmla="*/ 0 h 24"/>
                <a:gd name="T6" fmla="*/ 47 w 47"/>
                <a:gd name="T7" fmla="*/ 0 h 24"/>
                <a:gd name="T8" fmla="*/ 47 w 47"/>
                <a:gd name="T9" fmla="*/ 24 h 24"/>
                <a:gd name="T10" fmla="*/ 47 w 47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4">
                  <a:moveTo>
                    <a:pt x="47" y="24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47" y="0"/>
                  </a:lnTo>
                  <a:lnTo>
                    <a:pt x="47" y="24"/>
                  </a:lnTo>
                  <a:lnTo>
                    <a:pt x="47" y="24"/>
                  </a:lnTo>
                  <a:close/>
                </a:path>
              </a:pathLst>
            </a:custGeom>
            <a:solidFill>
              <a:srgbClr val="353A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39">
              <a:extLst>
                <a:ext uri="{FF2B5EF4-FFF2-40B4-BE49-F238E27FC236}">
                  <a16:creationId xmlns:a16="http://schemas.microsoft.com/office/drawing/2014/main" id="{AC529322-5436-4173-ACA7-F42FA4A1F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5168900"/>
              <a:ext cx="106362" cy="106362"/>
            </a:xfrm>
            <a:prstGeom prst="ellipse">
              <a:avLst/>
            </a:prstGeom>
            <a:solidFill>
              <a:srgbClr val="6C6EC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0">
              <a:extLst>
                <a:ext uri="{FF2B5EF4-FFF2-40B4-BE49-F238E27FC236}">
                  <a16:creationId xmlns:a16="http://schemas.microsoft.com/office/drawing/2014/main" id="{2F368392-BEA8-457E-BDD0-9C4A89E3B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0650" y="2324100"/>
              <a:ext cx="1189037" cy="1085850"/>
            </a:xfrm>
            <a:custGeom>
              <a:avLst/>
              <a:gdLst>
                <a:gd name="T0" fmla="*/ 369 w 413"/>
                <a:gd name="T1" fmla="*/ 11 h 377"/>
                <a:gd name="T2" fmla="*/ 168 w 413"/>
                <a:gd name="T3" fmla="*/ 149 h 377"/>
                <a:gd name="T4" fmla="*/ 0 w 413"/>
                <a:gd name="T5" fmla="*/ 359 h 377"/>
                <a:gd name="T6" fmla="*/ 237 w 413"/>
                <a:gd name="T7" fmla="*/ 377 h 377"/>
                <a:gd name="T8" fmla="*/ 364 w 413"/>
                <a:gd name="T9" fmla="*/ 233 h 377"/>
                <a:gd name="T10" fmla="*/ 408 w 413"/>
                <a:gd name="T11" fmla="*/ 109 h 377"/>
                <a:gd name="T12" fmla="*/ 369 w 413"/>
                <a:gd name="T13" fmla="*/ 11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3" h="377">
                  <a:moveTo>
                    <a:pt x="369" y="11"/>
                  </a:moveTo>
                  <a:cubicBezTo>
                    <a:pt x="369" y="11"/>
                    <a:pt x="278" y="0"/>
                    <a:pt x="168" y="149"/>
                  </a:cubicBezTo>
                  <a:cubicBezTo>
                    <a:pt x="58" y="298"/>
                    <a:pt x="99" y="259"/>
                    <a:pt x="0" y="359"/>
                  </a:cubicBezTo>
                  <a:cubicBezTo>
                    <a:pt x="237" y="377"/>
                    <a:pt x="237" y="377"/>
                    <a:pt x="237" y="377"/>
                  </a:cubicBezTo>
                  <a:cubicBezTo>
                    <a:pt x="237" y="377"/>
                    <a:pt x="314" y="253"/>
                    <a:pt x="364" y="233"/>
                  </a:cubicBezTo>
                  <a:cubicBezTo>
                    <a:pt x="413" y="213"/>
                    <a:pt x="408" y="109"/>
                    <a:pt x="408" y="109"/>
                  </a:cubicBezTo>
                  <a:cubicBezTo>
                    <a:pt x="369" y="11"/>
                    <a:pt x="369" y="11"/>
                    <a:pt x="369" y="11"/>
                  </a:cubicBezTo>
                  <a:close/>
                </a:path>
              </a:pathLst>
            </a:custGeom>
            <a:solidFill>
              <a:srgbClr val="DDB7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1">
              <a:extLst>
                <a:ext uri="{FF2B5EF4-FFF2-40B4-BE49-F238E27FC236}">
                  <a16:creationId xmlns:a16="http://schemas.microsoft.com/office/drawing/2014/main" id="{71477092-5065-4899-B022-E17CD363C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138" y="2332038"/>
              <a:ext cx="514350" cy="400050"/>
            </a:xfrm>
            <a:custGeom>
              <a:avLst/>
              <a:gdLst>
                <a:gd name="T0" fmla="*/ 98 w 179"/>
                <a:gd name="T1" fmla="*/ 139 h 139"/>
                <a:gd name="T2" fmla="*/ 0 w 179"/>
                <a:gd name="T3" fmla="*/ 92 h 139"/>
                <a:gd name="T4" fmla="*/ 15 w 179"/>
                <a:gd name="T5" fmla="*/ 79 h 139"/>
                <a:gd name="T6" fmla="*/ 108 w 179"/>
                <a:gd name="T7" fmla="*/ 118 h 139"/>
                <a:gd name="T8" fmla="*/ 151 w 179"/>
                <a:gd name="T9" fmla="*/ 86 h 139"/>
                <a:gd name="T10" fmla="*/ 153 w 179"/>
                <a:gd name="T11" fmla="*/ 48 h 139"/>
                <a:gd name="T12" fmla="*/ 107 w 179"/>
                <a:gd name="T13" fmla="*/ 18 h 139"/>
                <a:gd name="T14" fmla="*/ 118 w 179"/>
                <a:gd name="T15" fmla="*/ 0 h 139"/>
                <a:gd name="T16" fmla="*/ 171 w 179"/>
                <a:gd name="T17" fmla="*/ 39 h 139"/>
                <a:gd name="T18" fmla="*/ 169 w 179"/>
                <a:gd name="T19" fmla="*/ 94 h 139"/>
                <a:gd name="T20" fmla="*/ 110 w 179"/>
                <a:gd name="T21" fmla="*/ 138 h 139"/>
                <a:gd name="T22" fmla="*/ 98 w 179"/>
                <a:gd name="T2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9" h="139">
                  <a:moveTo>
                    <a:pt x="98" y="139"/>
                  </a:moveTo>
                  <a:cubicBezTo>
                    <a:pt x="63" y="139"/>
                    <a:pt x="24" y="121"/>
                    <a:pt x="0" y="92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38" y="106"/>
                    <a:pt x="77" y="123"/>
                    <a:pt x="108" y="118"/>
                  </a:cubicBezTo>
                  <a:cubicBezTo>
                    <a:pt x="128" y="115"/>
                    <a:pt x="142" y="105"/>
                    <a:pt x="151" y="86"/>
                  </a:cubicBezTo>
                  <a:cubicBezTo>
                    <a:pt x="157" y="71"/>
                    <a:pt x="158" y="58"/>
                    <a:pt x="153" y="48"/>
                  </a:cubicBezTo>
                  <a:cubicBezTo>
                    <a:pt x="144" y="28"/>
                    <a:pt x="108" y="18"/>
                    <a:pt x="107" y="18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20" y="1"/>
                    <a:pt x="158" y="11"/>
                    <a:pt x="171" y="39"/>
                  </a:cubicBezTo>
                  <a:cubicBezTo>
                    <a:pt x="179" y="55"/>
                    <a:pt x="178" y="74"/>
                    <a:pt x="169" y="94"/>
                  </a:cubicBezTo>
                  <a:cubicBezTo>
                    <a:pt x="157" y="119"/>
                    <a:pt x="137" y="134"/>
                    <a:pt x="110" y="138"/>
                  </a:cubicBezTo>
                  <a:cubicBezTo>
                    <a:pt x="106" y="138"/>
                    <a:pt x="102" y="139"/>
                    <a:pt x="98" y="139"/>
                  </a:cubicBezTo>
                  <a:close/>
                </a:path>
              </a:pathLst>
            </a:custGeom>
            <a:solidFill>
              <a:srgbClr val="3236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F998CA6F-3448-4BFE-BFC5-CF88634EC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888" y="2370138"/>
              <a:ext cx="998537" cy="1393825"/>
            </a:xfrm>
            <a:custGeom>
              <a:avLst/>
              <a:gdLst>
                <a:gd name="T0" fmla="*/ 121 w 347"/>
                <a:gd name="T1" fmla="*/ 55 h 484"/>
                <a:gd name="T2" fmla="*/ 143 w 347"/>
                <a:gd name="T3" fmla="*/ 120 h 484"/>
                <a:gd name="T4" fmla="*/ 187 w 347"/>
                <a:gd name="T5" fmla="*/ 231 h 484"/>
                <a:gd name="T6" fmla="*/ 246 w 347"/>
                <a:gd name="T7" fmla="*/ 326 h 484"/>
                <a:gd name="T8" fmla="*/ 345 w 347"/>
                <a:gd name="T9" fmla="*/ 450 h 484"/>
                <a:gd name="T10" fmla="*/ 302 w 347"/>
                <a:gd name="T11" fmla="*/ 484 h 484"/>
                <a:gd name="T12" fmla="*/ 184 w 347"/>
                <a:gd name="T13" fmla="*/ 338 h 484"/>
                <a:gd name="T14" fmla="*/ 93 w 347"/>
                <a:gd name="T15" fmla="*/ 217 h 484"/>
                <a:gd name="T16" fmla="*/ 24 w 347"/>
                <a:gd name="T17" fmla="*/ 100 h 484"/>
                <a:gd name="T18" fmla="*/ 50 w 347"/>
                <a:gd name="T19" fmla="*/ 20 h 484"/>
                <a:gd name="T20" fmla="*/ 121 w 347"/>
                <a:gd name="T21" fmla="*/ 55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7" h="484">
                  <a:moveTo>
                    <a:pt x="121" y="55"/>
                  </a:moveTo>
                  <a:cubicBezTo>
                    <a:pt x="121" y="55"/>
                    <a:pt x="136" y="93"/>
                    <a:pt x="143" y="120"/>
                  </a:cubicBezTo>
                  <a:cubicBezTo>
                    <a:pt x="151" y="145"/>
                    <a:pt x="184" y="224"/>
                    <a:pt x="187" y="231"/>
                  </a:cubicBezTo>
                  <a:cubicBezTo>
                    <a:pt x="190" y="237"/>
                    <a:pt x="240" y="317"/>
                    <a:pt x="246" y="326"/>
                  </a:cubicBezTo>
                  <a:cubicBezTo>
                    <a:pt x="251" y="335"/>
                    <a:pt x="343" y="450"/>
                    <a:pt x="345" y="450"/>
                  </a:cubicBezTo>
                  <a:cubicBezTo>
                    <a:pt x="347" y="451"/>
                    <a:pt x="302" y="484"/>
                    <a:pt x="302" y="484"/>
                  </a:cubicBezTo>
                  <a:cubicBezTo>
                    <a:pt x="302" y="484"/>
                    <a:pt x="190" y="350"/>
                    <a:pt x="184" y="338"/>
                  </a:cubicBezTo>
                  <a:cubicBezTo>
                    <a:pt x="177" y="325"/>
                    <a:pt x="103" y="235"/>
                    <a:pt x="93" y="217"/>
                  </a:cubicBezTo>
                  <a:cubicBezTo>
                    <a:pt x="83" y="199"/>
                    <a:pt x="29" y="114"/>
                    <a:pt x="24" y="100"/>
                  </a:cubicBezTo>
                  <a:cubicBezTo>
                    <a:pt x="18" y="84"/>
                    <a:pt x="0" y="43"/>
                    <a:pt x="50" y="20"/>
                  </a:cubicBezTo>
                  <a:cubicBezTo>
                    <a:pt x="93" y="0"/>
                    <a:pt x="114" y="43"/>
                    <a:pt x="121" y="55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Oval 118">
            <a:extLst>
              <a:ext uri="{FF2B5EF4-FFF2-40B4-BE49-F238E27FC236}">
                <a16:creationId xmlns:a16="http://schemas.microsoft.com/office/drawing/2014/main" id="{6EDAE882-30BD-4F07-B4EF-1D6AB71D17F6}"/>
              </a:ext>
            </a:extLst>
          </p:cNvPr>
          <p:cNvSpPr/>
          <p:nvPr/>
        </p:nvSpPr>
        <p:spPr>
          <a:xfrm>
            <a:off x="6944961" y="1645195"/>
            <a:ext cx="1690296" cy="1690296"/>
          </a:xfrm>
          <a:prstGeom prst="ellipse">
            <a:avLst/>
          </a:prstGeom>
          <a:noFill/>
          <a:ln w="635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1" name="Group 470">
            <a:extLst>
              <a:ext uri="{FF2B5EF4-FFF2-40B4-BE49-F238E27FC236}">
                <a16:creationId xmlns:a16="http://schemas.microsoft.com/office/drawing/2014/main" id="{F7037711-B132-4FAC-802F-D70047FEE177}"/>
              </a:ext>
            </a:extLst>
          </p:cNvPr>
          <p:cNvGrpSpPr/>
          <p:nvPr/>
        </p:nvGrpSpPr>
        <p:grpSpPr>
          <a:xfrm>
            <a:off x="6759436" y="2355160"/>
            <a:ext cx="3287831" cy="3496435"/>
            <a:chOff x="6178550" y="1804988"/>
            <a:chExt cx="3978275" cy="4230687"/>
          </a:xfrm>
        </p:grpSpPr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51A06C6F-44E1-451F-8A6D-4C5A0590C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5243513"/>
              <a:ext cx="158750" cy="193675"/>
            </a:xfrm>
            <a:custGeom>
              <a:avLst/>
              <a:gdLst>
                <a:gd name="T0" fmla="*/ 0 w 100"/>
                <a:gd name="T1" fmla="*/ 116 h 122"/>
                <a:gd name="T2" fmla="*/ 92 w 100"/>
                <a:gd name="T3" fmla="*/ 0 h 122"/>
                <a:gd name="T4" fmla="*/ 100 w 100"/>
                <a:gd name="T5" fmla="*/ 6 h 122"/>
                <a:gd name="T6" fmla="*/ 7 w 100"/>
                <a:gd name="T7" fmla="*/ 122 h 122"/>
                <a:gd name="T8" fmla="*/ 0 w 100"/>
                <a:gd name="T9" fmla="*/ 116 h 122"/>
                <a:gd name="T10" fmla="*/ 0 w 100"/>
                <a:gd name="T11" fmla="*/ 116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22">
                  <a:moveTo>
                    <a:pt x="0" y="116"/>
                  </a:moveTo>
                  <a:lnTo>
                    <a:pt x="92" y="0"/>
                  </a:lnTo>
                  <a:lnTo>
                    <a:pt x="100" y="6"/>
                  </a:lnTo>
                  <a:lnTo>
                    <a:pt x="7" y="122"/>
                  </a:lnTo>
                  <a:lnTo>
                    <a:pt x="0" y="116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D753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81A0BC1E-CF2A-4D60-921B-A91FE8209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4975" y="5221288"/>
              <a:ext cx="269875" cy="31750"/>
            </a:xfrm>
            <a:custGeom>
              <a:avLst/>
              <a:gdLst>
                <a:gd name="T0" fmla="*/ 170 w 170"/>
                <a:gd name="T1" fmla="*/ 20 h 20"/>
                <a:gd name="T2" fmla="*/ 0 w 170"/>
                <a:gd name="T3" fmla="*/ 20 h 20"/>
                <a:gd name="T4" fmla="*/ 0 w 170"/>
                <a:gd name="T5" fmla="*/ 0 h 20"/>
                <a:gd name="T6" fmla="*/ 170 w 170"/>
                <a:gd name="T7" fmla="*/ 0 h 20"/>
                <a:gd name="T8" fmla="*/ 170 w 170"/>
                <a:gd name="T9" fmla="*/ 20 h 20"/>
                <a:gd name="T10" fmla="*/ 170 w 170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20">
                  <a:moveTo>
                    <a:pt x="17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70" y="0"/>
                  </a:lnTo>
                  <a:lnTo>
                    <a:pt x="170" y="20"/>
                  </a:lnTo>
                  <a:lnTo>
                    <a:pt x="170" y="20"/>
                  </a:ln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CA125D0F-46B2-43ED-8961-2ECD0CA50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5238" y="3671888"/>
              <a:ext cx="230187" cy="180975"/>
            </a:xfrm>
            <a:custGeom>
              <a:avLst/>
              <a:gdLst>
                <a:gd name="T0" fmla="*/ 25 w 80"/>
                <a:gd name="T1" fmla="*/ 0 h 63"/>
                <a:gd name="T2" fmla="*/ 50 w 80"/>
                <a:gd name="T3" fmla="*/ 2 h 63"/>
                <a:gd name="T4" fmla="*/ 67 w 80"/>
                <a:gd name="T5" fmla="*/ 15 h 63"/>
                <a:gd name="T6" fmla="*/ 80 w 80"/>
                <a:gd name="T7" fmla="*/ 37 h 63"/>
                <a:gd name="T8" fmla="*/ 76 w 80"/>
                <a:gd name="T9" fmla="*/ 43 h 63"/>
                <a:gd name="T10" fmla="*/ 67 w 80"/>
                <a:gd name="T11" fmla="*/ 47 h 63"/>
                <a:gd name="T12" fmla="*/ 59 w 80"/>
                <a:gd name="T13" fmla="*/ 53 h 63"/>
                <a:gd name="T14" fmla="*/ 49 w 80"/>
                <a:gd name="T15" fmla="*/ 58 h 63"/>
                <a:gd name="T16" fmla="*/ 41 w 80"/>
                <a:gd name="T17" fmla="*/ 63 h 63"/>
                <a:gd name="T18" fmla="*/ 31 w 80"/>
                <a:gd name="T19" fmla="*/ 56 h 63"/>
                <a:gd name="T20" fmla="*/ 5 w 80"/>
                <a:gd name="T21" fmla="*/ 28 h 63"/>
                <a:gd name="T22" fmla="*/ 25 w 80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63">
                  <a:moveTo>
                    <a:pt x="25" y="0"/>
                  </a:moveTo>
                  <a:cubicBezTo>
                    <a:pt x="25" y="0"/>
                    <a:pt x="47" y="2"/>
                    <a:pt x="50" y="2"/>
                  </a:cubicBezTo>
                  <a:cubicBezTo>
                    <a:pt x="54" y="3"/>
                    <a:pt x="60" y="8"/>
                    <a:pt x="67" y="15"/>
                  </a:cubicBezTo>
                  <a:cubicBezTo>
                    <a:pt x="74" y="22"/>
                    <a:pt x="80" y="35"/>
                    <a:pt x="80" y="37"/>
                  </a:cubicBezTo>
                  <a:cubicBezTo>
                    <a:pt x="79" y="38"/>
                    <a:pt x="80" y="40"/>
                    <a:pt x="76" y="43"/>
                  </a:cubicBezTo>
                  <a:cubicBezTo>
                    <a:pt x="72" y="46"/>
                    <a:pt x="67" y="47"/>
                    <a:pt x="67" y="47"/>
                  </a:cubicBezTo>
                  <a:cubicBezTo>
                    <a:pt x="67" y="47"/>
                    <a:pt x="65" y="53"/>
                    <a:pt x="59" y="53"/>
                  </a:cubicBezTo>
                  <a:cubicBezTo>
                    <a:pt x="59" y="53"/>
                    <a:pt x="56" y="59"/>
                    <a:pt x="49" y="58"/>
                  </a:cubicBezTo>
                  <a:cubicBezTo>
                    <a:pt x="49" y="58"/>
                    <a:pt x="46" y="63"/>
                    <a:pt x="41" y="63"/>
                  </a:cubicBezTo>
                  <a:cubicBezTo>
                    <a:pt x="41" y="63"/>
                    <a:pt x="34" y="57"/>
                    <a:pt x="31" y="56"/>
                  </a:cubicBezTo>
                  <a:cubicBezTo>
                    <a:pt x="28" y="54"/>
                    <a:pt x="15" y="42"/>
                    <a:pt x="5" y="28"/>
                  </a:cubicBezTo>
                  <a:cubicBezTo>
                    <a:pt x="5" y="28"/>
                    <a:pt x="0" y="11"/>
                    <a:pt x="25" y="0"/>
                  </a:cubicBezTo>
                  <a:close/>
                </a:path>
              </a:pathLst>
            </a:custGeom>
            <a:solidFill>
              <a:srgbClr val="DA9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5EA50A9C-A464-41EE-A82B-3E14C0C7F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9838" y="3654425"/>
              <a:ext cx="552450" cy="457200"/>
            </a:xfrm>
            <a:custGeom>
              <a:avLst/>
              <a:gdLst>
                <a:gd name="T0" fmla="*/ 135 w 192"/>
                <a:gd name="T1" fmla="*/ 154 h 159"/>
                <a:gd name="T2" fmla="*/ 130 w 192"/>
                <a:gd name="T3" fmla="*/ 148 h 159"/>
                <a:gd name="T4" fmla="*/ 130 w 192"/>
                <a:gd name="T5" fmla="*/ 148 h 159"/>
                <a:gd name="T6" fmla="*/ 135 w 192"/>
                <a:gd name="T7" fmla="*/ 154 h 159"/>
                <a:gd name="T8" fmla="*/ 139 w 192"/>
                <a:gd name="T9" fmla="*/ 159 h 159"/>
                <a:gd name="T10" fmla="*/ 130 w 192"/>
                <a:gd name="T11" fmla="*/ 148 h 159"/>
                <a:gd name="T12" fmla="*/ 177 w 192"/>
                <a:gd name="T13" fmla="*/ 73 h 159"/>
                <a:gd name="T14" fmla="*/ 162 w 192"/>
                <a:gd name="T15" fmla="*/ 34 h 159"/>
                <a:gd name="T16" fmla="*/ 121 w 192"/>
                <a:gd name="T17" fmla="*/ 14 h 159"/>
                <a:gd name="T18" fmla="*/ 51 w 192"/>
                <a:gd name="T19" fmla="*/ 48 h 159"/>
                <a:gd name="T20" fmla="*/ 51 w 192"/>
                <a:gd name="T21" fmla="*/ 48 h 159"/>
                <a:gd name="T22" fmla="*/ 9 w 192"/>
                <a:gd name="T23" fmla="*/ 86 h 159"/>
                <a:gd name="T24" fmla="*/ 0 w 192"/>
                <a:gd name="T25" fmla="*/ 76 h 159"/>
                <a:gd name="T26" fmla="*/ 41 w 192"/>
                <a:gd name="T27" fmla="*/ 38 h 159"/>
                <a:gd name="T28" fmla="*/ 120 w 192"/>
                <a:gd name="T29" fmla="*/ 0 h 159"/>
                <a:gd name="T30" fmla="*/ 121 w 192"/>
                <a:gd name="T31" fmla="*/ 0 h 159"/>
                <a:gd name="T32" fmla="*/ 172 w 192"/>
                <a:gd name="T33" fmla="*/ 24 h 159"/>
                <a:gd name="T34" fmla="*/ 191 w 192"/>
                <a:gd name="T35" fmla="*/ 74 h 159"/>
                <a:gd name="T36" fmla="*/ 139 w 192"/>
                <a:gd name="T3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159">
                  <a:moveTo>
                    <a:pt x="135" y="154"/>
                  </a:moveTo>
                  <a:cubicBezTo>
                    <a:pt x="130" y="148"/>
                    <a:pt x="130" y="148"/>
                    <a:pt x="130" y="148"/>
                  </a:cubicBezTo>
                  <a:cubicBezTo>
                    <a:pt x="130" y="148"/>
                    <a:pt x="130" y="148"/>
                    <a:pt x="130" y="148"/>
                  </a:cubicBezTo>
                  <a:cubicBezTo>
                    <a:pt x="135" y="154"/>
                    <a:pt x="135" y="154"/>
                    <a:pt x="135" y="154"/>
                  </a:cubicBezTo>
                  <a:close/>
                  <a:moveTo>
                    <a:pt x="139" y="159"/>
                  </a:moveTo>
                  <a:cubicBezTo>
                    <a:pt x="130" y="148"/>
                    <a:pt x="130" y="148"/>
                    <a:pt x="130" y="148"/>
                  </a:cubicBezTo>
                  <a:cubicBezTo>
                    <a:pt x="131" y="148"/>
                    <a:pt x="174" y="112"/>
                    <a:pt x="177" y="73"/>
                  </a:cubicBezTo>
                  <a:cubicBezTo>
                    <a:pt x="178" y="58"/>
                    <a:pt x="173" y="46"/>
                    <a:pt x="162" y="34"/>
                  </a:cubicBezTo>
                  <a:cubicBezTo>
                    <a:pt x="150" y="21"/>
                    <a:pt x="136" y="15"/>
                    <a:pt x="121" y="14"/>
                  </a:cubicBezTo>
                  <a:cubicBezTo>
                    <a:pt x="85" y="14"/>
                    <a:pt x="52" y="48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4" y="35"/>
                    <a:pt x="80" y="0"/>
                    <a:pt x="120" y="0"/>
                  </a:cubicBezTo>
                  <a:cubicBezTo>
                    <a:pt x="120" y="0"/>
                    <a:pt x="121" y="0"/>
                    <a:pt x="121" y="0"/>
                  </a:cubicBezTo>
                  <a:cubicBezTo>
                    <a:pt x="140" y="0"/>
                    <a:pt x="158" y="8"/>
                    <a:pt x="172" y="24"/>
                  </a:cubicBezTo>
                  <a:cubicBezTo>
                    <a:pt x="186" y="39"/>
                    <a:pt x="192" y="55"/>
                    <a:pt x="191" y="74"/>
                  </a:cubicBezTo>
                  <a:cubicBezTo>
                    <a:pt x="188" y="119"/>
                    <a:pt x="141" y="158"/>
                    <a:pt x="139" y="159"/>
                  </a:cubicBez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910659D7-9A5B-4E37-8F8D-EC54BA4A2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575" y="3411538"/>
              <a:ext cx="1096962" cy="1612900"/>
            </a:xfrm>
            <a:custGeom>
              <a:avLst/>
              <a:gdLst>
                <a:gd name="T0" fmla="*/ 166 w 381"/>
                <a:gd name="T1" fmla="*/ 73 h 560"/>
                <a:gd name="T2" fmla="*/ 295 w 381"/>
                <a:gd name="T3" fmla="*/ 168 h 560"/>
                <a:gd name="T4" fmla="*/ 373 w 381"/>
                <a:gd name="T5" fmla="*/ 247 h 560"/>
                <a:gd name="T6" fmla="*/ 356 w 381"/>
                <a:gd name="T7" fmla="*/ 307 h 560"/>
                <a:gd name="T8" fmla="*/ 281 w 381"/>
                <a:gd name="T9" fmla="*/ 431 h 560"/>
                <a:gd name="T10" fmla="*/ 209 w 381"/>
                <a:gd name="T11" fmla="*/ 560 h 560"/>
                <a:gd name="T12" fmla="*/ 178 w 381"/>
                <a:gd name="T13" fmla="*/ 553 h 560"/>
                <a:gd name="T14" fmla="*/ 249 w 381"/>
                <a:gd name="T15" fmla="*/ 333 h 560"/>
                <a:gd name="T16" fmla="*/ 274 w 381"/>
                <a:gd name="T17" fmla="*/ 269 h 560"/>
                <a:gd name="T18" fmla="*/ 28 w 381"/>
                <a:gd name="T19" fmla="*/ 152 h 560"/>
                <a:gd name="T20" fmla="*/ 3 w 381"/>
                <a:gd name="T21" fmla="*/ 139 h 560"/>
                <a:gd name="T22" fmla="*/ 50 w 381"/>
                <a:gd name="T23" fmla="*/ 17 h 560"/>
                <a:gd name="T24" fmla="*/ 166 w 381"/>
                <a:gd name="T25" fmla="*/ 73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1" h="560">
                  <a:moveTo>
                    <a:pt x="166" y="73"/>
                  </a:moveTo>
                  <a:cubicBezTo>
                    <a:pt x="166" y="73"/>
                    <a:pt x="271" y="147"/>
                    <a:pt x="295" y="168"/>
                  </a:cubicBezTo>
                  <a:cubicBezTo>
                    <a:pt x="318" y="189"/>
                    <a:pt x="372" y="238"/>
                    <a:pt x="373" y="247"/>
                  </a:cubicBezTo>
                  <a:cubicBezTo>
                    <a:pt x="374" y="255"/>
                    <a:pt x="381" y="268"/>
                    <a:pt x="356" y="307"/>
                  </a:cubicBezTo>
                  <a:cubicBezTo>
                    <a:pt x="332" y="346"/>
                    <a:pt x="288" y="418"/>
                    <a:pt x="281" y="431"/>
                  </a:cubicBezTo>
                  <a:cubicBezTo>
                    <a:pt x="267" y="459"/>
                    <a:pt x="209" y="560"/>
                    <a:pt x="209" y="560"/>
                  </a:cubicBezTo>
                  <a:cubicBezTo>
                    <a:pt x="178" y="553"/>
                    <a:pt x="178" y="553"/>
                    <a:pt x="178" y="553"/>
                  </a:cubicBezTo>
                  <a:cubicBezTo>
                    <a:pt x="178" y="553"/>
                    <a:pt x="214" y="419"/>
                    <a:pt x="249" y="333"/>
                  </a:cubicBezTo>
                  <a:cubicBezTo>
                    <a:pt x="258" y="310"/>
                    <a:pt x="281" y="279"/>
                    <a:pt x="274" y="269"/>
                  </a:cubicBezTo>
                  <a:cubicBezTo>
                    <a:pt x="267" y="259"/>
                    <a:pt x="185" y="238"/>
                    <a:pt x="28" y="152"/>
                  </a:cubicBezTo>
                  <a:cubicBezTo>
                    <a:pt x="12" y="143"/>
                    <a:pt x="0" y="162"/>
                    <a:pt x="3" y="139"/>
                  </a:cubicBezTo>
                  <a:cubicBezTo>
                    <a:pt x="5" y="116"/>
                    <a:pt x="3" y="35"/>
                    <a:pt x="50" y="17"/>
                  </a:cubicBezTo>
                  <a:cubicBezTo>
                    <a:pt x="97" y="0"/>
                    <a:pt x="166" y="73"/>
                    <a:pt x="166" y="73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D37121AD-1198-41E0-BD12-B07A6BA5D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700" y="4976813"/>
              <a:ext cx="109537" cy="120650"/>
            </a:xfrm>
            <a:custGeom>
              <a:avLst/>
              <a:gdLst>
                <a:gd name="T0" fmla="*/ 7 w 38"/>
                <a:gd name="T1" fmla="*/ 7 h 42"/>
                <a:gd name="T2" fmla="*/ 0 w 38"/>
                <a:gd name="T3" fmla="*/ 36 h 42"/>
                <a:gd name="T4" fmla="*/ 33 w 38"/>
                <a:gd name="T5" fmla="*/ 30 h 42"/>
                <a:gd name="T6" fmla="*/ 38 w 38"/>
                <a:gd name="T7" fmla="*/ 16 h 42"/>
                <a:gd name="T8" fmla="*/ 7 w 38"/>
                <a:gd name="T9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2">
                  <a:moveTo>
                    <a:pt x="7" y="7"/>
                  </a:moveTo>
                  <a:cubicBezTo>
                    <a:pt x="7" y="7"/>
                    <a:pt x="0" y="29"/>
                    <a:pt x="0" y="36"/>
                  </a:cubicBezTo>
                  <a:cubicBezTo>
                    <a:pt x="1" y="42"/>
                    <a:pt x="33" y="30"/>
                    <a:pt x="33" y="30"/>
                  </a:cubicBezTo>
                  <a:cubicBezTo>
                    <a:pt x="33" y="30"/>
                    <a:pt x="36" y="21"/>
                    <a:pt x="38" y="16"/>
                  </a:cubicBezTo>
                  <a:cubicBezTo>
                    <a:pt x="38" y="16"/>
                    <a:pt x="27" y="0"/>
                    <a:pt x="7" y="7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D6BE679E-2DFE-4A30-9D85-8EC64661F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013" y="5048250"/>
              <a:ext cx="442912" cy="177800"/>
            </a:xfrm>
            <a:custGeom>
              <a:avLst/>
              <a:gdLst>
                <a:gd name="T0" fmla="*/ 50 w 154"/>
                <a:gd name="T1" fmla="*/ 0 h 62"/>
                <a:gd name="T2" fmla="*/ 84 w 154"/>
                <a:gd name="T3" fmla="*/ 19 h 62"/>
                <a:gd name="T4" fmla="*/ 138 w 154"/>
                <a:gd name="T5" fmla="*/ 35 h 62"/>
                <a:gd name="T6" fmla="*/ 80 w 154"/>
                <a:gd name="T7" fmla="*/ 60 h 62"/>
                <a:gd name="T8" fmla="*/ 2 w 154"/>
                <a:gd name="T9" fmla="*/ 46 h 62"/>
                <a:gd name="T10" fmla="*/ 11 w 154"/>
                <a:gd name="T11" fmla="*/ 1 h 62"/>
                <a:gd name="T12" fmla="*/ 50 w 154"/>
                <a:gd name="T1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62">
                  <a:moveTo>
                    <a:pt x="50" y="0"/>
                  </a:moveTo>
                  <a:cubicBezTo>
                    <a:pt x="50" y="0"/>
                    <a:pt x="71" y="19"/>
                    <a:pt x="84" y="19"/>
                  </a:cubicBezTo>
                  <a:cubicBezTo>
                    <a:pt x="97" y="20"/>
                    <a:pt x="137" y="28"/>
                    <a:pt x="138" y="35"/>
                  </a:cubicBezTo>
                  <a:cubicBezTo>
                    <a:pt x="140" y="42"/>
                    <a:pt x="154" y="59"/>
                    <a:pt x="80" y="60"/>
                  </a:cubicBezTo>
                  <a:cubicBezTo>
                    <a:pt x="6" y="62"/>
                    <a:pt x="0" y="60"/>
                    <a:pt x="2" y="46"/>
                  </a:cubicBezTo>
                  <a:cubicBezTo>
                    <a:pt x="3" y="33"/>
                    <a:pt x="9" y="14"/>
                    <a:pt x="11" y="1"/>
                  </a:cubicBezTo>
                  <a:cubicBezTo>
                    <a:pt x="50" y="0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DFC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908607DA-0ED1-4072-92A3-39D01D990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8263" y="3735388"/>
              <a:ext cx="142875" cy="123825"/>
            </a:xfrm>
            <a:custGeom>
              <a:avLst/>
              <a:gdLst>
                <a:gd name="T0" fmla="*/ 49 w 50"/>
                <a:gd name="T1" fmla="*/ 16 h 43"/>
                <a:gd name="T2" fmla="*/ 28 w 50"/>
                <a:gd name="T3" fmla="*/ 2 h 43"/>
                <a:gd name="T4" fmla="*/ 25 w 50"/>
                <a:gd name="T5" fmla="*/ 7 h 43"/>
                <a:gd name="T6" fmla="*/ 14 w 50"/>
                <a:gd name="T7" fmla="*/ 4 h 43"/>
                <a:gd name="T8" fmla="*/ 9 w 50"/>
                <a:gd name="T9" fmla="*/ 14 h 43"/>
                <a:gd name="T10" fmla="*/ 5 w 50"/>
                <a:gd name="T11" fmla="*/ 22 h 43"/>
                <a:gd name="T12" fmla="*/ 1 w 50"/>
                <a:gd name="T13" fmla="*/ 28 h 43"/>
                <a:gd name="T14" fmla="*/ 14 w 50"/>
                <a:gd name="T15" fmla="*/ 42 h 43"/>
                <a:gd name="T16" fmla="*/ 21 w 50"/>
                <a:gd name="T17" fmla="*/ 38 h 43"/>
                <a:gd name="T18" fmla="*/ 31 w 50"/>
                <a:gd name="T19" fmla="*/ 34 h 43"/>
                <a:gd name="T20" fmla="*/ 39 w 50"/>
                <a:gd name="T21" fmla="*/ 28 h 43"/>
                <a:gd name="T22" fmla="*/ 50 w 50"/>
                <a:gd name="T23" fmla="*/ 18 h 43"/>
                <a:gd name="T24" fmla="*/ 49 w 50"/>
                <a:gd name="T25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43">
                  <a:moveTo>
                    <a:pt x="49" y="16"/>
                  </a:moveTo>
                  <a:cubicBezTo>
                    <a:pt x="49" y="16"/>
                    <a:pt x="32" y="0"/>
                    <a:pt x="28" y="2"/>
                  </a:cubicBezTo>
                  <a:cubicBezTo>
                    <a:pt x="25" y="5"/>
                    <a:pt x="25" y="7"/>
                    <a:pt x="25" y="7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5" y="5"/>
                    <a:pt x="9" y="14"/>
                  </a:cubicBezTo>
                  <a:cubicBezTo>
                    <a:pt x="9" y="14"/>
                    <a:pt x="1" y="14"/>
                    <a:pt x="5" y="22"/>
                  </a:cubicBezTo>
                  <a:cubicBezTo>
                    <a:pt x="5" y="22"/>
                    <a:pt x="0" y="24"/>
                    <a:pt x="1" y="28"/>
                  </a:cubicBezTo>
                  <a:cubicBezTo>
                    <a:pt x="2" y="32"/>
                    <a:pt x="14" y="42"/>
                    <a:pt x="14" y="42"/>
                  </a:cubicBezTo>
                  <a:cubicBezTo>
                    <a:pt x="14" y="42"/>
                    <a:pt x="18" y="43"/>
                    <a:pt x="21" y="38"/>
                  </a:cubicBezTo>
                  <a:cubicBezTo>
                    <a:pt x="21" y="38"/>
                    <a:pt x="28" y="39"/>
                    <a:pt x="31" y="34"/>
                  </a:cubicBezTo>
                  <a:cubicBezTo>
                    <a:pt x="31" y="34"/>
                    <a:pt x="36" y="34"/>
                    <a:pt x="39" y="28"/>
                  </a:cubicBezTo>
                  <a:cubicBezTo>
                    <a:pt x="39" y="28"/>
                    <a:pt x="50" y="27"/>
                    <a:pt x="50" y="18"/>
                  </a:cubicBezTo>
                  <a:cubicBezTo>
                    <a:pt x="50" y="18"/>
                    <a:pt x="50" y="17"/>
                    <a:pt x="49" y="16"/>
                  </a:cubicBezTo>
                  <a:close/>
                </a:path>
              </a:pathLst>
            </a:custGeom>
            <a:solidFill>
              <a:srgbClr val="DA9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21BC02B9-D7B3-48CD-9793-FB5C0EED4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0013" y="3778250"/>
              <a:ext cx="50800" cy="49212"/>
            </a:xfrm>
            <a:custGeom>
              <a:avLst/>
              <a:gdLst>
                <a:gd name="T0" fmla="*/ 17 w 18"/>
                <a:gd name="T1" fmla="*/ 17 h 17"/>
                <a:gd name="T2" fmla="*/ 0 w 18"/>
                <a:gd name="T3" fmla="*/ 1 h 17"/>
                <a:gd name="T4" fmla="*/ 1 w 18"/>
                <a:gd name="T5" fmla="*/ 0 h 17"/>
                <a:gd name="T6" fmla="*/ 18 w 18"/>
                <a:gd name="T7" fmla="*/ 16 h 17"/>
                <a:gd name="T8" fmla="*/ 17 w 1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17" y="17"/>
                  </a:moveTo>
                  <a:cubicBezTo>
                    <a:pt x="17" y="17"/>
                    <a:pt x="6" y="8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7"/>
                    <a:pt x="18" y="16"/>
                    <a:pt x="18" y="16"/>
                  </a:cubicBezTo>
                  <a:cubicBezTo>
                    <a:pt x="17" y="17"/>
                    <a:pt x="17" y="17"/>
                    <a:pt x="17" y="17"/>
                  </a:cubicBezTo>
                  <a:close/>
                </a:path>
              </a:pathLst>
            </a:custGeom>
            <a:solidFill>
              <a:srgbClr val="A172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993B6065-EA89-4A64-9792-90658507D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7313" y="3806825"/>
              <a:ext cx="38100" cy="34925"/>
            </a:xfrm>
            <a:custGeom>
              <a:avLst/>
              <a:gdLst>
                <a:gd name="T0" fmla="*/ 12 w 13"/>
                <a:gd name="T1" fmla="*/ 12 h 12"/>
                <a:gd name="T2" fmla="*/ 0 w 13"/>
                <a:gd name="T3" fmla="*/ 0 h 12"/>
                <a:gd name="T4" fmla="*/ 1 w 13"/>
                <a:gd name="T5" fmla="*/ 0 h 12"/>
                <a:gd name="T6" fmla="*/ 13 w 13"/>
                <a:gd name="T7" fmla="*/ 11 h 12"/>
                <a:gd name="T8" fmla="*/ 12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2" y="12"/>
                  </a:moveTo>
                  <a:cubicBezTo>
                    <a:pt x="12" y="12"/>
                    <a:pt x="3" y="5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" y="5"/>
                    <a:pt x="13" y="11"/>
                    <a:pt x="13" y="11"/>
                  </a:cubicBez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solidFill>
              <a:srgbClr val="A172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722D0AD8-C09D-4475-80DA-E3CBBB1EEF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8550" y="4443413"/>
              <a:ext cx="1590675" cy="1592262"/>
            </a:xfrm>
            <a:custGeom>
              <a:avLst/>
              <a:gdLst>
                <a:gd name="T0" fmla="*/ 277 w 553"/>
                <a:gd name="T1" fmla="*/ 14 h 553"/>
                <a:gd name="T2" fmla="*/ 14 w 553"/>
                <a:gd name="T3" fmla="*/ 277 h 553"/>
                <a:gd name="T4" fmla="*/ 277 w 553"/>
                <a:gd name="T5" fmla="*/ 539 h 553"/>
                <a:gd name="T6" fmla="*/ 539 w 553"/>
                <a:gd name="T7" fmla="*/ 277 h 553"/>
                <a:gd name="T8" fmla="*/ 277 w 553"/>
                <a:gd name="T9" fmla="*/ 14 h 553"/>
                <a:gd name="T10" fmla="*/ 277 w 553"/>
                <a:gd name="T11" fmla="*/ 553 h 553"/>
                <a:gd name="T12" fmla="*/ 169 w 553"/>
                <a:gd name="T13" fmla="*/ 532 h 553"/>
                <a:gd name="T14" fmla="*/ 81 w 553"/>
                <a:gd name="T15" fmla="*/ 472 h 553"/>
                <a:gd name="T16" fmla="*/ 22 w 553"/>
                <a:gd name="T17" fmla="*/ 384 h 553"/>
                <a:gd name="T18" fmla="*/ 0 w 553"/>
                <a:gd name="T19" fmla="*/ 277 h 553"/>
                <a:gd name="T20" fmla="*/ 22 w 553"/>
                <a:gd name="T21" fmla="*/ 169 h 553"/>
                <a:gd name="T22" fmla="*/ 81 w 553"/>
                <a:gd name="T23" fmla="*/ 81 h 553"/>
                <a:gd name="T24" fmla="*/ 169 w 553"/>
                <a:gd name="T25" fmla="*/ 22 h 553"/>
                <a:gd name="T26" fmla="*/ 277 w 553"/>
                <a:gd name="T27" fmla="*/ 0 h 553"/>
                <a:gd name="T28" fmla="*/ 384 w 553"/>
                <a:gd name="T29" fmla="*/ 22 h 553"/>
                <a:gd name="T30" fmla="*/ 472 w 553"/>
                <a:gd name="T31" fmla="*/ 81 h 553"/>
                <a:gd name="T32" fmla="*/ 532 w 553"/>
                <a:gd name="T33" fmla="*/ 169 h 553"/>
                <a:gd name="T34" fmla="*/ 553 w 553"/>
                <a:gd name="T35" fmla="*/ 277 h 553"/>
                <a:gd name="T36" fmla="*/ 532 w 553"/>
                <a:gd name="T37" fmla="*/ 384 h 553"/>
                <a:gd name="T38" fmla="*/ 472 w 553"/>
                <a:gd name="T39" fmla="*/ 472 h 553"/>
                <a:gd name="T40" fmla="*/ 384 w 553"/>
                <a:gd name="T41" fmla="*/ 532 h 553"/>
                <a:gd name="T42" fmla="*/ 277 w 553"/>
                <a:gd name="T43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3" h="553">
                  <a:moveTo>
                    <a:pt x="277" y="14"/>
                  </a:moveTo>
                  <a:cubicBezTo>
                    <a:pt x="132" y="14"/>
                    <a:pt x="14" y="132"/>
                    <a:pt x="14" y="277"/>
                  </a:cubicBezTo>
                  <a:cubicBezTo>
                    <a:pt x="14" y="422"/>
                    <a:pt x="132" y="539"/>
                    <a:pt x="277" y="539"/>
                  </a:cubicBezTo>
                  <a:cubicBezTo>
                    <a:pt x="422" y="539"/>
                    <a:pt x="539" y="422"/>
                    <a:pt x="539" y="277"/>
                  </a:cubicBezTo>
                  <a:cubicBezTo>
                    <a:pt x="539" y="132"/>
                    <a:pt x="422" y="14"/>
                    <a:pt x="277" y="14"/>
                  </a:cubicBezTo>
                  <a:close/>
                  <a:moveTo>
                    <a:pt x="277" y="553"/>
                  </a:moveTo>
                  <a:cubicBezTo>
                    <a:pt x="240" y="553"/>
                    <a:pt x="203" y="546"/>
                    <a:pt x="169" y="532"/>
                  </a:cubicBezTo>
                  <a:cubicBezTo>
                    <a:pt x="136" y="518"/>
                    <a:pt x="107" y="498"/>
                    <a:pt x="81" y="472"/>
                  </a:cubicBezTo>
                  <a:cubicBezTo>
                    <a:pt x="56" y="447"/>
                    <a:pt x="36" y="417"/>
                    <a:pt x="22" y="384"/>
                  </a:cubicBezTo>
                  <a:cubicBezTo>
                    <a:pt x="8" y="350"/>
                    <a:pt x="0" y="314"/>
                    <a:pt x="0" y="277"/>
                  </a:cubicBezTo>
                  <a:cubicBezTo>
                    <a:pt x="0" y="240"/>
                    <a:pt x="8" y="203"/>
                    <a:pt x="22" y="169"/>
                  </a:cubicBezTo>
                  <a:cubicBezTo>
                    <a:pt x="36" y="136"/>
                    <a:pt x="56" y="107"/>
                    <a:pt x="81" y="81"/>
                  </a:cubicBezTo>
                  <a:cubicBezTo>
                    <a:pt x="107" y="56"/>
                    <a:pt x="136" y="36"/>
                    <a:pt x="169" y="22"/>
                  </a:cubicBezTo>
                  <a:cubicBezTo>
                    <a:pt x="203" y="8"/>
                    <a:pt x="240" y="0"/>
                    <a:pt x="277" y="0"/>
                  </a:cubicBezTo>
                  <a:cubicBezTo>
                    <a:pt x="314" y="0"/>
                    <a:pt x="350" y="8"/>
                    <a:pt x="384" y="22"/>
                  </a:cubicBezTo>
                  <a:cubicBezTo>
                    <a:pt x="417" y="36"/>
                    <a:pt x="447" y="56"/>
                    <a:pt x="472" y="81"/>
                  </a:cubicBezTo>
                  <a:cubicBezTo>
                    <a:pt x="498" y="107"/>
                    <a:pt x="518" y="136"/>
                    <a:pt x="532" y="169"/>
                  </a:cubicBezTo>
                  <a:cubicBezTo>
                    <a:pt x="546" y="203"/>
                    <a:pt x="553" y="240"/>
                    <a:pt x="553" y="277"/>
                  </a:cubicBezTo>
                  <a:cubicBezTo>
                    <a:pt x="553" y="314"/>
                    <a:pt x="546" y="350"/>
                    <a:pt x="532" y="384"/>
                  </a:cubicBezTo>
                  <a:cubicBezTo>
                    <a:pt x="518" y="417"/>
                    <a:pt x="498" y="447"/>
                    <a:pt x="472" y="472"/>
                  </a:cubicBezTo>
                  <a:cubicBezTo>
                    <a:pt x="447" y="498"/>
                    <a:pt x="417" y="518"/>
                    <a:pt x="384" y="532"/>
                  </a:cubicBezTo>
                  <a:cubicBezTo>
                    <a:pt x="350" y="546"/>
                    <a:pt x="314" y="553"/>
                    <a:pt x="277" y="55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34741F3F-3E8C-4F90-9C4B-E6F47DB04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1413" y="4486275"/>
              <a:ext cx="1508125" cy="1509712"/>
            </a:xfrm>
            <a:custGeom>
              <a:avLst/>
              <a:gdLst>
                <a:gd name="T0" fmla="*/ 262 w 524"/>
                <a:gd name="T1" fmla="*/ 14 h 524"/>
                <a:gd name="T2" fmla="*/ 14 w 524"/>
                <a:gd name="T3" fmla="*/ 262 h 524"/>
                <a:gd name="T4" fmla="*/ 262 w 524"/>
                <a:gd name="T5" fmla="*/ 510 h 524"/>
                <a:gd name="T6" fmla="*/ 510 w 524"/>
                <a:gd name="T7" fmla="*/ 262 h 524"/>
                <a:gd name="T8" fmla="*/ 262 w 524"/>
                <a:gd name="T9" fmla="*/ 14 h 524"/>
                <a:gd name="T10" fmla="*/ 262 w 524"/>
                <a:gd name="T11" fmla="*/ 524 h 524"/>
                <a:gd name="T12" fmla="*/ 160 w 524"/>
                <a:gd name="T13" fmla="*/ 503 h 524"/>
                <a:gd name="T14" fmla="*/ 77 w 524"/>
                <a:gd name="T15" fmla="*/ 447 h 524"/>
                <a:gd name="T16" fmla="*/ 20 w 524"/>
                <a:gd name="T17" fmla="*/ 364 h 524"/>
                <a:gd name="T18" fmla="*/ 0 w 524"/>
                <a:gd name="T19" fmla="*/ 262 h 524"/>
                <a:gd name="T20" fmla="*/ 20 w 524"/>
                <a:gd name="T21" fmla="*/ 160 h 524"/>
                <a:gd name="T22" fmla="*/ 77 w 524"/>
                <a:gd name="T23" fmla="*/ 76 h 524"/>
                <a:gd name="T24" fmla="*/ 160 w 524"/>
                <a:gd name="T25" fmla="*/ 20 h 524"/>
                <a:gd name="T26" fmla="*/ 262 w 524"/>
                <a:gd name="T27" fmla="*/ 0 h 524"/>
                <a:gd name="T28" fmla="*/ 364 w 524"/>
                <a:gd name="T29" fmla="*/ 20 h 524"/>
                <a:gd name="T30" fmla="*/ 447 w 524"/>
                <a:gd name="T31" fmla="*/ 76 h 524"/>
                <a:gd name="T32" fmla="*/ 503 w 524"/>
                <a:gd name="T33" fmla="*/ 160 h 524"/>
                <a:gd name="T34" fmla="*/ 524 w 524"/>
                <a:gd name="T35" fmla="*/ 262 h 524"/>
                <a:gd name="T36" fmla="*/ 503 w 524"/>
                <a:gd name="T37" fmla="*/ 364 h 524"/>
                <a:gd name="T38" fmla="*/ 447 w 524"/>
                <a:gd name="T39" fmla="*/ 447 h 524"/>
                <a:gd name="T40" fmla="*/ 364 w 524"/>
                <a:gd name="T41" fmla="*/ 503 h 524"/>
                <a:gd name="T42" fmla="*/ 262 w 524"/>
                <a:gd name="T4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4" h="524">
                  <a:moveTo>
                    <a:pt x="262" y="14"/>
                  </a:moveTo>
                  <a:cubicBezTo>
                    <a:pt x="125" y="14"/>
                    <a:pt x="14" y="125"/>
                    <a:pt x="14" y="262"/>
                  </a:cubicBezTo>
                  <a:cubicBezTo>
                    <a:pt x="14" y="399"/>
                    <a:pt x="125" y="510"/>
                    <a:pt x="262" y="510"/>
                  </a:cubicBezTo>
                  <a:cubicBezTo>
                    <a:pt x="399" y="510"/>
                    <a:pt x="510" y="399"/>
                    <a:pt x="510" y="262"/>
                  </a:cubicBezTo>
                  <a:cubicBezTo>
                    <a:pt x="510" y="125"/>
                    <a:pt x="399" y="14"/>
                    <a:pt x="262" y="14"/>
                  </a:cubicBezTo>
                  <a:close/>
                  <a:moveTo>
                    <a:pt x="262" y="524"/>
                  </a:moveTo>
                  <a:cubicBezTo>
                    <a:pt x="226" y="524"/>
                    <a:pt x="192" y="517"/>
                    <a:pt x="160" y="503"/>
                  </a:cubicBezTo>
                  <a:cubicBezTo>
                    <a:pt x="129" y="490"/>
                    <a:pt x="101" y="471"/>
                    <a:pt x="77" y="447"/>
                  </a:cubicBezTo>
                  <a:cubicBezTo>
                    <a:pt x="52" y="423"/>
                    <a:pt x="34" y="395"/>
                    <a:pt x="20" y="364"/>
                  </a:cubicBezTo>
                  <a:cubicBezTo>
                    <a:pt x="7" y="332"/>
                    <a:pt x="0" y="297"/>
                    <a:pt x="0" y="262"/>
                  </a:cubicBezTo>
                  <a:cubicBezTo>
                    <a:pt x="0" y="226"/>
                    <a:pt x="7" y="192"/>
                    <a:pt x="20" y="160"/>
                  </a:cubicBezTo>
                  <a:cubicBezTo>
                    <a:pt x="34" y="129"/>
                    <a:pt x="52" y="101"/>
                    <a:pt x="77" y="76"/>
                  </a:cubicBezTo>
                  <a:cubicBezTo>
                    <a:pt x="101" y="52"/>
                    <a:pt x="129" y="34"/>
                    <a:pt x="160" y="20"/>
                  </a:cubicBezTo>
                  <a:cubicBezTo>
                    <a:pt x="192" y="7"/>
                    <a:pt x="226" y="0"/>
                    <a:pt x="262" y="0"/>
                  </a:cubicBezTo>
                  <a:cubicBezTo>
                    <a:pt x="297" y="0"/>
                    <a:pt x="332" y="7"/>
                    <a:pt x="364" y="20"/>
                  </a:cubicBezTo>
                  <a:cubicBezTo>
                    <a:pt x="395" y="34"/>
                    <a:pt x="423" y="52"/>
                    <a:pt x="447" y="76"/>
                  </a:cubicBezTo>
                  <a:cubicBezTo>
                    <a:pt x="471" y="101"/>
                    <a:pt x="490" y="129"/>
                    <a:pt x="503" y="160"/>
                  </a:cubicBezTo>
                  <a:cubicBezTo>
                    <a:pt x="517" y="192"/>
                    <a:pt x="524" y="226"/>
                    <a:pt x="524" y="262"/>
                  </a:cubicBezTo>
                  <a:cubicBezTo>
                    <a:pt x="524" y="297"/>
                    <a:pt x="517" y="332"/>
                    <a:pt x="503" y="364"/>
                  </a:cubicBezTo>
                  <a:cubicBezTo>
                    <a:pt x="490" y="395"/>
                    <a:pt x="471" y="423"/>
                    <a:pt x="447" y="447"/>
                  </a:cubicBezTo>
                  <a:cubicBezTo>
                    <a:pt x="423" y="471"/>
                    <a:pt x="395" y="490"/>
                    <a:pt x="364" y="503"/>
                  </a:cubicBezTo>
                  <a:cubicBezTo>
                    <a:pt x="332" y="517"/>
                    <a:pt x="297" y="524"/>
                    <a:pt x="262" y="524"/>
                  </a:cubicBez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A4C0E428-7EF0-4ACF-85AF-548623331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4288" y="4022725"/>
              <a:ext cx="425450" cy="1425575"/>
            </a:xfrm>
            <a:custGeom>
              <a:avLst/>
              <a:gdLst>
                <a:gd name="T0" fmla="*/ 243 w 268"/>
                <a:gd name="T1" fmla="*/ 898 h 898"/>
                <a:gd name="T2" fmla="*/ 0 w 268"/>
                <a:gd name="T3" fmla="*/ 6 h 898"/>
                <a:gd name="T4" fmla="*/ 26 w 268"/>
                <a:gd name="T5" fmla="*/ 0 h 898"/>
                <a:gd name="T6" fmla="*/ 268 w 268"/>
                <a:gd name="T7" fmla="*/ 891 h 898"/>
                <a:gd name="T8" fmla="*/ 243 w 268"/>
                <a:gd name="T9" fmla="*/ 898 h 898"/>
                <a:gd name="T10" fmla="*/ 243 w 268"/>
                <a:gd name="T11" fmla="*/ 898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" h="898">
                  <a:moveTo>
                    <a:pt x="243" y="898"/>
                  </a:moveTo>
                  <a:lnTo>
                    <a:pt x="0" y="6"/>
                  </a:lnTo>
                  <a:lnTo>
                    <a:pt x="26" y="0"/>
                  </a:lnTo>
                  <a:lnTo>
                    <a:pt x="268" y="891"/>
                  </a:lnTo>
                  <a:lnTo>
                    <a:pt x="243" y="898"/>
                  </a:lnTo>
                  <a:lnTo>
                    <a:pt x="243" y="898"/>
                  </a:ln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0186D464-B633-480D-8EE6-0B27AD13E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25" y="3824288"/>
              <a:ext cx="454025" cy="230187"/>
            </a:xfrm>
            <a:custGeom>
              <a:avLst/>
              <a:gdLst>
                <a:gd name="T0" fmla="*/ 3 w 158"/>
                <a:gd name="T1" fmla="*/ 25 h 80"/>
                <a:gd name="T2" fmla="*/ 42 w 158"/>
                <a:gd name="T3" fmla="*/ 75 h 80"/>
                <a:gd name="T4" fmla="*/ 158 w 158"/>
                <a:gd name="T5" fmla="*/ 75 h 80"/>
                <a:gd name="T6" fmla="*/ 3 w 158"/>
                <a:gd name="T7" fmla="*/ 2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80">
                  <a:moveTo>
                    <a:pt x="3" y="25"/>
                  </a:moveTo>
                  <a:cubicBezTo>
                    <a:pt x="3" y="25"/>
                    <a:pt x="0" y="70"/>
                    <a:pt x="42" y="75"/>
                  </a:cubicBezTo>
                  <a:cubicBezTo>
                    <a:pt x="83" y="80"/>
                    <a:pt x="158" y="75"/>
                    <a:pt x="158" y="75"/>
                  </a:cubicBezTo>
                  <a:cubicBezTo>
                    <a:pt x="158" y="75"/>
                    <a:pt x="51" y="0"/>
                    <a:pt x="3" y="25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7">
              <a:extLst>
                <a:ext uri="{FF2B5EF4-FFF2-40B4-BE49-F238E27FC236}">
                  <a16:creationId xmlns:a16="http://schemas.microsoft.com/office/drawing/2014/main" id="{C24277C5-9F5E-45E8-B069-C8596DC9C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963" y="2787650"/>
              <a:ext cx="622300" cy="965200"/>
            </a:xfrm>
            <a:custGeom>
              <a:avLst/>
              <a:gdLst>
                <a:gd name="T0" fmla="*/ 52 w 216"/>
                <a:gd name="T1" fmla="*/ 0 h 335"/>
                <a:gd name="T2" fmla="*/ 105 w 216"/>
                <a:gd name="T3" fmla="*/ 148 h 335"/>
                <a:gd name="T4" fmla="*/ 216 w 216"/>
                <a:gd name="T5" fmla="*/ 307 h 335"/>
                <a:gd name="T6" fmla="*/ 196 w 216"/>
                <a:gd name="T7" fmla="*/ 335 h 335"/>
                <a:gd name="T8" fmla="*/ 65 w 216"/>
                <a:gd name="T9" fmla="*/ 175 h 335"/>
                <a:gd name="T10" fmla="*/ 0 w 216"/>
                <a:gd name="T11" fmla="*/ 19 h 335"/>
                <a:gd name="T12" fmla="*/ 52 w 216"/>
                <a:gd name="T13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335">
                  <a:moveTo>
                    <a:pt x="52" y="0"/>
                  </a:moveTo>
                  <a:cubicBezTo>
                    <a:pt x="52" y="0"/>
                    <a:pt x="98" y="133"/>
                    <a:pt x="105" y="148"/>
                  </a:cubicBezTo>
                  <a:cubicBezTo>
                    <a:pt x="113" y="163"/>
                    <a:pt x="216" y="307"/>
                    <a:pt x="216" y="307"/>
                  </a:cubicBezTo>
                  <a:cubicBezTo>
                    <a:pt x="196" y="335"/>
                    <a:pt x="196" y="335"/>
                    <a:pt x="196" y="335"/>
                  </a:cubicBezTo>
                  <a:cubicBezTo>
                    <a:pt x="196" y="335"/>
                    <a:pt x="69" y="183"/>
                    <a:pt x="65" y="175"/>
                  </a:cubicBezTo>
                  <a:cubicBezTo>
                    <a:pt x="60" y="166"/>
                    <a:pt x="0" y="19"/>
                    <a:pt x="0" y="19"/>
                  </a:cubicBezTo>
                  <a:cubicBezTo>
                    <a:pt x="52" y="0"/>
                    <a:pt x="52" y="0"/>
                    <a:pt x="52" y="0"/>
                  </a:cubicBezTo>
                  <a:close/>
                </a:path>
              </a:pathLst>
            </a:custGeom>
            <a:solidFill>
              <a:srgbClr val="DA9A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8">
              <a:extLst>
                <a:ext uri="{FF2B5EF4-FFF2-40B4-BE49-F238E27FC236}">
                  <a16:creationId xmlns:a16="http://schemas.microsoft.com/office/drawing/2014/main" id="{9E27645E-1CEE-4C0A-B126-92C6FD54F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5125" y="1892300"/>
              <a:ext cx="417512" cy="606425"/>
            </a:xfrm>
            <a:custGeom>
              <a:avLst/>
              <a:gdLst>
                <a:gd name="T0" fmla="*/ 82 w 145"/>
                <a:gd name="T1" fmla="*/ 15 h 211"/>
                <a:gd name="T2" fmla="*/ 130 w 145"/>
                <a:gd name="T3" fmla="*/ 124 h 211"/>
                <a:gd name="T4" fmla="*/ 29 w 145"/>
                <a:gd name="T5" fmla="*/ 142 h 211"/>
                <a:gd name="T6" fmla="*/ 82 w 145"/>
                <a:gd name="T7" fmla="*/ 1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5" h="211">
                  <a:moveTo>
                    <a:pt x="82" y="15"/>
                  </a:moveTo>
                  <a:cubicBezTo>
                    <a:pt x="82" y="15"/>
                    <a:pt x="145" y="40"/>
                    <a:pt x="130" y="124"/>
                  </a:cubicBezTo>
                  <a:cubicBezTo>
                    <a:pt x="115" y="208"/>
                    <a:pt x="58" y="211"/>
                    <a:pt x="29" y="142"/>
                  </a:cubicBezTo>
                  <a:cubicBezTo>
                    <a:pt x="0" y="73"/>
                    <a:pt x="10" y="0"/>
                    <a:pt x="82" y="15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Freeform 59">
              <a:extLst>
                <a:ext uri="{FF2B5EF4-FFF2-40B4-BE49-F238E27FC236}">
                  <a16:creationId xmlns:a16="http://schemas.microsoft.com/office/drawing/2014/main" id="{6CB581FE-0311-4D40-9471-B4D1FA22F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9538" y="2501900"/>
              <a:ext cx="773112" cy="1149350"/>
            </a:xfrm>
            <a:custGeom>
              <a:avLst/>
              <a:gdLst>
                <a:gd name="T0" fmla="*/ 186 w 269"/>
                <a:gd name="T1" fmla="*/ 7 h 399"/>
                <a:gd name="T2" fmla="*/ 248 w 269"/>
                <a:gd name="T3" fmla="*/ 53 h 399"/>
                <a:gd name="T4" fmla="*/ 267 w 269"/>
                <a:gd name="T5" fmla="*/ 144 h 399"/>
                <a:gd name="T6" fmla="*/ 230 w 269"/>
                <a:gd name="T7" fmla="*/ 192 h 399"/>
                <a:gd name="T8" fmla="*/ 198 w 269"/>
                <a:gd name="T9" fmla="*/ 274 h 399"/>
                <a:gd name="T10" fmla="*/ 140 w 269"/>
                <a:gd name="T11" fmla="*/ 367 h 399"/>
                <a:gd name="T12" fmla="*/ 0 w 269"/>
                <a:gd name="T13" fmla="*/ 302 h 399"/>
                <a:gd name="T14" fmla="*/ 40 w 269"/>
                <a:gd name="T15" fmla="*/ 197 h 399"/>
                <a:gd name="T16" fmla="*/ 63 w 269"/>
                <a:gd name="T17" fmla="*/ 67 h 399"/>
                <a:gd name="T18" fmla="*/ 122 w 269"/>
                <a:gd name="T19" fmla="*/ 5 h 399"/>
                <a:gd name="T20" fmla="*/ 186 w 269"/>
                <a:gd name="T21" fmla="*/ 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9" h="399">
                  <a:moveTo>
                    <a:pt x="186" y="7"/>
                  </a:moveTo>
                  <a:cubicBezTo>
                    <a:pt x="186" y="7"/>
                    <a:pt x="238" y="39"/>
                    <a:pt x="248" y="53"/>
                  </a:cubicBezTo>
                  <a:cubicBezTo>
                    <a:pt x="269" y="85"/>
                    <a:pt x="267" y="134"/>
                    <a:pt x="267" y="144"/>
                  </a:cubicBezTo>
                  <a:cubicBezTo>
                    <a:pt x="266" y="175"/>
                    <a:pt x="230" y="183"/>
                    <a:pt x="230" y="192"/>
                  </a:cubicBezTo>
                  <a:cubicBezTo>
                    <a:pt x="230" y="201"/>
                    <a:pt x="204" y="249"/>
                    <a:pt x="198" y="274"/>
                  </a:cubicBezTo>
                  <a:cubicBezTo>
                    <a:pt x="192" y="300"/>
                    <a:pt x="140" y="367"/>
                    <a:pt x="140" y="367"/>
                  </a:cubicBezTo>
                  <a:cubicBezTo>
                    <a:pt x="140" y="367"/>
                    <a:pt x="42" y="399"/>
                    <a:pt x="0" y="302"/>
                  </a:cubicBezTo>
                  <a:cubicBezTo>
                    <a:pt x="0" y="302"/>
                    <a:pt x="38" y="232"/>
                    <a:pt x="40" y="197"/>
                  </a:cubicBezTo>
                  <a:cubicBezTo>
                    <a:pt x="47" y="95"/>
                    <a:pt x="55" y="81"/>
                    <a:pt x="63" y="67"/>
                  </a:cubicBezTo>
                  <a:cubicBezTo>
                    <a:pt x="77" y="40"/>
                    <a:pt x="115" y="11"/>
                    <a:pt x="122" y="5"/>
                  </a:cubicBezTo>
                  <a:cubicBezTo>
                    <a:pt x="128" y="0"/>
                    <a:pt x="186" y="7"/>
                    <a:pt x="186" y="7"/>
                  </a:cubicBezTo>
                  <a:close/>
                </a:path>
              </a:pathLst>
            </a:custGeom>
            <a:solidFill>
              <a:srgbClr val="D5281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Freeform 60">
              <a:extLst>
                <a:ext uri="{FF2B5EF4-FFF2-40B4-BE49-F238E27FC236}">
                  <a16:creationId xmlns:a16="http://schemas.microsoft.com/office/drawing/2014/main" id="{A03C894B-A878-4571-AB78-17FF5DFCE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400" y="2593975"/>
              <a:ext cx="928687" cy="1219200"/>
            </a:xfrm>
            <a:custGeom>
              <a:avLst/>
              <a:gdLst>
                <a:gd name="T0" fmla="*/ 31 w 323"/>
                <a:gd name="T1" fmla="*/ 13 h 423"/>
                <a:gd name="T2" fmla="*/ 100 w 323"/>
                <a:gd name="T3" fmla="*/ 57 h 423"/>
                <a:gd name="T4" fmla="*/ 164 w 323"/>
                <a:gd name="T5" fmla="*/ 240 h 423"/>
                <a:gd name="T6" fmla="*/ 323 w 323"/>
                <a:gd name="T7" fmla="*/ 401 h 423"/>
                <a:gd name="T8" fmla="*/ 301 w 323"/>
                <a:gd name="T9" fmla="*/ 423 h 423"/>
                <a:gd name="T10" fmla="*/ 125 w 323"/>
                <a:gd name="T11" fmla="*/ 292 h 423"/>
                <a:gd name="T12" fmla="*/ 24 w 323"/>
                <a:gd name="T13" fmla="*/ 98 h 423"/>
                <a:gd name="T14" fmla="*/ 31 w 323"/>
                <a:gd name="T15" fmla="*/ 1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3" h="423">
                  <a:moveTo>
                    <a:pt x="31" y="13"/>
                  </a:moveTo>
                  <a:cubicBezTo>
                    <a:pt x="43" y="3"/>
                    <a:pt x="87" y="0"/>
                    <a:pt x="100" y="57"/>
                  </a:cubicBezTo>
                  <a:cubicBezTo>
                    <a:pt x="114" y="114"/>
                    <a:pt x="157" y="230"/>
                    <a:pt x="164" y="240"/>
                  </a:cubicBezTo>
                  <a:cubicBezTo>
                    <a:pt x="172" y="251"/>
                    <a:pt x="323" y="401"/>
                    <a:pt x="323" y="401"/>
                  </a:cubicBezTo>
                  <a:cubicBezTo>
                    <a:pt x="301" y="423"/>
                    <a:pt x="301" y="423"/>
                    <a:pt x="301" y="423"/>
                  </a:cubicBezTo>
                  <a:cubicBezTo>
                    <a:pt x="301" y="423"/>
                    <a:pt x="133" y="308"/>
                    <a:pt x="125" y="292"/>
                  </a:cubicBezTo>
                  <a:cubicBezTo>
                    <a:pt x="116" y="276"/>
                    <a:pt x="24" y="109"/>
                    <a:pt x="24" y="98"/>
                  </a:cubicBezTo>
                  <a:cubicBezTo>
                    <a:pt x="23" y="87"/>
                    <a:pt x="0" y="40"/>
                    <a:pt x="31" y="13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Freeform 61">
              <a:extLst>
                <a:ext uri="{FF2B5EF4-FFF2-40B4-BE49-F238E27FC236}">
                  <a16:creationId xmlns:a16="http://schemas.microsoft.com/office/drawing/2014/main" id="{86FFB9CF-EB77-4BAE-ADC1-D39FD8C1B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238" y="2522538"/>
              <a:ext cx="392112" cy="325437"/>
            </a:xfrm>
            <a:custGeom>
              <a:avLst/>
              <a:gdLst>
                <a:gd name="T0" fmla="*/ 49 w 136"/>
                <a:gd name="T1" fmla="*/ 0 h 113"/>
                <a:gd name="T2" fmla="*/ 136 w 136"/>
                <a:gd name="T3" fmla="*/ 101 h 113"/>
                <a:gd name="T4" fmla="*/ 106 w 136"/>
                <a:gd name="T5" fmla="*/ 113 h 113"/>
                <a:gd name="T6" fmla="*/ 49 w 136"/>
                <a:gd name="T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6" h="113">
                  <a:moveTo>
                    <a:pt x="49" y="0"/>
                  </a:moveTo>
                  <a:cubicBezTo>
                    <a:pt x="49" y="0"/>
                    <a:pt x="123" y="27"/>
                    <a:pt x="136" y="101"/>
                  </a:cubicBezTo>
                  <a:cubicBezTo>
                    <a:pt x="106" y="113"/>
                    <a:pt x="106" y="113"/>
                    <a:pt x="106" y="113"/>
                  </a:cubicBezTo>
                  <a:cubicBezTo>
                    <a:pt x="106" y="113"/>
                    <a:pt x="0" y="4"/>
                    <a:pt x="49" y="0"/>
                  </a:cubicBezTo>
                  <a:close/>
                </a:path>
              </a:pathLst>
            </a:custGeom>
            <a:solidFill>
              <a:srgbClr val="D5281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Freeform 62">
              <a:extLst>
                <a:ext uri="{FF2B5EF4-FFF2-40B4-BE49-F238E27FC236}">
                  <a16:creationId xmlns:a16="http://schemas.microsoft.com/office/drawing/2014/main" id="{66F0029E-11A3-4570-A3F9-FDF68564E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4025" y="2286000"/>
              <a:ext cx="261937" cy="403225"/>
            </a:xfrm>
            <a:custGeom>
              <a:avLst/>
              <a:gdLst>
                <a:gd name="T0" fmla="*/ 55 w 91"/>
                <a:gd name="T1" fmla="*/ 53 h 140"/>
                <a:gd name="T2" fmla="*/ 57 w 91"/>
                <a:gd name="T3" fmla="*/ 79 h 140"/>
                <a:gd name="T4" fmla="*/ 66 w 91"/>
                <a:gd name="T5" fmla="*/ 82 h 140"/>
                <a:gd name="T6" fmla="*/ 63 w 91"/>
                <a:gd name="T7" fmla="*/ 135 h 140"/>
                <a:gd name="T8" fmla="*/ 2 w 91"/>
                <a:gd name="T9" fmla="*/ 80 h 140"/>
                <a:gd name="T10" fmla="*/ 4 w 91"/>
                <a:gd name="T11" fmla="*/ 18 h 140"/>
                <a:gd name="T12" fmla="*/ 55 w 91"/>
                <a:gd name="T13" fmla="*/ 5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40">
                  <a:moveTo>
                    <a:pt x="55" y="53"/>
                  </a:moveTo>
                  <a:cubicBezTo>
                    <a:pt x="55" y="53"/>
                    <a:pt x="54" y="74"/>
                    <a:pt x="57" y="79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6" y="82"/>
                    <a:pt x="91" y="130"/>
                    <a:pt x="63" y="135"/>
                  </a:cubicBezTo>
                  <a:cubicBezTo>
                    <a:pt x="36" y="140"/>
                    <a:pt x="8" y="114"/>
                    <a:pt x="2" y="80"/>
                  </a:cubicBezTo>
                  <a:cubicBezTo>
                    <a:pt x="2" y="80"/>
                    <a:pt x="8" y="35"/>
                    <a:pt x="4" y="18"/>
                  </a:cubicBezTo>
                  <a:cubicBezTo>
                    <a:pt x="0" y="0"/>
                    <a:pt x="55" y="53"/>
                    <a:pt x="55" y="53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Freeform 63">
              <a:extLst>
                <a:ext uri="{FF2B5EF4-FFF2-40B4-BE49-F238E27FC236}">
                  <a16:creationId xmlns:a16="http://schemas.microsoft.com/office/drawing/2014/main" id="{2EDFA997-9CA5-4017-8209-828C5A098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7088" y="1804988"/>
              <a:ext cx="1239837" cy="1028700"/>
            </a:xfrm>
            <a:custGeom>
              <a:avLst/>
              <a:gdLst>
                <a:gd name="T0" fmla="*/ 345 w 431"/>
                <a:gd name="T1" fmla="*/ 80 h 357"/>
                <a:gd name="T2" fmla="*/ 413 w 431"/>
                <a:gd name="T3" fmla="*/ 131 h 357"/>
                <a:gd name="T4" fmla="*/ 398 w 431"/>
                <a:gd name="T5" fmla="*/ 49 h 357"/>
                <a:gd name="T6" fmla="*/ 264 w 431"/>
                <a:gd name="T7" fmla="*/ 42 h 357"/>
                <a:gd name="T8" fmla="*/ 179 w 431"/>
                <a:gd name="T9" fmla="*/ 151 h 357"/>
                <a:gd name="T10" fmla="*/ 91 w 431"/>
                <a:gd name="T11" fmla="*/ 195 h 357"/>
                <a:gd name="T12" fmla="*/ 8 w 431"/>
                <a:gd name="T13" fmla="*/ 256 h 357"/>
                <a:gd name="T14" fmla="*/ 137 w 431"/>
                <a:gd name="T15" fmla="*/ 296 h 357"/>
                <a:gd name="T16" fmla="*/ 262 w 431"/>
                <a:gd name="T17" fmla="*/ 277 h 357"/>
                <a:gd name="T18" fmla="*/ 317 w 431"/>
                <a:gd name="T19" fmla="*/ 190 h 357"/>
                <a:gd name="T20" fmla="*/ 345 w 431"/>
                <a:gd name="T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357">
                  <a:moveTo>
                    <a:pt x="345" y="80"/>
                  </a:moveTo>
                  <a:cubicBezTo>
                    <a:pt x="345" y="80"/>
                    <a:pt x="407" y="113"/>
                    <a:pt x="413" y="131"/>
                  </a:cubicBezTo>
                  <a:cubicBezTo>
                    <a:pt x="413" y="131"/>
                    <a:pt x="431" y="98"/>
                    <a:pt x="398" y="49"/>
                  </a:cubicBezTo>
                  <a:cubicBezTo>
                    <a:pt x="366" y="0"/>
                    <a:pt x="299" y="5"/>
                    <a:pt x="264" y="42"/>
                  </a:cubicBezTo>
                  <a:cubicBezTo>
                    <a:pt x="230" y="79"/>
                    <a:pt x="228" y="145"/>
                    <a:pt x="179" y="151"/>
                  </a:cubicBezTo>
                  <a:cubicBezTo>
                    <a:pt x="131" y="157"/>
                    <a:pt x="98" y="138"/>
                    <a:pt x="91" y="195"/>
                  </a:cubicBezTo>
                  <a:cubicBezTo>
                    <a:pt x="85" y="253"/>
                    <a:pt x="17" y="211"/>
                    <a:pt x="8" y="256"/>
                  </a:cubicBezTo>
                  <a:cubicBezTo>
                    <a:pt x="0" y="302"/>
                    <a:pt x="62" y="357"/>
                    <a:pt x="137" y="296"/>
                  </a:cubicBezTo>
                  <a:cubicBezTo>
                    <a:pt x="212" y="235"/>
                    <a:pt x="231" y="280"/>
                    <a:pt x="262" y="277"/>
                  </a:cubicBezTo>
                  <a:cubicBezTo>
                    <a:pt x="293" y="274"/>
                    <a:pt x="330" y="270"/>
                    <a:pt x="317" y="190"/>
                  </a:cubicBezTo>
                  <a:cubicBezTo>
                    <a:pt x="304" y="110"/>
                    <a:pt x="345" y="80"/>
                    <a:pt x="345" y="80"/>
                  </a:cubicBezTo>
                  <a:close/>
                </a:path>
              </a:pathLst>
            </a:custGeom>
            <a:solidFill>
              <a:srgbClr val="EDCC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Freeform 64">
              <a:extLst>
                <a:ext uri="{FF2B5EF4-FFF2-40B4-BE49-F238E27FC236}">
                  <a16:creationId xmlns:a16="http://schemas.microsoft.com/office/drawing/2014/main" id="{CA45E0DF-E072-47AD-8366-9231C703C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2547938"/>
              <a:ext cx="382587" cy="417512"/>
            </a:xfrm>
            <a:custGeom>
              <a:avLst/>
              <a:gdLst>
                <a:gd name="T0" fmla="*/ 43 w 133"/>
                <a:gd name="T1" fmla="*/ 145 h 145"/>
                <a:gd name="T2" fmla="*/ 133 w 133"/>
                <a:gd name="T3" fmla="*/ 107 h 145"/>
                <a:gd name="T4" fmla="*/ 49 w 133"/>
                <a:gd name="T5" fmla="*/ 26 h 145"/>
                <a:gd name="T6" fmla="*/ 43 w 133"/>
                <a:gd name="T7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" h="145">
                  <a:moveTo>
                    <a:pt x="43" y="145"/>
                  </a:moveTo>
                  <a:cubicBezTo>
                    <a:pt x="43" y="145"/>
                    <a:pt x="124" y="107"/>
                    <a:pt x="133" y="107"/>
                  </a:cubicBezTo>
                  <a:cubicBezTo>
                    <a:pt x="133" y="107"/>
                    <a:pt x="116" y="0"/>
                    <a:pt x="49" y="26"/>
                  </a:cubicBezTo>
                  <a:cubicBezTo>
                    <a:pt x="49" y="26"/>
                    <a:pt x="0" y="52"/>
                    <a:pt x="43" y="145"/>
                  </a:cubicBezTo>
                  <a:close/>
                </a:path>
              </a:pathLst>
            </a:custGeom>
            <a:solidFill>
              <a:srgbClr val="D5281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Freeform 65">
              <a:extLst>
                <a:ext uri="{FF2B5EF4-FFF2-40B4-BE49-F238E27FC236}">
                  <a16:creationId xmlns:a16="http://schemas.microsoft.com/office/drawing/2014/main" id="{CD8349D8-F1C8-4B0A-91A7-A932FE052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94763" y="3703638"/>
              <a:ext cx="555625" cy="457200"/>
            </a:xfrm>
            <a:custGeom>
              <a:avLst/>
              <a:gdLst>
                <a:gd name="T0" fmla="*/ 135 w 193"/>
                <a:gd name="T1" fmla="*/ 153 h 159"/>
                <a:gd name="T2" fmla="*/ 131 w 193"/>
                <a:gd name="T3" fmla="*/ 148 h 159"/>
                <a:gd name="T4" fmla="*/ 131 w 193"/>
                <a:gd name="T5" fmla="*/ 148 h 159"/>
                <a:gd name="T6" fmla="*/ 135 w 193"/>
                <a:gd name="T7" fmla="*/ 153 h 159"/>
                <a:gd name="T8" fmla="*/ 140 w 193"/>
                <a:gd name="T9" fmla="*/ 159 h 159"/>
                <a:gd name="T10" fmla="*/ 131 w 193"/>
                <a:gd name="T11" fmla="*/ 148 h 159"/>
                <a:gd name="T12" fmla="*/ 177 w 193"/>
                <a:gd name="T13" fmla="*/ 73 h 159"/>
                <a:gd name="T14" fmla="*/ 162 w 193"/>
                <a:gd name="T15" fmla="*/ 33 h 159"/>
                <a:gd name="T16" fmla="*/ 121 w 193"/>
                <a:gd name="T17" fmla="*/ 14 h 159"/>
                <a:gd name="T18" fmla="*/ 52 w 193"/>
                <a:gd name="T19" fmla="*/ 48 h 159"/>
                <a:gd name="T20" fmla="*/ 51 w 193"/>
                <a:gd name="T21" fmla="*/ 48 h 159"/>
                <a:gd name="T22" fmla="*/ 10 w 193"/>
                <a:gd name="T23" fmla="*/ 86 h 159"/>
                <a:gd name="T24" fmla="*/ 0 w 193"/>
                <a:gd name="T25" fmla="*/ 76 h 159"/>
                <a:gd name="T26" fmla="*/ 42 w 193"/>
                <a:gd name="T27" fmla="*/ 38 h 159"/>
                <a:gd name="T28" fmla="*/ 121 w 193"/>
                <a:gd name="T29" fmla="*/ 0 h 159"/>
                <a:gd name="T30" fmla="*/ 121 w 193"/>
                <a:gd name="T31" fmla="*/ 0 h 159"/>
                <a:gd name="T32" fmla="*/ 173 w 193"/>
                <a:gd name="T33" fmla="*/ 24 h 159"/>
                <a:gd name="T34" fmla="*/ 192 w 193"/>
                <a:gd name="T35" fmla="*/ 74 h 159"/>
                <a:gd name="T36" fmla="*/ 140 w 193"/>
                <a:gd name="T3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3" h="159">
                  <a:moveTo>
                    <a:pt x="135" y="153"/>
                  </a:moveTo>
                  <a:cubicBezTo>
                    <a:pt x="131" y="148"/>
                    <a:pt x="131" y="148"/>
                    <a:pt x="131" y="148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5" y="153"/>
                    <a:pt x="135" y="153"/>
                    <a:pt x="135" y="153"/>
                  </a:cubicBezTo>
                  <a:close/>
                  <a:moveTo>
                    <a:pt x="140" y="159"/>
                  </a:moveTo>
                  <a:cubicBezTo>
                    <a:pt x="131" y="148"/>
                    <a:pt x="131" y="148"/>
                    <a:pt x="131" y="148"/>
                  </a:cubicBezTo>
                  <a:cubicBezTo>
                    <a:pt x="131" y="148"/>
                    <a:pt x="175" y="111"/>
                    <a:pt x="177" y="73"/>
                  </a:cubicBezTo>
                  <a:cubicBezTo>
                    <a:pt x="178" y="58"/>
                    <a:pt x="174" y="45"/>
                    <a:pt x="162" y="33"/>
                  </a:cubicBezTo>
                  <a:cubicBezTo>
                    <a:pt x="151" y="21"/>
                    <a:pt x="137" y="14"/>
                    <a:pt x="121" y="14"/>
                  </a:cubicBezTo>
                  <a:cubicBezTo>
                    <a:pt x="86" y="14"/>
                    <a:pt x="52" y="47"/>
                    <a:pt x="52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5" y="35"/>
                    <a:pt x="80" y="0"/>
                    <a:pt x="12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41" y="0"/>
                    <a:pt x="158" y="8"/>
                    <a:pt x="173" y="24"/>
                  </a:cubicBezTo>
                  <a:cubicBezTo>
                    <a:pt x="186" y="38"/>
                    <a:pt x="193" y="55"/>
                    <a:pt x="192" y="74"/>
                  </a:cubicBezTo>
                  <a:cubicBezTo>
                    <a:pt x="189" y="119"/>
                    <a:pt x="142" y="157"/>
                    <a:pt x="140" y="159"/>
                  </a:cubicBez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Freeform 66">
              <a:extLst>
                <a:ext uri="{FF2B5EF4-FFF2-40B4-BE49-F238E27FC236}">
                  <a16:creationId xmlns:a16="http://schemas.microsoft.com/office/drawing/2014/main" id="{6D275C84-C633-4523-9D56-831D7FDBA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5913" y="5448300"/>
              <a:ext cx="130175" cy="155575"/>
            </a:xfrm>
            <a:custGeom>
              <a:avLst/>
              <a:gdLst>
                <a:gd name="T0" fmla="*/ 0 w 82"/>
                <a:gd name="T1" fmla="*/ 93 h 98"/>
                <a:gd name="T2" fmla="*/ 75 w 82"/>
                <a:gd name="T3" fmla="*/ 0 h 98"/>
                <a:gd name="T4" fmla="*/ 82 w 82"/>
                <a:gd name="T5" fmla="*/ 6 h 98"/>
                <a:gd name="T6" fmla="*/ 8 w 82"/>
                <a:gd name="T7" fmla="*/ 98 h 98"/>
                <a:gd name="T8" fmla="*/ 0 w 82"/>
                <a:gd name="T9" fmla="*/ 93 h 98"/>
                <a:gd name="T10" fmla="*/ 0 w 82"/>
                <a:gd name="T11" fmla="*/ 9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98">
                  <a:moveTo>
                    <a:pt x="0" y="93"/>
                  </a:moveTo>
                  <a:lnTo>
                    <a:pt x="75" y="0"/>
                  </a:lnTo>
                  <a:lnTo>
                    <a:pt x="82" y="6"/>
                  </a:lnTo>
                  <a:lnTo>
                    <a:pt x="8" y="98"/>
                  </a:lnTo>
                  <a:lnTo>
                    <a:pt x="0" y="93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7BA2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Freeform 67">
              <a:extLst>
                <a:ext uri="{FF2B5EF4-FFF2-40B4-BE49-F238E27FC236}">
                  <a16:creationId xmlns:a16="http://schemas.microsoft.com/office/drawing/2014/main" id="{4D8C38B5-C097-4B46-B391-54E4D859F7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6150" y="4443413"/>
              <a:ext cx="1590675" cy="1592262"/>
            </a:xfrm>
            <a:custGeom>
              <a:avLst/>
              <a:gdLst>
                <a:gd name="T0" fmla="*/ 276 w 553"/>
                <a:gd name="T1" fmla="*/ 14 h 553"/>
                <a:gd name="T2" fmla="*/ 14 w 553"/>
                <a:gd name="T3" fmla="*/ 277 h 553"/>
                <a:gd name="T4" fmla="*/ 276 w 553"/>
                <a:gd name="T5" fmla="*/ 539 h 553"/>
                <a:gd name="T6" fmla="*/ 539 w 553"/>
                <a:gd name="T7" fmla="*/ 277 h 553"/>
                <a:gd name="T8" fmla="*/ 276 w 553"/>
                <a:gd name="T9" fmla="*/ 14 h 553"/>
                <a:gd name="T10" fmla="*/ 276 w 553"/>
                <a:gd name="T11" fmla="*/ 553 h 553"/>
                <a:gd name="T12" fmla="*/ 169 w 553"/>
                <a:gd name="T13" fmla="*/ 532 h 553"/>
                <a:gd name="T14" fmla="*/ 81 w 553"/>
                <a:gd name="T15" fmla="*/ 472 h 553"/>
                <a:gd name="T16" fmla="*/ 22 w 553"/>
                <a:gd name="T17" fmla="*/ 384 h 553"/>
                <a:gd name="T18" fmla="*/ 0 w 553"/>
                <a:gd name="T19" fmla="*/ 277 h 553"/>
                <a:gd name="T20" fmla="*/ 22 w 553"/>
                <a:gd name="T21" fmla="*/ 169 h 553"/>
                <a:gd name="T22" fmla="*/ 81 w 553"/>
                <a:gd name="T23" fmla="*/ 81 h 553"/>
                <a:gd name="T24" fmla="*/ 169 w 553"/>
                <a:gd name="T25" fmla="*/ 22 h 553"/>
                <a:gd name="T26" fmla="*/ 276 w 553"/>
                <a:gd name="T27" fmla="*/ 0 h 553"/>
                <a:gd name="T28" fmla="*/ 384 w 553"/>
                <a:gd name="T29" fmla="*/ 22 h 553"/>
                <a:gd name="T30" fmla="*/ 472 w 553"/>
                <a:gd name="T31" fmla="*/ 81 h 553"/>
                <a:gd name="T32" fmla="*/ 531 w 553"/>
                <a:gd name="T33" fmla="*/ 169 h 553"/>
                <a:gd name="T34" fmla="*/ 553 w 553"/>
                <a:gd name="T35" fmla="*/ 277 h 553"/>
                <a:gd name="T36" fmla="*/ 531 w 553"/>
                <a:gd name="T37" fmla="*/ 384 h 553"/>
                <a:gd name="T38" fmla="*/ 472 w 553"/>
                <a:gd name="T39" fmla="*/ 472 h 553"/>
                <a:gd name="T40" fmla="*/ 384 w 553"/>
                <a:gd name="T41" fmla="*/ 532 h 553"/>
                <a:gd name="T42" fmla="*/ 276 w 553"/>
                <a:gd name="T43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3" h="553">
                  <a:moveTo>
                    <a:pt x="276" y="14"/>
                  </a:moveTo>
                  <a:cubicBezTo>
                    <a:pt x="132" y="14"/>
                    <a:pt x="14" y="132"/>
                    <a:pt x="14" y="277"/>
                  </a:cubicBezTo>
                  <a:cubicBezTo>
                    <a:pt x="14" y="422"/>
                    <a:pt x="132" y="539"/>
                    <a:pt x="276" y="539"/>
                  </a:cubicBezTo>
                  <a:cubicBezTo>
                    <a:pt x="421" y="539"/>
                    <a:pt x="539" y="422"/>
                    <a:pt x="539" y="277"/>
                  </a:cubicBezTo>
                  <a:cubicBezTo>
                    <a:pt x="539" y="132"/>
                    <a:pt x="421" y="14"/>
                    <a:pt x="276" y="14"/>
                  </a:cubicBezTo>
                  <a:close/>
                  <a:moveTo>
                    <a:pt x="276" y="553"/>
                  </a:moveTo>
                  <a:cubicBezTo>
                    <a:pt x="239" y="553"/>
                    <a:pt x="203" y="546"/>
                    <a:pt x="169" y="532"/>
                  </a:cubicBezTo>
                  <a:cubicBezTo>
                    <a:pt x="136" y="518"/>
                    <a:pt x="106" y="498"/>
                    <a:pt x="81" y="472"/>
                  </a:cubicBezTo>
                  <a:cubicBezTo>
                    <a:pt x="55" y="447"/>
                    <a:pt x="35" y="417"/>
                    <a:pt x="22" y="384"/>
                  </a:cubicBezTo>
                  <a:cubicBezTo>
                    <a:pt x="7" y="350"/>
                    <a:pt x="0" y="314"/>
                    <a:pt x="0" y="277"/>
                  </a:cubicBezTo>
                  <a:cubicBezTo>
                    <a:pt x="0" y="240"/>
                    <a:pt x="7" y="203"/>
                    <a:pt x="22" y="169"/>
                  </a:cubicBezTo>
                  <a:cubicBezTo>
                    <a:pt x="35" y="136"/>
                    <a:pt x="55" y="107"/>
                    <a:pt x="81" y="81"/>
                  </a:cubicBezTo>
                  <a:cubicBezTo>
                    <a:pt x="106" y="56"/>
                    <a:pt x="136" y="36"/>
                    <a:pt x="169" y="22"/>
                  </a:cubicBezTo>
                  <a:cubicBezTo>
                    <a:pt x="203" y="8"/>
                    <a:pt x="239" y="0"/>
                    <a:pt x="276" y="0"/>
                  </a:cubicBezTo>
                  <a:cubicBezTo>
                    <a:pt x="314" y="0"/>
                    <a:pt x="350" y="8"/>
                    <a:pt x="384" y="22"/>
                  </a:cubicBezTo>
                  <a:cubicBezTo>
                    <a:pt x="417" y="36"/>
                    <a:pt x="446" y="56"/>
                    <a:pt x="472" y="81"/>
                  </a:cubicBezTo>
                  <a:cubicBezTo>
                    <a:pt x="497" y="107"/>
                    <a:pt x="517" y="136"/>
                    <a:pt x="531" y="169"/>
                  </a:cubicBezTo>
                  <a:cubicBezTo>
                    <a:pt x="546" y="203"/>
                    <a:pt x="553" y="240"/>
                    <a:pt x="553" y="277"/>
                  </a:cubicBezTo>
                  <a:cubicBezTo>
                    <a:pt x="553" y="314"/>
                    <a:pt x="546" y="350"/>
                    <a:pt x="531" y="384"/>
                  </a:cubicBezTo>
                  <a:cubicBezTo>
                    <a:pt x="517" y="417"/>
                    <a:pt x="497" y="447"/>
                    <a:pt x="472" y="472"/>
                  </a:cubicBezTo>
                  <a:cubicBezTo>
                    <a:pt x="446" y="498"/>
                    <a:pt x="417" y="518"/>
                    <a:pt x="384" y="532"/>
                  </a:cubicBezTo>
                  <a:cubicBezTo>
                    <a:pt x="350" y="546"/>
                    <a:pt x="314" y="553"/>
                    <a:pt x="276" y="553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Freeform 68">
              <a:extLst>
                <a:ext uri="{FF2B5EF4-FFF2-40B4-BE49-F238E27FC236}">
                  <a16:creationId xmlns:a16="http://schemas.microsoft.com/office/drawing/2014/main" id="{1BF11C61-1BFA-4D58-9CD2-C7BB4E7D09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7425" y="4486275"/>
              <a:ext cx="1506537" cy="1509712"/>
            </a:xfrm>
            <a:custGeom>
              <a:avLst/>
              <a:gdLst>
                <a:gd name="T0" fmla="*/ 262 w 524"/>
                <a:gd name="T1" fmla="*/ 14 h 524"/>
                <a:gd name="T2" fmla="*/ 14 w 524"/>
                <a:gd name="T3" fmla="*/ 262 h 524"/>
                <a:gd name="T4" fmla="*/ 262 w 524"/>
                <a:gd name="T5" fmla="*/ 510 h 524"/>
                <a:gd name="T6" fmla="*/ 510 w 524"/>
                <a:gd name="T7" fmla="*/ 262 h 524"/>
                <a:gd name="T8" fmla="*/ 262 w 524"/>
                <a:gd name="T9" fmla="*/ 14 h 524"/>
                <a:gd name="T10" fmla="*/ 262 w 524"/>
                <a:gd name="T11" fmla="*/ 524 h 524"/>
                <a:gd name="T12" fmla="*/ 160 w 524"/>
                <a:gd name="T13" fmla="*/ 503 h 524"/>
                <a:gd name="T14" fmla="*/ 77 w 524"/>
                <a:gd name="T15" fmla="*/ 447 h 524"/>
                <a:gd name="T16" fmla="*/ 21 w 524"/>
                <a:gd name="T17" fmla="*/ 364 h 524"/>
                <a:gd name="T18" fmla="*/ 0 w 524"/>
                <a:gd name="T19" fmla="*/ 262 h 524"/>
                <a:gd name="T20" fmla="*/ 21 w 524"/>
                <a:gd name="T21" fmla="*/ 160 h 524"/>
                <a:gd name="T22" fmla="*/ 77 w 524"/>
                <a:gd name="T23" fmla="*/ 76 h 524"/>
                <a:gd name="T24" fmla="*/ 160 w 524"/>
                <a:gd name="T25" fmla="*/ 20 h 524"/>
                <a:gd name="T26" fmla="*/ 262 w 524"/>
                <a:gd name="T27" fmla="*/ 0 h 524"/>
                <a:gd name="T28" fmla="*/ 364 w 524"/>
                <a:gd name="T29" fmla="*/ 20 h 524"/>
                <a:gd name="T30" fmla="*/ 448 w 524"/>
                <a:gd name="T31" fmla="*/ 76 h 524"/>
                <a:gd name="T32" fmla="*/ 504 w 524"/>
                <a:gd name="T33" fmla="*/ 160 h 524"/>
                <a:gd name="T34" fmla="*/ 524 w 524"/>
                <a:gd name="T35" fmla="*/ 262 h 524"/>
                <a:gd name="T36" fmla="*/ 504 w 524"/>
                <a:gd name="T37" fmla="*/ 364 h 524"/>
                <a:gd name="T38" fmla="*/ 448 w 524"/>
                <a:gd name="T39" fmla="*/ 447 h 524"/>
                <a:gd name="T40" fmla="*/ 364 w 524"/>
                <a:gd name="T41" fmla="*/ 503 h 524"/>
                <a:gd name="T42" fmla="*/ 262 w 524"/>
                <a:gd name="T43" fmla="*/ 5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4" h="524">
                  <a:moveTo>
                    <a:pt x="262" y="14"/>
                  </a:moveTo>
                  <a:cubicBezTo>
                    <a:pt x="126" y="14"/>
                    <a:pt x="14" y="125"/>
                    <a:pt x="14" y="262"/>
                  </a:cubicBezTo>
                  <a:cubicBezTo>
                    <a:pt x="14" y="399"/>
                    <a:pt x="126" y="510"/>
                    <a:pt x="262" y="510"/>
                  </a:cubicBezTo>
                  <a:cubicBezTo>
                    <a:pt x="399" y="510"/>
                    <a:pt x="510" y="399"/>
                    <a:pt x="510" y="262"/>
                  </a:cubicBezTo>
                  <a:cubicBezTo>
                    <a:pt x="510" y="125"/>
                    <a:pt x="399" y="14"/>
                    <a:pt x="262" y="14"/>
                  </a:cubicBezTo>
                  <a:close/>
                  <a:moveTo>
                    <a:pt x="262" y="524"/>
                  </a:moveTo>
                  <a:cubicBezTo>
                    <a:pt x="227" y="524"/>
                    <a:pt x="193" y="517"/>
                    <a:pt x="160" y="503"/>
                  </a:cubicBezTo>
                  <a:cubicBezTo>
                    <a:pt x="129" y="490"/>
                    <a:pt x="101" y="471"/>
                    <a:pt x="77" y="447"/>
                  </a:cubicBezTo>
                  <a:cubicBezTo>
                    <a:pt x="53" y="423"/>
                    <a:pt x="34" y="395"/>
                    <a:pt x="21" y="364"/>
                  </a:cubicBezTo>
                  <a:cubicBezTo>
                    <a:pt x="7" y="332"/>
                    <a:pt x="0" y="297"/>
                    <a:pt x="0" y="262"/>
                  </a:cubicBezTo>
                  <a:cubicBezTo>
                    <a:pt x="0" y="226"/>
                    <a:pt x="7" y="192"/>
                    <a:pt x="21" y="160"/>
                  </a:cubicBezTo>
                  <a:cubicBezTo>
                    <a:pt x="34" y="129"/>
                    <a:pt x="53" y="101"/>
                    <a:pt x="77" y="76"/>
                  </a:cubicBezTo>
                  <a:cubicBezTo>
                    <a:pt x="101" y="52"/>
                    <a:pt x="129" y="34"/>
                    <a:pt x="160" y="20"/>
                  </a:cubicBezTo>
                  <a:cubicBezTo>
                    <a:pt x="193" y="7"/>
                    <a:pt x="227" y="0"/>
                    <a:pt x="262" y="0"/>
                  </a:cubicBezTo>
                  <a:cubicBezTo>
                    <a:pt x="298" y="0"/>
                    <a:pt x="332" y="7"/>
                    <a:pt x="364" y="20"/>
                  </a:cubicBezTo>
                  <a:cubicBezTo>
                    <a:pt x="396" y="34"/>
                    <a:pt x="424" y="52"/>
                    <a:pt x="448" y="76"/>
                  </a:cubicBezTo>
                  <a:cubicBezTo>
                    <a:pt x="472" y="101"/>
                    <a:pt x="491" y="129"/>
                    <a:pt x="504" y="160"/>
                  </a:cubicBezTo>
                  <a:cubicBezTo>
                    <a:pt x="518" y="192"/>
                    <a:pt x="524" y="226"/>
                    <a:pt x="524" y="262"/>
                  </a:cubicBezTo>
                  <a:cubicBezTo>
                    <a:pt x="524" y="297"/>
                    <a:pt x="518" y="332"/>
                    <a:pt x="504" y="364"/>
                  </a:cubicBezTo>
                  <a:cubicBezTo>
                    <a:pt x="491" y="395"/>
                    <a:pt x="472" y="423"/>
                    <a:pt x="448" y="447"/>
                  </a:cubicBezTo>
                  <a:cubicBezTo>
                    <a:pt x="424" y="471"/>
                    <a:pt x="396" y="490"/>
                    <a:pt x="364" y="503"/>
                  </a:cubicBezTo>
                  <a:cubicBezTo>
                    <a:pt x="332" y="517"/>
                    <a:pt x="298" y="524"/>
                    <a:pt x="262" y="524"/>
                  </a:cubicBez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Freeform 69">
              <a:extLst>
                <a:ext uri="{FF2B5EF4-FFF2-40B4-BE49-F238E27FC236}">
                  <a16:creationId xmlns:a16="http://schemas.microsoft.com/office/drawing/2014/main" id="{4E7BB48D-0384-41EC-B286-107BFA0F6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3025" y="3860800"/>
              <a:ext cx="417512" cy="1385887"/>
            </a:xfrm>
            <a:custGeom>
              <a:avLst/>
              <a:gdLst>
                <a:gd name="T0" fmla="*/ 239 w 263"/>
                <a:gd name="T1" fmla="*/ 873 h 873"/>
                <a:gd name="T2" fmla="*/ 0 w 263"/>
                <a:gd name="T3" fmla="*/ 6 h 873"/>
                <a:gd name="T4" fmla="*/ 26 w 263"/>
                <a:gd name="T5" fmla="*/ 0 h 873"/>
                <a:gd name="T6" fmla="*/ 263 w 263"/>
                <a:gd name="T7" fmla="*/ 866 h 873"/>
                <a:gd name="T8" fmla="*/ 239 w 263"/>
                <a:gd name="T9" fmla="*/ 873 h 873"/>
                <a:gd name="T10" fmla="*/ 239 w 263"/>
                <a:gd name="T11" fmla="*/ 873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3" h="873">
                  <a:moveTo>
                    <a:pt x="239" y="873"/>
                  </a:moveTo>
                  <a:lnTo>
                    <a:pt x="0" y="6"/>
                  </a:lnTo>
                  <a:lnTo>
                    <a:pt x="26" y="0"/>
                  </a:lnTo>
                  <a:lnTo>
                    <a:pt x="263" y="866"/>
                  </a:lnTo>
                  <a:lnTo>
                    <a:pt x="239" y="873"/>
                  </a:lnTo>
                  <a:lnTo>
                    <a:pt x="239" y="873"/>
                  </a:ln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Freeform 70">
              <a:extLst>
                <a:ext uri="{FF2B5EF4-FFF2-40B4-BE49-F238E27FC236}">
                  <a16:creationId xmlns:a16="http://schemas.microsoft.com/office/drawing/2014/main" id="{DE596E59-43EE-4B35-96EF-6844076CF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700" y="3884613"/>
              <a:ext cx="73025" cy="38100"/>
            </a:xfrm>
            <a:custGeom>
              <a:avLst/>
              <a:gdLst>
                <a:gd name="T0" fmla="*/ 46 w 46"/>
                <a:gd name="T1" fmla="*/ 24 h 24"/>
                <a:gd name="T2" fmla="*/ 0 w 46"/>
                <a:gd name="T3" fmla="*/ 24 h 24"/>
                <a:gd name="T4" fmla="*/ 0 w 46"/>
                <a:gd name="T5" fmla="*/ 0 h 24"/>
                <a:gd name="T6" fmla="*/ 46 w 46"/>
                <a:gd name="T7" fmla="*/ 0 h 24"/>
                <a:gd name="T8" fmla="*/ 46 w 46"/>
                <a:gd name="T9" fmla="*/ 24 h 24"/>
                <a:gd name="T10" fmla="*/ 46 w 46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24">
                  <a:moveTo>
                    <a:pt x="46" y="24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46" y="0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EDDA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Oval 71">
              <a:extLst>
                <a:ext uri="{FF2B5EF4-FFF2-40B4-BE49-F238E27FC236}">
                  <a16:creationId xmlns:a16="http://schemas.microsoft.com/office/drawing/2014/main" id="{1D954B22-1DE7-4239-9E06-E327EE35CD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09100" y="5186363"/>
              <a:ext cx="106362" cy="106362"/>
            </a:xfrm>
            <a:prstGeom prst="ellipse">
              <a:avLst/>
            </a:pr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Freeform 72">
              <a:extLst>
                <a:ext uri="{FF2B5EF4-FFF2-40B4-BE49-F238E27FC236}">
                  <a16:creationId xmlns:a16="http://schemas.microsoft.com/office/drawing/2014/main" id="{4021EF0B-CF6F-436E-BAA4-D6D3BFAC7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0550" y="4121150"/>
              <a:ext cx="2155825" cy="1344612"/>
            </a:xfrm>
            <a:custGeom>
              <a:avLst/>
              <a:gdLst>
                <a:gd name="T0" fmla="*/ 696 w 1358"/>
                <a:gd name="T1" fmla="*/ 847 h 847"/>
                <a:gd name="T2" fmla="*/ 0 w 1358"/>
                <a:gd name="T3" fmla="*/ 707 h 847"/>
                <a:gd name="T4" fmla="*/ 468 w 1358"/>
                <a:gd name="T5" fmla="*/ 0 h 847"/>
                <a:gd name="T6" fmla="*/ 1330 w 1358"/>
                <a:gd name="T7" fmla="*/ 0 h 847"/>
                <a:gd name="T8" fmla="*/ 1330 w 1358"/>
                <a:gd name="T9" fmla="*/ 25 h 847"/>
                <a:gd name="T10" fmla="*/ 482 w 1358"/>
                <a:gd name="T11" fmla="*/ 25 h 847"/>
                <a:gd name="T12" fmla="*/ 44 w 1358"/>
                <a:gd name="T13" fmla="*/ 691 h 847"/>
                <a:gd name="T14" fmla="*/ 687 w 1358"/>
                <a:gd name="T15" fmla="*/ 818 h 847"/>
                <a:gd name="T16" fmla="*/ 1341 w 1358"/>
                <a:gd name="T17" fmla="*/ 78 h 847"/>
                <a:gd name="T18" fmla="*/ 1358 w 1358"/>
                <a:gd name="T19" fmla="*/ 98 h 847"/>
                <a:gd name="T20" fmla="*/ 696 w 1358"/>
                <a:gd name="T21" fmla="*/ 847 h 847"/>
                <a:gd name="T22" fmla="*/ 696 w 1358"/>
                <a:gd name="T23" fmla="*/ 847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8" h="847">
                  <a:moveTo>
                    <a:pt x="696" y="847"/>
                  </a:moveTo>
                  <a:lnTo>
                    <a:pt x="0" y="707"/>
                  </a:lnTo>
                  <a:lnTo>
                    <a:pt x="468" y="0"/>
                  </a:lnTo>
                  <a:lnTo>
                    <a:pt x="1330" y="0"/>
                  </a:lnTo>
                  <a:lnTo>
                    <a:pt x="1330" y="25"/>
                  </a:lnTo>
                  <a:lnTo>
                    <a:pt x="482" y="25"/>
                  </a:lnTo>
                  <a:lnTo>
                    <a:pt x="44" y="691"/>
                  </a:lnTo>
                  <a:lnTo>
                    <a:pt x="687" y="818"/>
                  </a:lnTo>
                  <a:lnTo>
                    <a:pt x="1341" y="78"/>
                  </a:lnTo>
                  <a:lnTo>
                    <a:pt x="1358" y="98"/>
                  </a:lnTo>
                  <a:lnTo>
                    <a:pt x="696" y="847"/>
                  </a:lnTo>
                  <a:lnTo>
                    <a:pt x="696" y="847"/>
                  </a:lnTo>
                  <a:close/>
                </a:path>
              </a:pathLst>
            </a:custGeom>
            <a:solidFill>
              <a:srgbClr val="F79F9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Freeform 73">
              <a:extLst>
                <a:ext uri="{FF2B5EF4-FFF2-40B4-BE49-F238E27FC236}">
                  <a16:creationId xmlns:a16="http://schemas.microsoft.com/office/drawing/2014/main" id="{6B174545-CFF4-4C79-ACA5-5D31760BF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7325" y="5197475"/>
              <a:ext cx="471487" cy="466725"/>
            </a:xfrm>
            <a:custGeom>
              <a:avLst/>
              <a:gdLst>
                <a:gd name="T0" fmla="*/ 84 w 164"/>
                <a:gd name="T1" fmla="*/ 24 h 162"/>
                <a:gd name="T2" fmla="*/ 25 w 164"/>
                <a:gd name="T3" fmla="*/ 74 h 162"/>
                <a:gd name="T4" fmla="*/ 73 w 164"/>
                <a:gd name="T5" fmla="*/ 144 h 162"/>
                <a:gd name="T6" fmla="*/ 143 w 164"/>
                <a:gd name="T7" fmla="*/ 95 h 162"/>
                <a:gd name="T8" fmla="*/ 134 w 164"/>
                <a:gd name="T9" fmla="*/ 51 h 162"/>
                <a:gd name="T10" fmla="*/ 95 w 164"/>
                <a:gd name="T11" fmla="*/ 25 h 162"/>
                <a:gd name="T12" fmla="*/ 84 w 164"/>
                <a:gd name="T13" fmla="*/ 24 h 162"/>
                <a:gd name="T14" fmla="*/ 84 w 164"/>
                <a:gd name="T15" fmla="*/ 162 h 162"/>
                <a:gd name="T16" fmla="*/ 70 w 164"/>
                <a:gd name="T17" fmla="*/ 161 h 162"/>
                <a:gd name="T18" fmla="*/ 8 w 164"/>
                <a:gd name="T19" fmla="*/ 70 h 162"/>
                <a:gd name="T20" fmla="*/ 98 w 164"/>
                <a:gd name="T21" fmla="*/ 8 h 162"/>
                <a:gd name="T22" fmla="*/ 148 w 164"/>
                <a:gd name="T23" fmla="*/ 41 h 162"/>
                <a:gd name="T24" fmla="*/ 160 w 164"/>
                <a:gd name="T25" fmla="*/ 99 h 162"/>
                <a:gd name="T26" fmla="*/ 84 w 164"/>
                <a:gd name="T2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" h="162">
                  <a:moveTo>
                    <a:pt x="84" y="24"/>
                  </a:moveTo>
                  <a:cubicBezTo>
                    <a:pt x="56" y="24"/>
                    <a:pt x="30" y="45"/>
                    <a:pt x="25" y="74"/>
                  </a:cubicBezTo>
                  <a:cubicBezTo>
                    <a:pt x="19" y="106"/>
                    <a:pt x="40" y="138"/>
                    <a:pt x="73" y="144"/>
                  </a:cubicBezTo>
                  <a:cubicBezTo>
                    <a:pt x="106" y="150"/>
                    <a:pt x="137" y="128"/>
                    <a:pt x="143" y="95"/>
                  </a:cubicBezTo>
                  <a:cubicBezTo>
                    <a:pt x="146" y="80"/>
                    <a:pt x="143" y="64"/>
                    <a:pt x="134" y="51"/>
                  </a:cubicBezTo>
                  <a:cubicBezTo>
                    <a:pt x="124" y="37"/>
                    <a:pt x="111" y="28"/>
                    <a:pt x="95" y="25"/>
                  </a:cubicBezTo>
                  <a:cubicBezTo>
                    <a:pt x="91" y="25"/>
                    <a:pt x="88" y="24"/>
                    <a:pt x="84" y="24"/>
                  </a:cubicBezTo>
                  <a:close/>
                  <a:moveTo>
                    <a:pt x="84" y="162"/>
                  </a:moveTo>
                  <a:cubicBezTo>
                    <a:pt x="79" y="162"/>
                    <a:pt x="75" y="162"/>
                    <a:pt x="70" y="161"/>
                  </a:cubicBezTo>
                  <a:cubicBezTo>
                    <a:pt x="28" y="153"/>
                    <a:pt x="0" y="112"/>
                    <a:pt x="8" y="70"/>
                  </a:cubicBezTo>
                  <a:cubicBezTo>
                    <a:pt x="15" y="28"/>
                    <a:pt x="56" y="0"/>
                    <a:pt x="98" y="8"/>
                  </a:cubicBezTo>
                  <a:cubicBezTo>
                    <a:pt x="119" y="12"/>
                    <a:pt x="136" y="23"/>
                    <a:pt x="148" y="41"/>
                  </a:cubicBezTo>
                  <a:cubicBezTo>
                    <a:pt x="160" y="58"/>
                    <a:pt x="164" y="78"/>
                    <a:pt x="160" y="99"/>
                  </a:cubicBezTo>
                  <a:cubicBezTo>
                    <a:pt x="153" y="136"/>
                    <a:pt x="121" y="162"/>
                    <a:pt x="84" y="162"/>
                  </a:cubicBezTo>
                  <a:close/>
                </a:path>
              </a:pathLst>
            </a:custGeom>
            <a:solidFill>
              <a:srgbClr val="D5281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Freeform 74">
              <a:extLst>
                <a:ext uri="{FF2B5EF4-FFF2-40B4-BE49-F238E27FC236}">
                  <a16:creationId xmlns:a16="http://schemas.microsoft.com/office/drawing/2014/main" id="{48A549A4-8EE2-4EF6-A67C-D7A456BC4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2113" y="5402263"/>
              <a:ext cx="74612" cy="77787"/>
            </a:xfrm>
            <a:custGeom>
              <a:avLst/>
              <a:gdLst>
                <a:gd name="T0" fmla="*/ 25 w 26"/>
                <a:gd name="T1" fmla="*/ 16 h 27"/>
                <a:gd name="T2" fmla="*/ 11 w 26"/>
                <a:gd name="T3" fmla="*/ 26 h 27"/>
                <a:gd name="T4" fmla="*/ 1 w 26"/>
                <a:gd name="T5" fmla="*/ 11 h 27"/>
                <a:gd name="T6" fmla="*/ 15 w 26"/>
                <a:gd name="T7" fmla="*/ 1 h 27"/>
                <a:gd name="T8" fmla="*/ 25 w 26"/>
                <a:gd name="T9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7">
                  <a:moveTo>
                    <a:pt x="25" y="16"/>
                  </a:moveTo>
                  <a:cubicBezTo>
                    <a:pt x="24" y="22"/>
                    <a:pt x="17" y="27"/>
                    <a:pt x="11" y="26"/>
                  </a:cubicBezTo>
                  <a:cubicBezTo>
                    <a:pt x="4" y="24"/>
                    <a:pt x="0" y="18"/>
                    <a:pt x="1" y="11"/>
                  </a:cubicBezTo>
                  <a:cubicBezTo>
                    <a:pt x="2" y="5"/>
                    <a:pt x="9" y="0"/>
                    <a:pt x="15" y="1"/>
                  </a:cubicBezTo>
                  <a:cubicBezTo>
                    <a:pt x="22" y="3"/>
                    <a:pt x="26" y="9"/>
                    <a:pt x="25" y="16"/>
                  </a:cubicBez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Freeform 75">
              <a:extLst>
                <a:ext uri="{FF2B5EF4-FFF2-40B4-BE49-F238E27FC236}">
                  <a16:creationId xmlns:a16="http://schemas.microsoft.com/office/drawing/2014/main" id="{D6216AF6-3B7B-4261-8AD4-27BB9B7B7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5538" y="3749675"/>
              <a:ext cx="358775" cy="206375"/>
            </a:xfrm>
            <a:custGeom>
              <a:avLst/>
              <a:gdLst>
                <a:gd name="T0" fmla="*/ 29 w 125"/>
                <a:gd name="T1" fmla="*/ 0 h 72"/>
                <a:gd name="T2" fmla="*/ 46 w 125"/>
                <a:gd name="T3" fmla="*/ 5 h 72"/>
                <a:gd name="T4" fmla="*/ 89 w 125"/>
                <a:gd name="T5" fmla="*/ 7 h 72"/>
                <a:gd name="T6" fmla="*/ 121 w 125"/>
                <a:gd name="T7" fmla="*/ 50 h 72"/>
                <a:gd name="T8" fmla="*/ 111 w 125"/>
                <a:gd name="T9" fmla="*/ 50 h 72"/>
                <a:gd name="T10" fmla="*/ 81 w 125"/>
                <a:gd name="T11" fmla="*/ 26 h 72"/>
                <a:gd name="T12" fmla="*/ 99 w 125"/>
                <a:gd name="T13" fmla="*/ 58 h 72"/>
                <a:gd name="T14" fmla="*/ 85 w 125"/>
                <a:gd name="T15" fmla="*/ 65 h 72"/>
                <a:gd name="T16" fmla="*/ 67 w 125"/>
                <a:gd name="T17" fmla="*/ 69 h 72"/>
                <a:gd name="T18" fmla="*/ 25 w 125"/>
                <a:gd name="T19" fmla="*/ 35 h 72"/>
                <a:gd name="T20" fmla="*/ 1 w 125"/>
                <a:gd name="T21" fmla="*/ 18 h 72"/>
                <a:gd name="T22" fmla="*/ 29 w 125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72">
                  <a:moveTo>
                    <a:pt x="29" y="0"/>
                  </a:moveTo>
                  <a:cubicBezTo>
                    <a:pt x="29" y="0"/>
                    <a:pt x="41" y="5"/>
                    <a:pt x="46" y="5"/>
                  </a:cubicBezTo>
                  <a:cubicBezTo>
                    <a:pt x="52" y="5"/>
                    <a:pt x="85" y="2"/>
                    <a:pt x="89" y="7"/>
                  </a:cubicBezTo>
                  <a:cubicBezTo>
                    <a:pt x="93" y="13"/>
                    <a:pt x="125" y="45"/>
                    <a:pt x="121" y="50"/>
                  </a:cubicBezTo>
                  <a:cubicBezTo>
                    <a:pt x="116" y="55"/>
                    <a:pt x="113" y="52"/>
                    <a:pt x="111" y="50"/>
                  </a:cubicBezTo>
                  <a:cubicBezTo>
                    <a:pt x="109" y="47"/>
                    <a:pt x="84" y="27"/>
                    <a:pt x="81" y="26"/>
                  </a:cubicBezTo>
                  <a:cubicBezTo>
                    <a:pt x="81" y="26"/>
                    <a:pt x="103" y="51"/>
                    <a:pt x="99" y="58"/>
                  </a:cubicBezTo>
                  <a:cubicBezTo>
                    <a:pt x="96" y="65"/>
                    <a:pt x="89" y="64"/>
                    <a:pt x="85" y="65"/>
                  </a:cubicBezTo>
                  <a:cubicBezTo>
                    <a:pt x="81" y="67"/>
                    <a:pt x="74" y="72"/>
                    <a:pt x="67" y="69"/>
                  </a:cubicBezTo>
                  <a:cubicBezTo>
                    <a:pt x="60" y="65"/>
                    <a:pt x="31" y="39"/>
                    <a:pt x="25" y="35"/>
                  </a:cubicBezTo>
                  <a:cubicBezTo>
                    <a:pt x="18" y="31"/>
                    <a:pt x="1" y="19"/>
                    <a:pt x="1" y="18"/>
                  </a:cubicBezTo>
                  <a:cubicBezTo>
                    <a:pt x="0" y="16"/>
                    <a:pt x="29" y="0"/>
                    <a:pt x="29" y="0"/>
                  </a:cubicBezTo>
                  <a:close/>
                </a:path>
              </a:pathLst>
            </a:custGeom>
            <a:solidFill>
              <a:srgbClr val="EEA9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Freeform 76">
              <a:extLst>
                <a:ext uri="{FF2B5EF4-FFF2-40B4-BE49-F238E27FC236}">
                  <a16:creationId xmlns:a16="http://schemas.microsoft.com/office/drawing/2014/main" id="{44B9D93C-BB50-40CA-AE9F-660317A0E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138" y="3703638"/>
              <a:ext cx="454025" cy="1690687"/>
            </a:xfrm>
            <a:custGeom>
              <a:avLst/>
              <a:gdLst>
                <a:gd name="T0" fmla="*/ 154 w 158"/>
                <a:gd name="T1" fmla="*/ 79 h 587"/>
                <a:gd name="T2" fmla="*/ 157 w 158"/>
                <a:gd name="T3" fmla="*/ 218 h 587"/>
                <a:gd name="T4" fmla="*/ 156 w 158"/>
                <a:gd name="T5" fmla="*/ 318 h 587"/>
                <a:gd name="T6" fmla="*/ 142 w 158"/>
                <a:gd name="T7" fmla="*/ 587 h 587"/>
                <a:gd name="T8" fmla="*/ 104 w 158"/>
                <a:gd name="T9" fmla="*/ 580 h 587"/>
                <a:gd name="T10" fmla="*/ 81 w 158"/>
                <a:gd name="T11" fmla="*/ 338 h 587"/>
                <a:gd name="T12" fmla="*/ 0 w 158"/>
                <a:gd name="T13" fmla="*/ 21 h 587"/>
                <a:gd name="T14" fmla="*/ 154 w 158"/>
                <a:gd name="T15" fmla="*/ 79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587">
                  <a:moveTo>
                    <a:pt x="154" y="79"/>
                  </a:moveTo>
                  <a:cubicBezTo>
                    <a:pt x="154" y="79"/>
                    <a:pt x="157" y="200"/>
                    <a:pt x="157" y="218"/>
                  </a:cubicBezTo>
                  <a:cubicBezTo>
                    <a:pt x="158" y="237"/>
                    <a:pt x="158" y="309"/>
                    <a:pt x="156" y="318"/>
                  </a:cubicBezTo>
                  <a:cubicBezTo>
                    <a:pt x="155" y="327"/>
                    <a:pt x="142" y="587"/>
                    <a:pt x="142" y="587"/>
                  </a:cubicBezTo>
                  <a:cubicBezTo>
                    <a:pt x="104" y="580"/>
                    <a:pt x="104" y="580"/>
                    <a:pt x="104" y="580"/>
                  </a:cubicBezTo>
                  <a:cubicBezTo>
                    <a:pt x="104" y="580"/>
                    <a:pt x="80" y="366"/>
                    <a:pt x="81" y="338"/>
                  </a:cubicBezTo>
                  <a:cubicBezTo>
                    <a:pt x="83" y="285"/>
                    <a:pt x="1" y="41"/>
                    <a:pt x="0" y="21"/>
                  </a:cubicBezTo>
                  <a:cubicBezTo>
                    <a:pt x="0" y="0"/>
                    <a:pt x="154" y="79"/>
                    <a:pt x="154" y="79"/>
                  </a:cubicBez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Freeform 77">
              <a:extLst>
                <a:ext uri="{FF2B5EF4-FFF2-40B4-BE49-F238E27FC236}">
                  <a16:creationId xmlns:a16="http://schemas.microsoft.com/office/drawing/2014/main" id="{9E72ED72-4A8E-49C2-886B-9D5C9C79C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5588" y="5373688"/>
              <a:ext cx="109537" cy="68262"/>
            </a:xfrm>
            <a:custGeom>
              <a:avLst/>
              <a:gdLst>
                <a:gd name="T0" fmla="*/ 69 w 69"/>
                <a:gd name="T1" fmla="*/ 13 h 43"/>
                <a:gd name="T2" fmla="*/ 69 w 69"/>
                <a:gd name="T3" fmla="*/ 43 h 43"/>
                <a:gd name="T4" fmla="*/ 6 w 69"/>
                <a:gd name="T5" fmla="*/ 42 h 43"/>
                <a:gd name="T6" fmla="*/ 0 w 69"/>
                <a:gd name="T7" fmla="*/ 0 h 43"/>
                <a:gd name="T8" fmla="*/ 69 w 69"/>
                <a:gd name="T9" fmla="*/ 13 h 43"/>
                <a:gd name="T10" fmla="*/ 69 w 69"/>
                <a:gd name="T11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43">
                  <a:moveTo>
                    <a:pt x="69" y="13"/>
                  </a:moveTo>
                  <a:lnTo>
                    <a:pt x="69" y="43"/>
                  </a:lnTo>
                  <a:lnTo>
                    <a:pt x="6" y="42"/>
                  </a:lnTo>
                  <a:lnTo>
                    <a:pt x="0" y="0"/>
                  </a:lnTo>
                  <a:lnTo>
                    <a:pt x="69" y="13"/>
                  </a:lnTo>
                  <a:lnTo>
                    <a:pt x="69" y="13"/>
                  </a:lnTo>
                  <a:close/>
                </a:path>
              </a:pathLst>
            </a:custGeom>
            <a:solidFill>
              <a:srgbClr val="EEA9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Freeform 78">
              <a:extLst>
                <a:ext uri="{FF2B5EF4-FFF2-40B4-BE49-F238E27FC236}">
                  <a16:creationId xmlns:a16="http://schemas.microsoft.com/office/drawing/2014/main" id="{2D341D64-7DCF-4312-BE3A-6099B77C8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3838" y="5413375"/>
              <a:ext cx="441325" cy="187325"/>
            </a:xfrm>
            <a:custGeom>
              <a:avLst/>
              <a:gdLst>
                <a:gd name="T0" fmla="*/ 49 w 153"/>
                <a:gd name="T1" fmla="*/ 0 h 65"/>
                <a:gd name="T2" fmla="*/ 84 w 153"/>
                <a:gd name="T3" fmla="*/ 20 h 65"/>
                <a:gd name="T4" fmla="*/ 138 w 153"/>
                <a:gd name="T5" fmla="*/ 35 h 65"/>
                <a:gd name="T6" fmla="*/ 79 w 153"/>
                <a:gd name="T7" fmla="*/ 63 h 65"/>
                <a:gd name="T8" fmla="*/ 2 w 153"/>
                <a:gd name="T9" fmla="*/ 47 h 65"/>
                <a:gd name="T10" fmla="*/ 11 w 153"/>
                <a:gd name="T11" fmla="*/ 2 h 65"/>
                <a:gd name="T12" fmla="*/ 49 w 153"/>
                <a:gd name="T1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65">
                  <a:moveTo>
                    <a:pt x="49" y="0"/>
                  </a:moveTo>
                  <a:cubicBezTo>
                    <a:pt x="49" y="0"/>
                    <a:pt x="71" y="19"/>
                    <a:pt x="84" y="20"/>
                  </a:cubicBezTo>
                  <a:cubicBezTo>
                    <a:pt x="97" y="20"/>
                    <a:pt x="136" y="28"/>
                    <a:pt x="138" y="35"/>
                  </a:cubicBezTo>
                  <a:cubicBezTo>
                    <a:pt x="140" y="42"/>
                    <a:pt x="153" y="65"/>
                    <a:pt x="79" y="63"/>
                  </a:cubicBezTo>
                  <a:cubicBezTo>
                    <a:pt x="6" y="60"/>
                    <a:pt x="0" y="60"/>
                    <a:pt x="2" y="47"/>
                  </a:cubicBezTo>
                  <a:cubicBezTo>
                    <a:pt x="3" y="33"/>
                    <a:pt x="9" y="15"/>
                    <a:pt x="11" y="2"/>
                  </a:cubicBezTo>
                  <a:cubicBezTo>
                    <a:pt x="49" y="0"/>
                    <a:pt x="49" y="0"/>
                    <a:pt x="49" y="0"/>
                  </a:cubicBezTo>
                  <a:close/>
                </a:path>
              </a:pathLst>
            </a:custGeom>
            <a:solidFill>
              <a:srgbClr val="EDDA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79">
              <a:extLst>
                <a:ext uri="{FF2B5EF4-FFF2-40B4-BE49-F238E27FC236}">
                  <a16:creationId xmlns:a16="http://schemas.microsoft.com/office/drawing/2014/main" id="{15A2A33C-41B4-4BC3-A8DE-F0973D1B7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4738" y="3371850"/>
              <a:ext cx="1016000" cy="855662"/>
            </a:xfrm>
            <a:custGeom>
              <a:avLst/>
              <a:gdLst>
                <a:gd name="T0" fmla="*/ 249 w 353"/>
                <a:gd name="T1" fmla="*/ 61 h 297"/>
                <a:gd name="T2" fmla="*/ 353 w 353"/>
                <a:gd name="T3" fmla="*/ 162 h 297"/>
                <a:gd name="T4" fmla="*/ 97 w 353"/>
                <a:gd name="T5" fmla="*/ 296 h 297"/>
                <a:gd name="T6" fmla="*/ 59 w 353"/>
                <a:gd name="T7" fmla="*/ 218 h 297"/>
                <a:gd name="T8" fmla="*/ 69 w 353"/>
                <a:gd name="T9" fmla="*/ 46 h 297"/>
                <a:gd name="T10" fmla="*/ 106 w 353"/>
                <a:gd name="T11" fmla="*/ 0 h 297"/>
                <a:gd name="T12" fmla="*/ 249 w 353"/>
                <a:gd name="T13" fmla="*/ 61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3" h="297">
                  <a:moveTo>
                    <a:pt x="249" y="61"/>
                  </a:moveTo>
                  <a:cubicBezTo>
                    <a:pt x="249" y="61"/>
                    <a:pt x="277" y="102"/>
                    <a:pt x="353" y="162"/>
                  </a:cubicBezTo>
                  <a:cubicBezTo>
                    <a:pt x="353" y="162"/>
                    <a:pt x="131" y="294"/>
                    <a:pt x="97" y="296"/>
                  </a:cubicBezTo>
                  <a:cubicBezTo>
                    <a:pt x="92" y="297"/>
                    <a:pt x="73" y="247"/>
                    <a:pt x="59" y="218"/>
                  </a:cubicBezTo>
                  <a:cubicBezTo>
                    <a:pt x="59" y="218"/>
                    <a:pt x="0" y="130"/>
                    <a:pt x="69" y="46"/>
                  </a:cubicBezTo>
                  <a:cubicBezTo>
                    <a:pt x="92" y="18"/>
                    <a:pt x="106" y="0"/>
                    <a:pt x="106" y="0"/>
                  </a:cubicBezTo>
                  <a:cubicBezTo>
                    <a:pt x="249" y="61"/>
                    <a:pt x="249" y="61"/>
                    <a:pt x="249" y="61"/>
                  </a:cubicBez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Freeform 80">
              <a:extLst>
                <a:ext uri="{FF2B5EF4-FFF2-40B4-BE49-F238E27FC236}">
                  <a16:creationId xmlns:a16="http://schemas.microsoft.com/office/drawing/2014/main" id="{1A8BAEDE-8E9A-4E05-B637-3EF8B032F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8438" y="5583238"/>
              <a:ext cx="269875" cy="44450"/>
            </a:xfrm>
            <a:custGeom>
              <a:avLst/>
              <a:gdLst>
                <a:gd name="T0" fmla="*/ 170 w 170"/>
                <a:gd name="T1" fmla="*/ 28 h 28"/>
                <a:gd name="T2" fmla="*/ 0 w 170"/>
                <a:gd name="T3" fmla="*/ 20 h 28"/>
                <a:gd name="T4" fmla="*/ 2 w 170"/>
                <a:gd name="T5" fmla="*/ 0 h 28"/>
                <a:gd name="T6" fmla="*/ 170 w 170"/>
                <a:gd name="T7" fmla="*/ 8 h 28"/>
                <a:gd name="T8" fmla="*/ 170 w 170"/>
                <a:gd name="T9" fmla="*/ 28 h 28"/>
                <a:gd name="T10" fmla="*/ 170 w 170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28">
                  <a:moveTo>
                    <a:pt x="170" y="28"/>
                  </a:moveTo>
                  <a:lnTo>
                    <a:pt x="0" y="20"/>
                  </a:lnTo>
                  <a:lnTo>
                    <a:pt x="2" y="0"/>
                  </a:lnTo>
                  <a:lnTo>
                    <a:pt x="170" y="8"/>
                  </a:lnTo>
                  <a:lnTo>
                    <a:pt x="170" y="28"/>
                  </a:lnTo>
                  <a:lnTo>
                    <a:pt x="170" y="28"/>
                  </a:lnTo>
                  <a:close/>
                </a:path>
              </a:pathLst>
            </a:cu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Oval 81">
              <a:extLst>
                <a:ext uri="{FF2B5EF4-FFF2-40B4-BE49-F238E27FC236}">
                  <a16:creationId xmlns:a16="http://schemas.microsoft.com/office/drawing/2014/main" id="{D6273CA6-F4D7-4F27-9EA5-CFF79E3615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500" y="5186363"/>
              <a:ext cx="106362" cy="106362"/>
            </a:xfrm>
            <a:prstGeom prst="ellipse">
              <a:avLst/>
            </a:prstGeom>
            <a:solidFill>
              <a:srgbClr val="EF4B3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48A48F74-48E7-4E3A-AADC-7F9404831C44}"/>
              </a:ext>
            </a:extLst>
          </p:cNvPr>
          <p:cNvSpPr txBox="1"/>
          <p:nvPr/>
        </p:nvSpPr>
        <p:spPr>
          <a:xfrm>
            <a:off x="2823641" y="1201515"/>
            <a:ext cx="31760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>
                <a:solidFill>
                  <a:srgbClr val="F1604D"/>
                </a:solidFill>
                <a:latin typeface="Century Gothic" panose="020B0502020202020204" pitchFamily="34" charset="0"/>
              </a:rPr>
              <a:t>Recommendation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E306C85-19A2-4B16-961E-BF8D3DD68815}"/>
              </a:ext>
            </a:extLst>
          </p:cNvPr>
          <p:cNvSpPr txBox="1"/>
          <p:nvPr/>
        </p:nvSpPr>
        <p:spPr>
          <a:xfrm>
            <a:off x="8105054" y="1175658"/>
            <a:ext cx="31760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>
                <a:solidFill>
                  <a:srgbClr val="3B3E98"/>
                </a:solidFill>
                <a:latin typeface="Century Gothic" panose="020B0502020202020204" pitchFamily="34" charset="0"/>
              </a:rPr>
              <a:t>Web Application</a:t>
            </a:r>
            <a:endParaRPr lang="en-US" sz="2400" b="1" dirty="0">
              <a:solidFill>
                <a:srgbClr val="3B3E98"/>
              </a:solidFill>
              <a:latin typeface="Century Gothic" panose="020B0502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265850E3-F86B-4D0A-8CBA-664A357B6F4D}"/>
              </a:ext>
            </a:extLst>
          </p:cNvPr>
          <p:cNvSpPr txBox="1"/>
          <p:nvPr/>
        </p:nvSpPr>
        <p:spPr>
          <a:xfrm>
            <a:off x="3507271" y="1664546"/>
            <a:ext cx="268148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Hire a good Weather Forecast serv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ply Overall Model for Long Term predictions (Weeks or Month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rPr>
              <a:t>Apply Seasonal Model for Intraday/Intraweek prediction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805ACA-0411-4866-83B2-44D41797EC6A}"/>
              </a:ext>
            </a:extLst>
          </p:cNvPr>
          <p:cNvSpPr txBox="1"/>
          <p:nvPr/>
        </p:nvSpPr>
        <p:spPr>
          <a:xfrm>
            <a:off x="9142367" y="1672747"/>
            <a:ext cx="23233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400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ke use of Management Tool to facilitate Operational Planning.</a:t>
            </a: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6376C5D8-7795-4665-810C-EE8F7B26295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AC5318-5C86-4AA9-9602-18475E472C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r="57517" b="-3196"/>
          <a:stretch/>
        </p:blipFill>
        <p:spPr>
          <a:xfrm>
            <a:off x="4834733" y="2174117"/>
            <a:ext cx="740436" cy="2734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9F4B97F-159B-4D3B-A7A9-DA3CEDECBA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99291" y="2189353"/>
            <a:ext cx="850892" cy="43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2237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8EA8E6A4-019B-48A2-A837-E44173F91CDC}"/>
              </a:ext>
            </a:extLst>
          </p:cNvPr>
          <p:cNvGrpSpPr/>
          <p:nvPr/>
        </p:nvGrpSpPr>
        <p:grpSpPr>
          <a:xfrm>
            <a:off x="378779" y="5150677"/>
            <a:ext cx="5989638" cy="1727201"/>
            <a:chOff x="1344273" y="4726718"/>
            <a:chExt cx="5989638" cy="1727201"/>
          </a:xfrm>
        </p:grpSpPr>
        <p:sp>
          <p:nvSpPr>
            <p:cNvPr id="67" name="Freeform 555">
              <a:extLst>
                <a:ext uri="{FF2B5EF4-FFF2-40B4-BE49-F238E27FC236}">
                  <a16:creationId xmlns:a16="http://schemas.microsoft.com/office/drawing/2014/main" id="{21F99A78-5331-4935-AF85-C406365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273" y="4726718"/>
              <a:ext cx="4805363" cy="1701800"/>
            </a:xfrm>
            <a:custGeom>
              <a:avLst/>
              <a:gdLst>
                <a:gd name="T0" fmla="*/ 1513 w 1733"/>
                <a:gd name="T1" fmla="*/ 498 h 613"/>
                <a:gd name="T2" fmla="*/ 1284 w 1733"/>
                <a:gd name="T3" fmla="*/ 389 h 613"/>
                <a:gd name="T4" fmla="*/ 1424 w 1733"/>
                <a:gd name="T5" fmla="*/ 253 h 613"/>
                <a:gd name="T6" fmla="*/ 1245 w 1733"/>
                <a:gd name="T7" fmla="*/ 359 h 613"/>
                <a:gd name="T8" fmla="*/ 1230 w 1733"/>
                <a:gd name="T9" fmla="*/ 349 h 613"/>
                <a:gd name="T10" fmla="*/ 1221 w 1733"/>
                <a:gd name="T11" fmla="*/ 209 h 613"/>
                <a:gd name="T12" fmla="*/ 1165 w 1733"/>
                <a:gd name="T13" fmla="*/ 323 h 613"/>
                <a:gd name="T14" fmla="*/ 859 w 1733"/>
                <a:gd name="T15" fmla="*/ 339 h 613"/>
                <a:gd name="T16" fmla="*/ 324 w 1733"/>
                <a:gd name="T17" fmla="*/ 167 h 613"/>
                <a:gd name="T18" fmla="*/ 242 w 1733"/>
                <a:gd name="T19" fmla="*/ 186 h 613"/>
                <a:gd name="T20" fmla="*/ 155 w 1733"/>
                <a:gd name="T21" fmla="*/ 1 h 613"/>
                <a:gd name="T22" fmla="*/ 179 w 1733"/>
                <a:gd name="T23" fmla="*/ 175 h 613"/>
                <a:gd name="T24" fmla="*/ 195 w 1733"/>
                <a:gd name="T25" fmla="*/ 213 h 613"/>
                <a:gd name="T26" fmla="*/ 172 w 1733"/>
                <a:gd name="T27" fmla="*/ 234 h 613"/>
                <a:gd name="T28" fmla="*/ 104 w 1733"/>
                <a:gd name="T29" fmla="*/ 126 h 613"/>
                <a:gd name="T30" fmla="*/ 51 w 1733"/>
                <a:gd name="T31" fmla="*/ 223 h 613"/>
                <a:gd name="T32" fmla="*/ 136 w 1733"/>
                <a:gd name="T33" fmla="*/ 284 h 613"/>
                <a:gd name="T34" fmla="*/ 147 w 1733"/>
                <a:gd name="T35" fmla="*/ 613 h 613"/>
                <a:gd name="T36" fmla="*/ 1733 w 1733"/>
                <a:gd name="T37" fmla="*/ 612 h 613"/>
                <a:gd name="T38" fmla="*/ 1513 w 1733"/>
                <a:gd name="T39" fmla="*/ 4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3" h="613">
                  <a:moveTo>
                    <a:pt x="1513" y="498"/>
                  </a:moveTo>
                  <a:cubicBezTo>
                    <a:pt x="1409" y="496"/>
                    <a:pt x="1345" y="438"/>
                    <a:pt x="1284" y="389"/>
                  </a:cubicBezTo>
                  <a:cubicBezTo>
                    <a:pt x="1372" y="346"/>
                    <a:pt x="1479" y="292"/>
                    <a:pt x="1424" y="253"/>
                  </a:cubicBezTo>
                  <a:cubicBezTo>
                    <a:pt x="1373" y="217"/>
                    <a:pt x="1298" y="292"/>
                    <a:pt x="1245" y="359"/>
                  </a:cubicBezTo>
                  <a:cubicBezTo>
                    <a:pt x="1240" y="356"/>
                    <a:pt x="1235" y="353"/>
                    <a:pt x="1230" y="349"/>
                  </a:cubicBezTo>
                  <a:cubicBezTo>
                    <a:pt x="1252" y="286"/>
                    <a:pt x="1264" y="220"/>
                    <a:pt x="1221" y="209"/>
                  </a:cubicBezTo>
                  <a:cubicBezTo>
                    <a:pt x="1179" y="197"/>
                    <a:pt x="1167" y="257"/>
                    <a:pt x="1165" y="323"/>
                  </a:cubicBezTo>
                  <a:cubicBezTo>
                    <a:pt x="1052" y="299"/>
                    <a:pt x="959" y="308"/>
                    <a:pt x="859" y="339"/>
                  </a:cubicBezTo>
                  <a:cubicBezTo>
                    <a:pt x="759" y="369"/>
                    <a:pt x="617" y="142"/>
                    <a:pt x="324" y="167"/>
                  </a:cubicBezTo>
                  <a:cubicBezTo>
                    <a:pt x="293" y="170"/>
                    <a:pt x="266" y="177"/>
                    <a:pt x="242" y="186"/>
                  </a:cubicBezTo>
                  <a:cubicBezTo>
                    <a:pt x="241" y="106"/>
                    <a:pt x="226" y="1"/>
                    <a:pt x="155" y="1"/>
                  </a:cubicBezTo>
                  <a:cubicBezTo>
                    <a:pt x="40" y="0"/>
                    <a:pt x="164" y="141"/>
                    <a:pt x="179" y="175"/>
                  </a:cubicBezTo>
                  <a:cubicBezTo>
                    <a:pt x="186" y="189"/>
                    <a:pt x="191" y="202"/>
                    <a:pt x="195" y="213"/>
                  </a:cubicBezTo>
                  <a:cubicBezTo>
                    <a:pt x="187" y="219"/>
                    <a:pt x="179" y="226"/>
                    <a:pt x="172" y="234"/>
                  </a:cubicBezTo>
                  <a:cubicBezTo>
                    <a:pt x="158" y="183"/>
                    <a:pt x="136" y="130"/>
                    <a:pt x="104" y="126"/>
                  </a:cubicBezTo>
                  <a:cubicBezTo>
                    <a:pt x="41" y="118"/>
                    <a:pt x="0" y="197"/>
                    <a:pt x="51" y="223"/>
                  </a:cubicBezTo>
                  <a:cubicBezTo>
                    <a:pt x="75" y="236"/>
                    <a:pt x="108" y="261"/>
                    <a:pt x="136" y="284"/>
                  </a:cubicBezTo>
                  <a:cubicBezTo>
                    <a:pt x="74" y="404"/>
                    <a:pt x="114" y="577"/>
                    <a:pt x="147" y="613"/>
                  </a:cubicBezTo>
                  <a:cubicBezTo>
                    <a:pt x="1733" y="612"/>
                    <a:pt x="1733" y="612"/>
                    <a:pt x="1733" y="612"/>
                  </a:cubicBezTo>
                  <a:cubicBezTo>
                    <a:pt x="1733" y="612"/>
                    <a:pt x="1681" y="501"/>
                    <a:pt x="1513" y="498"/>
                  </a:cubicBezTo>
                  <a:close/>
                </a:path>
              </a:pathLst>
            </a:custGeom>
            <a:solidFill>
              <a:srgbClr val="3299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56">
              <a:extLst>
                <a:ext uri="{FF2B5EF4-FFF2-40B4-BE49-F238E27FC236}">
                  <a16:creationId xmlns:a16="http://schemas.microsoft.com/office/drawing/2014/main" id="{868B977D-3493-496E-B7BA-1F5C80DF7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548" y="6103081"/>
              <a:ext cx="5948363" cy="350838"/>
            </a:xfrm>
            <a:custGeom>
              <a:avLst/>
              <a:gdLst>
                <a:gd name="T0" fmla="*/ 0 w 2145"/>
                <a:gd name="T1" fmla="*/ 120 h 126"/>
                <a:gd name="T2" fmla="*/ 154 w 2145"/>
                <a:gd name="T3" fmla="*/ 65 h 126"/>
                <a:gd name="T4" fmla="*/ 400 w 2145"/>
                <a:gd name="T5" fmla="*/ 55 h 126"/>
                <a:gd name="T6" fmla="*/ 549 w 2145"/>
                <a:gd name="T7" fmla="*/ 60 h 126"/>
                <a:gd name="T8" fmla="*/ 823 w 2145"/>
                <a:gd name="T9" fmla="*/ 81 h 126"/>
                <a:gd name="T10" fmla="*/ 1230 w 2145"/>
                <a:gd name="T11" fmla="*/ 35 h 126"/>
                <a:gd name="T12" fmla="*/ 1649 w 2145"/>
                <a:gd name="T13" fmla="*/ 65 h 126"/>
                <a:gd name="T14" fmla="*/ 2145 w 2145"/>
                <a:gd name="T15" fmla="*/ 120 h 126"/>
                <a:gd name="T16" fmla="*/ 0 w 2145"/>
                <a:gd name="T17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5" h="126">
                  <a:moveTo>
                    <a:pt x="0" y="120"/>
                  </a:moveTo>
                  <a:cubicBezTo>
                    <a:pt x="0" y="120"/>
                    <a:pt x="27" y="45"/>
                    <a:pt x="154" y="65"/>
                  </a:cubicBezTo>
                  <a:cubicBezTo>
                    <a:pt x="281" y="85"/>
                    <a:pt x="337" y="71"/>
                    <a:pt x="400" y="55"/>
                  </a:cubicBezTo>
                  <a:cubicBezTo>
                    <a:pt x="462" y="39"/>
                    <a:pt x="489" y="38"/>
                    <a:pt x="549" y="60"/>
                  </a:cubicBezTo>
                  <a:cubicBezTo>
                    <a:pt x="608" y="81"/>
                    <a:pt x="629" y="126"/>
                    <a:pt x="823" y="81"/>
                  </a:cubicBezTo>
                  <a:cubicBezTo>
                    <a:pt x="1017" y="37"/>
                    <a:pt x="1109" y="0"/>
                    <a:pt x="1230" y="35"/>
                  </a:cubicBezTo>
                  <a:cubicBezTo>
                    <a:pt x="1351" y="69"/>
                    <a:pt x="1500" y="6"/>
                    <a:pt x="1649" y="65"/>
                  </a:cubicBezTo>
                  <a:cubicBezTo>
                    <a:pt x="1798" y="124"/>
                    <a:pt x="2028" y="21"/>
                    <a:pt x="2145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2CB1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7478199-D72C-4DBB-927B-4E8757F0C8DD}"/>
              </a:ext>
            </a:extLst>
          </p:cNvPr>
          <p:cNvSpPr/>
          <p:nvPr/>
        </p:nvSpPr>
        <p:spPr>
          <a:xfrm rot="16200000">
            <a:off x="6556689" y="-2908788"/>
            <a:ext cx="1822332" cy="944829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838FD-C1FD-40B9-9F72-2E8A22D69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4526" y="1245316"/>
            <a:ext cx="7526357" cy="830997"/>
          </a:xfrm>
        </p:spPr>
        <p:txBody>
          <a:bodyPr wrap="square" lIns="0" tIns="0" rIns="0" bIns="0">
            <a:spAutoFit/>
          </a:bodyPr>
          <a:lstStyle/>
          <a:p>
            <a:r>
              <a:rPr lang="en-US" sz="3200">
                <a:solidFill>
                  <a:schemeClr val="bg1"/>
                </a:solidFill>
                <a:latin typeface="Century Gothic"/>
              </a:rPr>
              <a:t>Predict Bicycle Rental Demand</a:t>
            </a:r>
            <a:br>
              <a:rPr lang="en-US" sz="3200"/>
            </a:br>
            <a:r>
              <a:rPr lang="en-US" sz="2800">
                <a:solidFill>
                  <a:schemeClr val="bg1"/>
                </a:solidFill>
                <a:latin typeface="Century Gothic"/>
              </a:rPr>
              <a:t>Web Application Tool</a:t>
            </a:r>
            <a:endParaRPr lang="en-US" sz="3200">
              <a:solidFill>
                <a:schemeClr val="bg1"/>
              </a:solidFill>
              <a:latin typeface="Century Gothic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5C08B7C-1DE1-47CA-BF19-F54C841E9520}"/>
              </a:ext>
            </a:extLst>
          </p:cNvPr>
          <p:cNvGrpSpPr/>
          <p:nvPr/>
        </p:nvGrpSpPr>
        <p:grpSpPr>
          <a:xfrm>
            <a:off x="385042" y="-1153242"/>
            <a:ext cx="3907292" cy="3623150"/>
            <a:chOff x="797607" y="1371600"/>
            <a:chExt cx="4869176" cy="451508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2F2FE16D-0B15-45E7-BABD-4FA994DF9007}"/>
                </a:ext>
              </a:extLst>
            </p:cNvPr>
            <p:cNvGrpSpPr/>
            <p:nvPr/>
          </p:nvGrpSpPr>
          <p:grpSpPr>
            <a:xfrm>
              <a:off x="797607" y="1371600"/>
              <a:ext cx="4869176" cy="4515087"/>
              <a:chOff x="1021878" y="1817924"/>
              <a:chExt cx="4387850" cy="4068763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A538A8CC-3F7C-45A9-9D32-23AB8F99AD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21878" y="4394437"/>
                <a:ext cx="1490663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34EB672-18D7-4D01-AF56-9CCC6BF283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079028" y="4462699"/>
                <a:ext cx="1366838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88844B44-EEF2-47F5-82FF-41B38BB20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612428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052C4EE1-3FD1-4989-84F5-3CC3121823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17478" y="4394437"/>
                <a:ext cx="1492250" cy="1492250"/>
              </a:xfrm>
              <a:prstGeom prst="ellipse">
                <a:avLst/>
              </a:prstGeom>
              <a:noFill/>
              <a:ln w="155575" cap="flat">
                <a:solidFill>
                  <a:srgbClr val="3B3E9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D830B73-0D35-4E89-8A72-B20A890CD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85741" y="4462699"/>
                <a:ext cx="1365250" cy="1355725"/>
              </a:xfrm>
              <a:prstGeom prst="ellipse">
                <a:avLst/>
              </a:prstGeom>
              <a:noFill/>
              <a:ln w="77788" cap="flat">
                <a:solidFill>
                  <a:srgbClr val="4EC9F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BBA0E5DB-DFCF-4872-8E20-56C2500430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19140" y="4984987"/>
                <a:ext cx="300038" cy="3095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Line 14">
                <a:extLst>
                  <a:ext uri="{FF2B5EF4-FFF2-40B4-BE49-F238E27FC236}">
                    <a16:creationId xmlns:a16="http://schemas.microsoft.com/office/drawing/2014/main" id="{C95D0CAD-6C93-42D6-97F3-3D3C3A41C6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14240" y="4937362"/>
                <a:ext cx="1249363" cy="9683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EE16D301-12D0-4571-9951-9D302B8D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161828" y="4937362"/>
                <a:ext cx="407988" cy="406400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5D06C276-8FA6-4BC4-AC9D-7A333BD8FE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558703" y="3435587"/>
                <a:ext cx="504825" cy="144462"/>
              </a:xfrm>
              <a:prstGeom prst="ellipse">
                <a:avLst/>
              </a:prstGeom>
              <a:solidFill>
                <a:srgbClr val="2C255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C512F17-2FF1-41FE-89AF-ABAE56FA10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774478" y="3095862"/>
                <a:ext cx="977900" cy="1463675"/>
              </a:xfrm>
              <a:custGeom>
                <a:avLst/>
                <a:gdLst>
                  <a:gd name="T0" fmla="*/ 28 w 101"/>
                  <a:gd name="T1" fmla="*/ 0 h 151"/>
                  <a:gd name="T2" fmla="*/ 100 w 101"/>
                  <a:gd name="T3" fmla="*/ 61 h 151"/>
                  <a:gd name="T4" fmla="*/ 35 w 101"/>
                  <a:gd name="T5" fmla="*/ 151 h 151"/>
                  <a:gd name="T6" fmla="*/ 25 w 101"/>
                  <a:gd name="T7" fmla="*/ 140 h 151"/>
                  <a:gd name="T8" fmla="*/ 63 w 101"/>
                  <a:gd name="T9" fmla="*/ 68 h 151"/>
                  <a:gd name="T10" fmla="*/ 0 w 101"/>
                  <a:gd name="T11" fmla="*/ 27 h 151"/>
                  <a:gd name="T12" fmla="*/ 28 w 101"/>
                  <a:gd name="T13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51">
                    <a:moveTo>
                      <a:pt x="28" y="0"/>
                    </a:moveTo>
                    <a:cubicBezTo>
                      <a:pt x="28" y="0"/>
                      <a:pt x="99" y="40"/>
                      <a:pt x="100" y="61"/>
                    </a:cubicBezTo>
                    <a:cubicBezTo>
                      <a:pt x="101" y="81"/>
                      <a:pt x="35" y="151"/>
                      <a:pt x="35" y="151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28" y="0"/>
                      <a:pt x="28" y="0"/>
                      <a:pt x="28" y="0"/>
                    </a:cubicBezTo>
                    <a:close/>
                  </a:path>
                </a:pathLst>
              </a:custGeom>
              <a:solidFill>
                <a:srgbClr val="E9C11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3BD41E9-9B5D-430B-988C-CB02E105B8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flipH="1">
                <a:off x="1583853" y="3299062"/>
                <a:ext cx="3079750" cy="1908175"/>
              </a:xfrm>
              <a:custGeom>
                <a:avLst/>
                <a:gdLst>
                  <a:gd name="T0" fmla="*/ 299 w 318"/>
                  <a:gd name="T1" fmla="*/ 190 h 197"/>
                  <a:gd name="T2" fmla="*/ 262 w 318"/>
                  <a:gd name="T3" fmla="*/ 1 h 197"/>
                  <a:gd name="T4" fmla="*/ 94 w 318"/>
                  <a:gd name="T5" fmla="*/ 49 h 197"/>
                  <a:gd name="T6" fmla="*/ 272 w 318"/>
                  <a:gd name="T7" fmla="*/ 49 h 197"/>
                  <a:gd name="T8" fmla="*/ 125 w 318"/>
                  <a:gd name="T9" fmla="*/ 158 h 197"/>
                  <a:gd name="T10" fmla="*/ 276 w 318"/>
                  <a:gd name="T11" fmla="*/ 71 h 197"/>
                  <a:gd name="T12" fmla="*/ 132 w 318"/>
                  <a:gd name="T13" fmla="*/ 190 h 197"/>
                  <a:gd name="T14" fmla="*/ 0 w 318"/>
                  <a:gd name="T15" fmla="*/ 190 h 197"/>
                  <a:gd name="T16" fmla="*/ 91 w 318"/>
                  <a:gd name="T17" fmla="*/ 36 h 197"/>
                  <a:gd name="T18" fmla="*/ 88 w 318"/>
                  <a:gd name="T19" fmla="*/ 27 h 197"/>
                  <a:gd name="T20" fmla="*/ 136 w 318"/>
                  <a:gd name="T21" fmla="*/ 197 h 197"/>
                  <a:gd name="T22" fmla="*/ 254 w 318"/>
                  <a:gd name="T23" fmla="*/ 0 h 197"/>
                  <a:gd name="T24" fmla="*/ 297 w 318"/>
                  <a:gd name="T25" fmla="*/ 0 h 197"/>
                  <a:gd name="T26" fmla="*/ 309 w 318"/>
                  <a:gd name="T27" fmla="*/ 27 h 197"/>
                  <a:gd name="T28" fmla="*/ 284 w 318"/>
                  <a:gd name="T29" fmla="*/ 34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8" h="197">
                    <a:moveTo>
                      <a:pt x="299" y="190"/>
                    </a:moveTo>
                    <a:cubicBezTo>
                      <a:pt x="262" y="1"/>
                      <a:pt x="262" y="1"/>
                      <a:pt x="262" y="1"/>
                    </a:cubicBezTo>
                    <a:moveTo>
                      <a:pt x="94" y="49"/>
                    </a:moveTo>
                    <a:cubicBezTo>
                      <a:pt x="272" y="49"/>
                      <a:pt x="272" y="49"/>
                      <a:pt x="272" y="49"/>
                    </a:cubicBezTo>
                    <a:moveTo>
                      <a:pt x="125" y="158"/>
                    </a:moveTo>
                    <a:cubicBezTo>
                      <a:pt x="125" y="158"/>
                      <a:pt x="176" y="71"/>
                      <a:pt x="276" y="71"/>
                    </a:cubicBezTo>
                    <a:moveTo>
                      <a:pt x="132" y="190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0" y="190"/>
                      <a:pt x="6" y="73"/>
                      <a:pt x="91" y="36"/>
                    </a:cubicBezTo>
                    <a:moveTo>
                      <a:pt x="88" y="27"/>
                    </a:moveTo>
                    <a:cubicBezTo>
                      <a:pt x="136" y="197"/>
                      <a:pt x="136" y="197"/>
                      <a:pt x="136" y="197"/>
                    </a:cubicBezTo>
                    <a:moveTo>
                      <a:pt x="254" y="0"/>
                    </a:moveTo>
                    <a:cubicBezTo>
                      <a:pt x="254" y="0"/>
                      <a:pt x="282" y="0"/>
                      <a:pt x="297" y="0"/>
                    </a:cubicBezTo>
                    <a:cubicBezTo>
                      <a:pt x="313" y="0"/>
                      <a:pt x="318" y="17"/>
                      <a:pt x="309" y="27"/>
                    </a:cubicBezTo>
                    <a:cubicBezTo>
                      <a:pt x="300" y="36"/>
                      <a:pt x="284" y="34"/>
                      <a:pt x="284" y="34"/>
                    </a:cubicBezTo>
                  </a:path>
                </a:pathLst>
              </a:custGeom>
              <a:noFill/>
              <a:ln w="77788" cap="rnd">
                <a:solidFill>
                  <a:srgbClr val="3B3E9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FB4724C-45E7-4835-B03C-DE3428E9BE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5978" y="5246924"/>
                <a:ext cx="1336675" cy="115887"/>
              </a:xfrm>
              <a:prstGeom prst="line">
                <a:avLst/>
              </a:prstGeom>
              <a:noFill/>
              <a:ln w="39688" cap="flat">
                <a:solidFill>
                  <a:srgbClr val="09234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DAAB1EE-8470-4EFD-8643-AF9D3C2431A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56891" y="2602149"/>
                <a:ext cx="1133475" cy="793750"/>
              </a:xfrm>
              <a:custGeom>
                <a:avLst/>
                <a:gdLst>
                  <a:gd name="T0" fmla="*/ 12 w 117"/>
                  <a:gd name="T1" fmla="*/ 0 h 82"/>
                  <a:gd name="T2" fmla="*/ 35 w 117"/>
                  <a:gd name="T3" fmla="*/ 17 h 82"/>
                  <a:gd name="T4" fmla="*/ 112 w 117"/>
                  <a:gd name="T5" fmla="*/ 64 h 82"/>
                  <a:gd name="T6" fmla="*/ 112 w 117"/>
                  <a:gd name="T7" fmla="*/ 81 h 82"/>
                  <a:gd name="T8" fmla="*/ 97 w 117"/>
                  <a:gd name="T9" fmla="*/ 66 h 82"/>
                  <a:gd name="T10" fmla="*/ 0 w 117"/>
                  <a:gd name="T11" fmla="*/ 14 h 82"/>
                  <a:gd name="T12" fmla="*/ 12 w 117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7" h="82">
                    <a:moveTo>
                      <a:pt x="12" y="0"/>
                    </a:moveTo>
                    <a:cubicBezTo>
                      <a:pt x="35" y="17"/>
                      <a:pt x="35" y="17"/>
                      <a:pt x="35" y="17"/>
                    </a:cubicBezTo>
                    <a:cubicBezTo>
                      <a:pt x="35" y="17"/>
                      <a:pt x="107" y="56"/>
                      <a:pt x="112" y="64"/>
                    </a:cubicBezTo>
                    <a:cubicBezTo>
                      <a:pt x="117" y="72"/>
                      <a:pt x="115" y="82"/>
                      <a:pt x="112" y="81"/>
                    </a:cubicBezTo>
                    <a:cubicBezTo>
                      <a:pt x="109" y="81"/>
                      <a:pt x="97" y="66"/>
                      <a:pt x="97" y="66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4573271-9C86-45DB-8F29-109527556B6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87203" y="4937362"/>
                <a:ext cx="474663" cy="531812"/>
              </a:xfrm>
              <a:custGeom>
                <a:avLst/>
                <a:gdLst>
                  <a:gd name="T0" fmla="*/ 0 w 49"/>
                  <a:gd name="T1" fmla="*/ 5 h 55"/>
                  <a:gd name="T2" fmla="*/ 12 w 49"/>
                  <a:gd name="T3" fmla="*/ 53 h 55"/>
                  <a:gd name="T4" fmla="*/ 47 w 49"/>
                  <a:gd name="T5" fmla="*/ 32 h 55"/>
                  <a:gd name="T6" fmla="*/ 26 w 49"/>
                  <a:gd name="T7" fmla="*/ 36 h 55"/>
                  <a:gd name="T8" fmla="*/ 16 w 49"/>
                  <a:gd name="T9" fmla="*/ 0 h 55"/>
                  <a:gd name="T10" fmla="*/ 0 w 49"/>
                  <a:gd name="T11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5"/>
                    </a:moveTo>
                    <a:cubicBezTo>
                      <a:pt x="0" y="5"/>
                      <a:pt x="9" y="51"/>
                      <a:pt x="12" y="53"/>
                    </a:cubicBezTo>
                    <a:cubicBezTo>
                      <a:pt x="16" y="55"/>
                      <a:pt x="49" y="35"/>
                      <a:pt x="47" y="32"/>
                    </a:cubicBezTo>
                    <a:cubicBezTo>
                      <a:pt x="46" y="30"/>
                      <a:pt x="31" y="39"/>
                      <a:pt x="26" y="36"/>
                    </a:cubicBezTo>
                    <a:cubicBezTo>
                      <a:pt x="20" y="32"/>
                      <a:pt x="16" y="0"/>
                      <a:pt x="16" y="0"/>
                    </a:cubicBezTo>
                    <a:cubicBezTo>
                      <a:pt x="0" y="5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B222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C0CD1A1B-5EDC-4F21-A014-A10F6D83812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696690" y="1952862"/>
                <a:ext cx="427038" cy="427037"/>
              </a:xfrm>
              <a:custGeom>
                <a:avLst/>
                <a:gdLst>
                  <a:gd name="T0" fmla="*/ 35 w 44"/>
                  <a:gd name="T1" fmla="*/ 0 h 44"/>
                  <a:gd name="T2" fmla="*/ 40 w 44"/>
                  <a:gd name="T3" fmla="*/ 37 h 44"/>
                  <a:gd name="T4" fmla="*/ 22 w 44"/>
                  <a:gd name="T5" fmla="*/ 39 h 44"/>
                  <a:gd name="T6" fmla="*/ 14 w 44"/>
                  <a:gd name="T7" fmla="*/ 44 h 44"/>
                  <a:gd name="T8" fmla="*/ 0 w 44"/>
                  <a:gd name="T9" fmla="*/ 39 h 44"/>
                  <a:gd name="T10" fmla="*/ 7 w 44"/>
                  <a:gd name="T11" fmla="*/ 26 h 44"/>
                  <a:gd name="T12" fmla="*/ 6 w 44"/>
                  <a:gd name="T13" fmla="*/ 16 h 44"/>
                  <a:gd name="T14" fmla="*/ 14 w 44"/>
                  <a:gd name="T15" fmla="*/ 17 h 44"/>
                  <a:gd name="T16" fmla="*/ 14 w 44"/>
                  <a:gd name="T17" fmla="*/ 2 h 44"/>
                  <a:gd name="T18" fmla="*/ 35 w 44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4" h="44">
                    <a:moveTo>
                      <a:pt x="35" y="0"/>
                    </a:moveTo>
                    <a:cubicBezTo>
                      <a:pt x="35" y="0"/>
                      <a:pt x="44" y="32"/>
                      <a:pt x="40" y="37"/>
                    </a:cubicBezTo>
                    <a:cubicBezTo>
                      <a:pt x="35" y="42"/>
                      <a:pt x="27" y="38"/>
                      <a:pt x="22" y="39"/>
                    </a:cubicBezTo>
                    <a:cubicBezTo>
                      <a:pt x="17" y="39"/>
                      <a:pt x="14" y="44"/>
                      <a:pt x="14" y="44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3" y="18"/>
                      <a:pt x="6" y="16"/>
                    </a:cubicBezTo>
                    <a:cubicBezTo>
                      <a:pt x="10" y="15"/>
                      <a:pt x="14" y="17"/>
                      <a:pt x="14" y="17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35" y="0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BB89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645FF67-D0C1-44A9-A0BC-68A8319804F7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920528" y="1992549"/>
                <a:ext cx="212725" cy="338137"/>
              </a:xfrm>
              <a:custGeom>
                <a:avLst/>
                <a:gdLst>
                  <a:gd name="T0" fmla="*/ 1 w 22"/>
                  <a:gd name="T1" fmla="*/ 2 h 35"/>
                  <a:gd name="T2" fmla="*/ 7 w 22"/>
                  <a:gd name="T3" fmla="*/ 28 h 35"/>
                  <a:gd name="T4" fmla="*/ 22 w 22"/>
                  <a:gd name="T5" fmla="*/ 0 h 35"/>
                  <a:gd name="T6" fmla="*/ 1 w 22"/>
                  <a:gd name="T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5">
                    <a:moveTo>
                      <a:pt x="1" y="2"/>
                    </a:moveTo>
                    <a:cubicBezTo>
                      <a:pt x="1" y="2"/>
                      <a:pt x="0" y="22"/>
                      <a:pt x="7" y="28"/>
                    </a:cubicBezTo>
                    <a:cubicBezTo>
                      <a:pt x="13" y="35"/>
                      <a:pt x="22" y="0"/>
                      <a:pt x="22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CCABA783-5F9D-40C9-92E2-7D9DE3B5E31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90328" y="1817924"/>
                <a:ext cx="611188" cy="212725"/>
              </a:xfrm>
              <a:custGeom>
                <a:avLst/>
                <a:gdLst>
                  <a:gd name="T0" fmla="*/ 9 w 63"/>
                  <a:gd name="T1" fmla="*/ 22 h 22"/>
                  <a:gd name="T2" fmla="*/ 63 w 63"/>
                  <a:gd name="T3" fmla="*/ 22 h 22"/>
                  <a:gd name="T4" fmla="*/ 39 w 63"/>
                  <a:gd name="T5" fmla="*/ 3 h 22"/>
                  <a:gd name="T6" fmla="*/ 5 w 63"/>
                  <a:gd name="T7" fmla="*/ 19 h 22"/>
                  <a:gd name="T8" fmla="*/ 9 w 6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2">
                    <a:moveTo>
                      <a:pt x="9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54" y="7"/>
                      <a:pt x="39" y="3"/>
                    </a:cubicBezTo>
                    <a:cubicBezTo>
                      <a:pt x="26" y="0"/>
                      <a:pt x="0" y="1"/>
                      <a:pt x="5" y="19"/>
                    </a:cubicBezTo>
                    <a:cubicBezTo>
                      <a:pt x="5" y="20"/>
                      <a:pt x="7" y="22"/>
                      <a:pt x="9" y="22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6D4E062-725F-4ED0-9E80-94B4B9DFE1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277715" y="2892662"/>
                <a:ext cx="833438" cy="2141537"/>
              </a:xfrm>
              <a:custGeom>
                <a:avLst/>
                <a:gdLst>
                  <a:gd name="T0" fmla="*/ 10 w 86"/>
                  <a:gd name="T1" fmla="*/ 0 h 221"/>
                  <a:gd name="T2" fmla="*/ 66 w 86"/>
                  <a:gd name="T3" fmla="*/ 221 h 221"/>
                  <a:gd name="T4" fmla="*/ 86 w 86"/>
                  <a:gd name="T5" fmla="*/ 216 h 221"/>
                  <a:gd name="T6" fmla="*/ 56 w 86"/>
                  <a:gd name="T7" fmla="*/ 19 h 221"/>
                  <a:gd name="T8" fmla="*/ 10 w 86"/>
                  <a:gd name="T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221">
                    <a:moveTo>
                      <a:pt x="10" y="0"/>
                    </a:moveTo>
                    <a:cubicBezTo>
                      <a:pt x="0" y="21"/>
                      <a:pt x="66" y="221"/>
                      <a:pt x="66" y="221"/>
                    </a:cubicBezTo>
                    <a:cubicBezTo>
                      <a:pt x="86" y="216"/>
                      <a:pt x="86" y="216"/>
                      <a:pt x="86" y="216"/>
                    </a:cubicBezTo>
                    <a:cubicBezTo>
                      <a:pt x="56" y="19"/>
                      <a:pt x="56" y="19"/>
                      <a:pt x="56" y="19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DCC4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D8B6CE5D-CB61-489F-B18F-6728C0CDE36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552228" y="2186224"/>
                <a:ext cx="1501775" cy="1025525"/>
              </a:xfrm>
              <a:custGeom>
                <a:avLst/>
                <a:gdLst>
                  <a:gd name="T0" fmla="*/ 0 w 155"/>
                  <a:gd name="T1" fmla="*/ 80 h 106"/>
                  <a:gd name="T2" fmla="*/ 60 w 155"/>
                  <a:gd name="T3" fmla="*/ 102 h 106"/>
                  <a:gd name="T4" fmla="*/ 107 w 155"/>
                  <a:gd name="T5" fmla="*/ 58 h 106"/>
                  <a:gd name="T6" fmla="*/ 134 w 155"/>
                  <a:gd name="T7" fmla="*/ 73 h 106"/>
                  <a:gd name="T8" fmla="*/ 155 w 155"/>
                  <a:gd name="T9" fmla="*/ 54 h 106"/>
                  <a:gd name="T10" fmla="*/ 99 w 155"/>
                  <a:gd name="T11" fmla="*/ 10 h 106"/>
                  <a:gd name="T12" fmla="*/ 40 w 155"/>
                  <a:gd name="T13" fmla="*/ 34 h 106"/>
                  <a:gd name="T14" fmla="*/ 0 w 155"/>
                  <a:gd name="T1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5" h="106">
                    <a:moveTo>
                      <a:pt x="0" y="80"/>
                    </a:moveTo>
                    <a:cubicBezTo>
                      <a:pt x="0" y="80"/>
                      <a:pt x="41" y="106"/>
                      <a:pt x="60" y="102"/>
                    </a:cubicBezTo>
                    <a:cubicBezTo>
                      <a:pt x="79" y="97"/>
                      <a:pt x="78" y="71"/>
                      <a:pt x="107" y="58"/>
                    </a:cubicBezTo>
                    <a:cubicBezTo>
                      <a:pt x="134" y="73"/>
                      <a:pt x="134" y="73"/>
                      <a:pt x="134" y="7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23" y="20"/>
                      <a:pt x="99" y="10"/>
                    </a:cubicBezTo>
                    <a:cubicBezTo>
                      <a:pt x="75" y="0"/>
                      <a:pt x="63" y="14"/>
                      <a:pt x="40" y="34"/>
                    </a:cubicBezTo>
                    <a:cubicBezTo>
                      <a:pt x="16" y="54"/>
                      <a:pt x="0" y="80"/>
                      <a:pt x="0" y="8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8109DFD-E1B7-44A5-8723-5A83A367DACF}"/>
                </a:ext>
              </a:extLst>
            </p:cNvPr>
            <p:cNvGrpSpPr/>
            <p:nvPr/>
          </p:nvGrpSpPr>
          <p:grpSpPr>
            <a:xfrm rot="932970">
              <a:off x="3258430" y="5046223"/>
              <a:ext cx="67162" cy="204898"/>
              <a:chOff x="3278816" y="5051890"/>
              <a:chExt cx="107809" cy="204898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D01C6BDF-480F-4406-A14E-B5DEF231D530}"/>
                  </a:ext>
                </a:extLst>
              </p:cNvPr>
              <p:cNvSpPr/>
              <p:nvPr/>
            </p:nvSpPr>
            <p:spPr>
              <a:xfrm>
                <a:off x="3278816" y="5051890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7CCEC1FC-7CE8-4334-B8A4-A1598FBEB5B0}"/>
                  </a:ext>
                </a:extLst>
              </p:cNvPr>
              <p:cNvSpPr/>
              <p:nvPr/>
            </p:nvSpPr>
            <p:spPr>
              <a:xfrm>
                <a:off x="3278816" y="5113726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C4FFC130-09F6-4E61-A981-3DED38FB73FD}"/>
                  </a:ext>
                </a:extLst>
              </p:cNvPr>
              <p:cNvSpPr/>
              <p:nvPr/>
            </p:nvSpPr>
            <p:spPr>
              <a:xfrm>
                <a:off x="3278816" y="5175562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D874E896-6E28-450F-85B3-EA1738B6478B}"/>
                  </a:ext>
                </a:extLst>
              </p:cNvPr>
              <p:cNvSpPr/>
              <p:nvPr/>
            </p:nvSpPr>
            <p:spPr>
              <a:xfrm>
                <a:off x="3278816" y="5237399"/>
                <a:ext cx="107809" cy="19389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B5114739-651E-4F7A-A652-EF684A21FFC6}"/>
              </a:ext>
            </a:extLst>
          </p:cNvPr>
          <p:cNvSpPr/>
          <p:nvPr/>
        </p:nvSpPr>
        <p:spPr>
          <a:xfrm>
            <a:off x="4892901" y="2402297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5725F0B-4685-4DA5-84CB-30A24F702C42}"/>
              </a:ext>
            </a:extLst>
          </p:cNvPr>
          <p:cNvSpPr/>
          <p:nvPr/>
        </p:nvSpPr>
        <p:spPr>
          <a:xfrm>
            <a:off x="7898289" y="2402297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0AA1634-4F7D-4A70-A767-79C2E1D40D7A}"/>
              </a:ext>
            </a:extLst>
          </p:cNvPr>
          <p:cNvSpPr/>
          <p:nvPr/>
        </p:nvSpPr>
        <p:spPr>
          <a:xfrm>
            <a:off x="10545652" y="2402297"/>
            <a:ext cx="655772" cy="655772"/>
          </a:xfrm>
          <a:prstGeom prst="ellipse">
            <a:avLst/>
          </a:prstGeom>
          <a:solidFill>
            <a:srgbClr val="3B3E9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A6CCD32-996B-430B-96DE-486B5340F640}"/>
              </a:ext>
            </a:extLst>
          </p:cNvPr>
          <p:cNvSpPr/>
          <p:nvPr/>
        </p:nvSpPr>
        <p:spPr>
          <a:xfrm>
            <a:off x="4024343" y="3187758"/>
            <a:ext cx="2409199" cy="107721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just"/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We rely solely on the model’s coefficients and a </a:t>
            </a:r>
            <a:r>
              <a:rPr lang="en-ID" sz="1400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simple multiple regression equation 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to estimate future bike rental demand.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Century Gothic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8221C70-A571-4EE2-B419-3255DCDA07FA}"/>
              </a:ext>
            </a:extLst>
          </p:cNvPr>
          <p:cNvSpPr/>
          <p:nvPr/>
        </p:nvSpPr>
        <p:spPr>
          <a:xfrm>
            <a:off x="7004057" y="3187758"/>
            <a:ext cx="2444236" cy="129266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just"/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We only use four features: “</a:t>
            </a:r>
            <a:r>
              <a:rPr lang="en-ID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Season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” “</a:t>
            </a:r>
            <a:r>
              <a:rPr lang="en-ID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Hour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” “</a:t>
            </a:r>
            <a:r>
              <a:rPr lang="en-ID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Holiday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” and “</a:t>
            </a:r>
            <a:r>
              <a:rPr lang="en-ID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Temp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” These  features are easy to acquire, and by only having four of them our model will be fast.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82E0B8F-EB59-43C8-B8C9-035FF9844C68}"/>
              </a:ext>
            </a:extLst>
          </p:cNvPr>
          <p:cNvSpPr/>
          <p:nvPr/>
        </p:nvSpPr>
        <p:spPr>
          <a:xfrm>
            <a:off x="9991008" y="3187758"/>
            <a:ext cx="1765059" cy="86177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We have balanced the best </a:t>
            </a:r>
            <a:r>
              <a:rPr lang="en-ID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modeling</a:t>
            </a:r>
            <a:r>
              <a:rPr lang="en-ID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/>
              </a:rPr>
              <a:t> scores with production realities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Century Gothic"/>
            </a:endParaRPr>
          </a:p>
        </p:txBody>
      </p:sp>
      <p:sp>
        <p:nvSpPr>
          <p:cNvPr id="93" name="Slide Number Placeholder 92">
            <a:extLst>
              <a:ext uri="{FF2B5EF4-FFF2-40B4-BE49-F238E27FC236}">
                <a16:creationId xmlns:a16="http://schemas.microsoft.com/office/drawing/2014/main" id="{208151A9-7342-477A-A159-E8DC5647F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CFCFAF74-51BB-4068-8113-BA0A9F03D4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147963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Picture 219" descr="A picture containing sitting&#10;&#10;Description automatically generated">
            <a:extLst>
              <a:ext uri="{FF2B5EF4-FFF2-40B4-BE49-F238E27FC236}">
                <a16:creationId xmlns:a16="http://schemas.microsoft.com/office/drawing/2014/main" id="{6620321B-065B-47F0-84D3-40ECED61608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25"/>
          <a:stretch/>
        </p:blipFill>
        <p:spPr>
          <a:xfrm>
            <a:off x="611272" y="1117292"/>
            <a:ext cx="10969458" cy="3981531"/>
          </a:xfrm>
          <a:prstGeom prst="rect">
            <a:avLst/>
          </a:prstGeom>
        </p:spPr>
      </p:pic>
      <p:sp>
        <p:nvSpPr>
          <p:cNvPr id="215" name="Rectangle: Top Corners Rounded 214">
            <a:extLst>
              <a:ext uri="{FF2B5EF4-FFF2-40B4-BE49-F238E27FC236}">
                <a16:creationId xmlns:a16="http://schemas.microsoft.com/office/drawing/2014/main" id="{F7C37FE2-F91D-41D8-89AA-79FDAC4BA1DC}"/>
              </a:ext>
            </a:extLst>
          </p:cNvPr>
          <p:cNvSpPr/>
          <p:nvPr/>
        </p:nvSpPr>
        <p:spPr>
          <a:xfrm rot="5400000" flipH="1">
            <a:off x="8846546" y="949429"/>
            <a:ext cx="1574273" cy="424526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DUSTRY OVERVIEW &amp; BUSINESS CASE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8F78AF08-37DB-4436-8E76-DA88D8D85D8A}"/>
              </a:ext>
            </a:extLst>
          </p:cNvPr>
          <p:cNvSpPr/>
          <p:nvPr/>
        </p:nvSpPr>
        <p:spPr>
          <a:xfrm>
            <a:off x="8350584" y="2560750"/>
            <a:ext cx="3243080" cy="9848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600" b="1">
                <a:solidFill>
                  <a:schemeClr val="bg1"/>
                </a:solidFill>
                <a:latin typeface="Century Gothic" panose="020B0502020202020204" pitchFamily="34" charset="0"/>
              </a:rPr>
              <a:t>Customers focusing 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sz="1600" b="1">
                <a:solidFill>
                  <a:schemeClr val="bg1"/>
                </a:solidFill>
                <a:latin typeface="Century Gothic" panose="020B0502020202020204" pitchFamily="34" charset="0"/>
              </a:rPr>
              <a:t>micro mobility for daily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sz="1600" b="1">
                <a:solidFill>
                  <a:schemeClr val="bg1"/>
                </a:solidFill>
                <a:latin typeface="Century Gothic" panose="020B0502020202020204" pitchFamily="34" charset="0"/>
              </a:rPr>
              <a:t>Pollution-free transpor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sz="1600" b="1">
                <a:solidFill>
                  <a:schemeClr val="bg1"/>
                </a:solidFill>
                <a:latin typeface="Century Gothic" panose="020B0502020202020204" pitchFamily="34" charset="0"/>
              </a:rPr>
              <a:t>Flexible usage of Bik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20ED673-160F-474D-8F15-DB7D09C23BF6}"/>
              </a:ext>
            </a:extLst>
          </p:cNvPr>
          <p:cNvGrpSpPr/>
          <p:nvPr/>
        </p:nvGrpSpPr>
        <p:grpSpPr>
          <a:xfrm>
            <a:off x="0" y="4333981"/>
            <a:ext cx="5753689" cy="750888"/>
            <a:chOff x="1704126" y="1817748"/>
            <a:chExt cx="5753689" cy="750888"/>
          </a:xfrm>
        </p:grpSpPr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id="{2528C0CD-443C-4D6D-8229-D96ED7CC4CC0}"/>
                </a:ext>
              </a:extLst>
            </p:cNvPr>
            <p:cNvSpPr/>
            <p:nvPr/>
          </p:nvSpPr>
          <p:spPr>
            <a:xfrm rot="5400000">
              <a:off x="4181240" y="-535699"/>
              <a:ext cx="488952" cy="5443179"/>
            </a:xfrm>
            <a:prstGeom prst="round2SameRect">
              <a:avLst>
                <a:gd name="adj1" fmla="val 23818"/>
                <a:gd name="adj2" fmla="val 0"/>
              </a:avLst>
            </a:prstGeom>
            <a:solidFill>
              <a:srgbClr val="3B3E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6BD0C7F-F62D-4C4D-B65A-4E0B61B09F32}"/>
                </a:ext>
              </a:extLst>
            </p:cNvPr>
            <p:cNvSpPr/>
            <p:nvPr/>
          </p:nvSpPr>
          <p:spPr>
            <a:xfrm>
              <a:off x="1966410" y="2042918"/>
              <a:ext cx="4692891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Business Case Goals</a:t>
              </a:r>
              <a:endParaRPr lang="en-ID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3D24DA6-A557-4CF8-A39B-06C388051F3D}"/>
                </a:ext>
              </a:extLst>
            </p:cNvPr>
            <p:cNvSpPr/>
            <p:nvPr/>
          </p:nvSpPr>
          <p:spPr>
            <a:xfrm>
              <a:off x="6706927" y="1817748"/>
              <a:ext cx="750888" cy="750888"/>
            </a:xfrm>
            <a:prstGeom prst="ellipse">
              <a:avLst/>
            </a:prstGeom>
            <a:solidFill>
              <a:srgbClr val="3B3E98"/>
            </a:solidFill>
            <a:ln w="28575">
              <a:solidFill>
                <a:srgbClr val="AFB0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6F486104-EDAA-4F4F-906E-068FEEFC2688}"/>
              </a:ext>
            </a:extLst>
          </p:cNvPr>
          <p:cNvSpPr/>
          <p:nvPr/>
        </p:nvSpPr>
        <p:spPr>
          <a:xfrm>
            <a:off x="461842" y="5153917"/>
            <a:ext cx="11099220" cy="138499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n-US" b="1" dirty="0">
                <a:solidFill>
                  <a:srgbClr val="3B3E98"/>
                </a:solidFill>
                <a:latin typeface="Century Gothic" panose="020B0502020202020204" pitchFamily="34" charset="0"/>
              </a:rPr>
              <a:t>How does the company exploit this market growth trend by fulfilling customer’s needs?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3B3E98"/>
                </a:solidFill>
                <a:latin typeface="Century Gothic" panose="020B0502020202020204" pitchFamily="34" charset="0"/>
              </a:rPr>
              <a:t>Which bikeshare needs do our customers show on dataset?</a:t>
            </a:r>
          </a:p>
          <a:p>
            <a:pPr marL="342900" indent="-342900" algn="just">
              <a:buFont typeface="+mj-lt"/>
              <a:buAutoNum type="arabicPeriod"/>
            </a:pPr>
            <a:endParaRPr lang="en-US" b="1" dirty="0">
              <a:solidFill>
                <a:srgbClr val="3B3E98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en-US" b="1" dirty="0">
                <a:solidFill>
                  <a:srgbClr val="3B3E98"/>
                </a:solidFill>
                <a:latin typeface="Century Gothic" panose="020B0502020202020204" pitchFamily="34" charset="0"/>
              </a:rPr>
              <a:t>Bike Rental demand is dependent on weather and time conditions (to be seen later). How to overcome the unpredictability of weather and reach a more stable cash flow / cost optimization?</a:t>
            </a:r>
          </a:p>
        </p:txBody>
      </p:sp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46F67E9A-CF7E-4A57-A166-22EE71FE8124}"/>
              </a:ext>
            </a:extLst>
          </p:cNvPr>
          <p:cNvSpPr/>
          <p:nvPr/>
        </p:nvSpPr>
        <p:spPr>
          <a:xfrm rot="16200000">
            <a:off x="1710641" y="951245"/>
            <a:ext cx="1574273" cy="424526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1FF5583D-4283-4C68-B269-28CFA5EE6A6E}"/>
              </a:ext>
            </a:extLst>
          </p:cNvPr>
          <p:cNvSpPr/>
          <p:nvPr/>
        </p:nvSpPr>
        <p:spPr>
          <a:xfrm>
            <a:off x="959355" y="2683861"/>
            <a:ext cx="2695803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ID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Bike Rental market forecast a  19.8% CAGR until 2027, reaching USD 10.1 Bi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877105-73B5-4BCC-8CAA-BC932AB82691}"/>
              </a:ext>
            </a:extLst>
          </p:cNvPr>
          <p:cNvGrpSpPr/>
          <p:nvPr/>
        </p:nvGrpSpPr>
        <p:grpSpPr>
          <a:xfrm>
            <a:off x="3706238" y="1156910"/>
            <a:ext cx="4605543" cy="2833375"/>
            <a:chOff x="3164114" y="2325734"/>
            <a:chExt cx="5863772" cy="3728100"/>
          </a:xfrm>
        </p:grpSpPr>
        <p:sp>
          <p:nvSpPr>
            <p:cNvPr id="194" name="Freeform 9">
              <a:extLst>
                <a:ext uri="{FF2B5EF4-FFF2-40B4-BE49-F238E27FC236}">
                  <a16:creationId xmlns:a16="http://schemas.microsoft.com/office/drawing/2014/main" id="{951E9733-AC80-4CA9-815A-4EF4C8C5E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2188" y="3750208"/>
              <a:ext cx="2305698" cy="2303626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6" y="18"/>
                    <a:pt x="19" y="115"/>
                    <a:pt x="19" y="233"/>
                  </a:cubicBezTo>
                  <a:cubicBezTo>
                    <a:pt x="19" y="352"/>
                    <a:pt x="116" y="448"/>
                    <a:pt x="234" y="448"/>
                  </a:cubicBezTo>
                  <a:cubicBezTo>
                    <a:pt x="353" y="448"/>
                    <a:pt x="449" y="352"/>
                    <a:pt x="449" y="233"/>
                  </a:cubicBezTo>
                  <a:cubicBezTo>
                    <a:pt x="449" y="115"/>
                    <a:pt x="353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5E7D715-7B0C-4594-BE02-C54B5B757BC6}"/>
                </a:ext>
              </a:extLst>
            </p:cNvPr>
            <p:cNvGrpSpPr/>
            <p:nvPr/>
          </p:nvGrpSpPr>
          <p:grpSpPr>
            <a:xfrm>
              <a:off x="3164114" y="2325734"/>
              <a:ext cx="5798838" cy="3728100"/>
              <a:chOff x="3164114" y="2020165"/>
              <a:chExt cx="5798838" cy="3728100"/>
            </a:xfrm>
          </p:grpSpPr>
          <p:sp>
            <p:nvSpPr>
              <p:cNvPr id="192" name="Freeform 7">
                <a:extLst>
                  <a:ext uri="{FF2B5EF4-FFF2-40B4-BE49-F238E27FC236}">
                    <a16:creationId xmlns:a16="http://schemas.microsoft.com/office/drawing/2014/main" id="{7084E11B-04ED-4B80-99B6-24CA73D6A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64114" y="3444639"/>
                <a:ext cx="2305698" cy="2303626"/>
              </a:xfrm>
              <a:custGeom>
                <a:avLst/>
                <a:gdLst>
                  <a:gd name="T0" fmla="*/ 234 w 468"/>
                  <a:gd name="T1" fmla="*/ 18 h 467"/>
                  <a:gd name="T2" fmla="*/ 19 w 468"/>
                  <a:gd name="T3" fmla="*/ 233 h 467"/>
                  <a:gd name="T4" fmla="*/ 234 w 468"/>
                  <a:gd name="T5" fmla="*/ 448 h 467"/>
                  <a:gd name="T6" fmla="*/ 449 w 468"/>
                  <a:gd name="T7" fmla="*/ 233 h 467"/>
                  <a:gd name="T8" fmla="*/ 234 w 468"/>
                  <a:gd name="T9" fmla="*/ 18 h 467"/>
                  <a:gd name="T10" fmla="*/ 234 w 468"/>
                  <a:gd name="T11" fmla="*/ 18 h 467"/>
                  <a:gd name="T12" fmla="*/ 234 w 468"/>
                  <a:gd name="T13" fmla="*/ 467 h 467"/>
                  <a:gd name="T14" fmla="*/ 0 w 468"/>
                  <a:gd name="T15" fmla="*/ 233 h 467"/>
                  <a:gd name="T16" fmla="*/ 234 w 468"/>
                  <a:gd name="T17" fmla="*/ 0 h 467"/>
                  <a:gd name="T18" fmla="*/ 468 w 468"/>
                  <a:gd name="T19" fmla="*/ 233 h 467"/>
                  <a:gd name="T20" fmla="*/ 234 w 468"/>
                  <a:gd name="T21" fmla="*/ 467 h 467"/>
                  <a:gd name="T22" fmla="*/ 234 w 468"/>
                  <a:gd name="T23" fmla="*/ 467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8" h="467">
                    <a:moveTo>
                      <a:pt x="234" y="18"/>
                    </a:moveTo>
                    <a:cubicBezTo>
                      <a:pt x="115" y="18"/>
                      <a:pt x="19" y="115"/>
                      <a:pt x="19" y="233"/>
                    </a:cubicBezTo>
                    <a:cubicBezTo>
                      <a:pt x="19" y="352"/>
                      <a:pt x="115" y="448"/>
                      <a:pt x="234" y="448"/>
                    </a:cubicBezTo>
                    <a:cubicBezTo>
                      <a:pt x="352" y="448"/>
                      <a:pt x="449" y="352"/>
                      <a:pt x="449" y="233"/>
                    </a:cubicBezTo>
                    <a:cubicBezTo>
                      <a:pt x="449" y="115"/>
                      <a:pt x="352" y="18"/>
                      <a:pt x="234" y="18"/>
                    </a:cubicBezTo>
                    <a:cubicBezTo>
                      <a:pt x="234" y="18"/>
                      <a:pt x="234" y="18"/>
                      <a:pt x="234" y="18"/>
                    </a:cubicBezTo>
                    <a:close/>
                    <a:moveTo>
                      <a:pt x="234" y="467"/>
                    </a:moveTo>
                    <a:cubicBezTo>
                      <a:pt x="105" y="467"/>
                      <a:pt x="0" y="362"/>
                      <a:pt x="0" y="233"/>
                    </a:cubicBezTo>
                    <a:cubicBezTo>
                      <a:pt x="0" y="104"/>
                      <a:pt x="105" y="0"/>
                      <a:pt x="234" y="0"/>
                    </a:cubicBezTo>
                    <a:cubicBezTo>
                      <a:pt x="363" y="0"/>
                      <a:pt x="468" y="104"/>
                      <a:pt x="468" y="233"/>
                    </a:cubicBezTo>
                    <a:cubicBezTo>
                      <a:pt x="468" y="362"/>
                      <a:pt x="363" y="467"/>
                      <a:pt x="234" y="467"/>
                    </a:cubicBezTo>
                    <a:cubicBezTo>
                      <a:pt x="234" y="467"/>
                      <a:pt x="234" y="467"/>
                      <a:pt x="234" y="467"/>
                    </a:cubicBezTo>
                    <a:close/>
                  </a:path>
                </a:pathLst>
              </a:custGeom>
              <a:solidFill>
                <a:srgbClr val="15163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0">
                <a:extLst>
                  <a:ext uri="{FF2B5EF4-FFF2-40B4-BE49-F238E27FC236}">
                    <a16:creationId xmlns:a16="http://schemas.microsoft.com/office/drawing/2014/main" id="{C068CC8C-AECF-4F70-A1BD-7BF83C5A99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0376" y="3558680"/>
                <a:ext cx="2069322" cy="2071397"/>
              </a:xfrm>
              <a:custGeom>
                <a:avLst/>
                <a:gdLst>
                  <a:gd name="T0" fmla="*/ 210 w 420"/>
                  <a:gd name="T1" fmla="*/ 10 h 420"/>
                  <a:gd name="T2" fmla="*/ 9 w 420"/>
                  <a:gd name="T3" fmla="*/ 210 h 420"/>
                  <a:gd name="T4" fmla="*/ 210 w 420"/>
                  <a:gd name="T5" fmla="*/ 411 h 420"/>
                  <a:gd name="T6" fmla="*/ 411 w 420"/>
                  <a:gd name="T7" fmla="*/ 210 h 420"/>
                  <a:gd name="T8" fmla="*/ 210 w 420"/>
                  <a:gd name="T9" fmla="*/ 10 h 420"/>
                  <a:gd name="T10" fmla="*/ 210 w 420"/>
                  <a:gd name="T11" fmla="*/ 10 h 420"/>
                  <a:gd name="T12" fmla="*/ 210 w 420"/>
                  <a:gd name="T13" fmla="*/ 420 h 420"/>
                  <a:gd name="T14" fmla="*/ 0 w 420"/>
                  <a:gd name="T15" fmla="*/ 210 h 420"/>
                  <a:gd name="T16" fmla="*/ 210 w 420"/>
                  <a:gd name="T17" fmla="*/ 0 h 420"/>
                  <a:gd name="T18" fmla="*/ 420 w 420"/>
                  <a:gd name="T19" fmla="*/ 210 h 420"/>
                  <a:gd name="T20" fmla="*/ 210 w 420"/>
                  <a:gd name="T21" fmla="*/ 420 h 420"/>
                  <a:gd name="T22" fmla="*/ 210 w 420"/>
                  <a:gd name="T23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0" h="420">
                    <a:moveTo>
                      <a:pt x="210" y="10"/>
                    </a:moveTo>
                    <a:cubicBezTo>
                      <a:pt x="99" y="10"/>
                      <a:pt x="9" y="100"/>
                      <a:pt x="9" y="210"/>
                    </a:cubicBezTo>
                    <a:cubicBezTo>
                      <a:pt x="9" y="321"/>
                      <a:pt x="99" y="411"/>
                      <a:pt x="210" y="411"/>
                    </a:cubicBezTo>
                    <a:cubicBezTo>
                      <a:pt x="321" y="411"/>
                      <a:pt x="411" y="321"/>
                      <a:pt x="411" y="210"/>
                    </a:cubicBezTo>
                    <a:cubicBezTo>
                      <a:pt x="411" y="100"/>
                      <a:pt x="321" y="10"/>
                      <a:pt x="210" y="10"/>
                    </a:cubicBezTo>
                    <a:cubicBezTo>
                      <a:pt x="210" y="10"/>
                      <a:pt x="210" y="10"/>
                      <a:pt x="210" y="10"/>
                    </a:cubicBezTo>
                    <a:close/>
                    <a:moveTo>
                      <a:pt x="210" y="420"/>
                    </a:moveTo>
                    <a:cubicBezTo>
                      <a:pt x="94" y="420"/>
                      <a:pt x="0" y="326"/>
                      <a:pt x="0" y="210"/>
                    </a:cubicBezTo>
                    <a:cubicBezTo>
                      <a:pt x="0" y="94"/>
                      <a:pt x="94" y="0"/>
                      <a:pt x="210" y="0"/>
                    </a:cubicBezTo>
                    <a:cubicBezTo>
                      <a:pt x="326" y="0"/>
                      <a:pt x="420" y="94"/>
                      <a:pt x="420" y="210"/>
                    </a:cubicBezTo>
                    <a:cubicBezTo>
                      <a:pt x="420" y="326"/>
                      <a:pt x="326" y="420"/>
                      <a:pt x="210" y="420"/>
                    </a:cubicBezTo>
                    <a:cubicBezTo>
                      <a:pt x="210" y="420"/>
                      <a:pt x="210" y="420"/>
                      <a:pt x="210" y="42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1">
                <a:extLst>
                  <a:ext uri="{FF2B5EF4-FFF2-40B4-BE49-F238E27FC236}">
                    <a16:creationId xmlns:a16="http://schemas.microsoft.com/office/drawing/2014/main" id="{715C22DD-82B6-40F4-9000-8EF7CE7A5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54759" y="2235806"/>
                <a:ext cx="3688703" cy="2564883"/>
              </a:xfrm>
              <a:custGeom>
                <a:avLst/>
                <a:gdLst>
                  <a:gd name="T0" fmla="*/ 253 w 749"/>
                  <a:gd name="T1" fmla="*/ 167 h 520"/>
                  <a:gd name="T2" fmla="*/ 601 w 749"/>
                  <a:gd name="T3" fmla="*/ 184 h 520"/>
                  <a:gd name="T4" fmla="*/ 231 w 749"/>
                  <a:gd name="T5" fmla="*/ 187 h 520"/>
                  <a:gd name="T6" fmla="*/ 35 w 749"/>
                  <a:gd name="T7" fmla="*/ 468 h 520"/>
                  <a:gd name="T8" fmla="*/ 744 w 749"/>
                  <a:gd name="T9" fmla="*/ 469 h 520"/>
                  <a:gd name="T10" fmla="*/ 591 w 749"/>
                  <a:gd name="T11" fmla="*/ 30 h 520"/>
                  <a:gd name="T12" fmla="*/ 668 w 749"/>
                  <a:gd name="T13" fmla="*/ 18 h 520"/>
                  <a:gd name="T14" fmla="*/ 576 w 749"/>
                  <a:gd name="T15" fmla="*/ 5 h 520"/>
                  <a:gd name="T16" fmla="*/ 563 w 749"/>
                  <a:gd name="T17" fmla="*/ 20 h 520"/>
                  <a:gd name="T18" fmla="*/ 247 w 749"/>
                  <a:gd name="T19" fmla="*/ 142 h 520"/>
                  <a:gd name="T20" fmla="*/ 203 w 749"/>
                  <a:gd name="T21" fmla="*/ 2 h 520"/>
                  <a:gd name="T22" fmla="*/ 224 w 749"/>
                  <a:gd name="T23" fmla="*/ 153 h 520"/>
                  <a:gd name="T24" fmla="*/ 2 w 749"/>
                  <a:gd name="T25" fmla="*/ 472 h 520"/>
                  <a:gd name="T26" fmla="*/ 1 w 749"/>
                  <a:gd name="T27" fmla="*/ 474 h 520"/>
                  <a:gd name="T28" fmla="*/ 1 w 749"/>
                  <a:gd name="T29" fmla="*/ 476 h 520"/>
                  <a:gd name="T30" fmla="*/ 1 w 749"/>
                  <a:gd name="T31" fmla="*/ 477 h 520"/>
                  <a:gd name="T32" fmla="*/ 1 w 749"/>
                  <a:gd name="T33" fmla="*/ 480 h 520"/>
                  <a:gd name="T34" fmla="*/ 1 w 749"/>
                  <a:gd name="T35" fmla="*/ 482 h 520"/>
                  <a:gd name="T36" fmla="*/ 2 w 749"/>
                  <a:gd name="T37" fmla="*/ 485 h 520"/>
                  <a:gd name="T38" fmla="*/ 4 w 749"/>
                  <a:gd name="T39" fmla="*/ 486 h 520"/>
                  <a:gd name="T40" fmla="*/ 5 w 749"/>
                  <a:gd name="T41" fmla="*/ 488 h 520"/>
                  <a:gd name="T42" fmla="*/ 7 w 749"/>
                  <a:gd name="T43" fmla="*/ 489 h 520"/>
                  <a:gd name="T44" fmla="*/ 9 w 749"/>
                  <a:gd name="T45" fmla="*/ 490 h 520"/>
                  <a:gd name="T46" fmla="*/ 12 w 749"/>
                  <a:gd name="T47" fmla="*/ 491 h 520"/>
                  <a:gd name="T48" fmla="*/ 315 w 749"/>
                  <a:gd name="T49" fmla="*/ 520 h 520"/>
                  <a:gd name="T50" fmla="*/ 316 w 749"/>
                  <a:gd name="T51" fmla="*/ 520 h 520"/>
                  <a:gd name="T52" fmla="*/ 316 w 749"/>
                  <a:gd name="T53" fmla="*/ 520 h 520"/>
                  <a:gd name="T54" fmla="*/ 319 w 749"/>
                  <a:gd name="T55" fmla="*/ 520 h 520"/>
                  <a:gd name="T56" fmla="*/ 320 w 749"/>
                  <a:gd name="T57" fmla="*/ 520 h 520"/>
                  <a:gd name="T58" fmla="*/ 321 w 749"/>
                  <a:gd name="T59" fmla="*/ 519 h 520"/>
                  <a:gd name="T60" fmla="*/ 323 w 749"/>
                  <a:gd name="T61" fmla="*/ 518 h 520"/>
                  <a:gd name="T62" fmla="*/ 324 w 749"/>
                  <a:gd name="T63" fmla="*/ 518 h 520"/>
                  <a:gd name="T64" fmla="*/ 325 w 749"/>
                  <a:gd name="T65" fmla="*/ 516 h 520"/>
                  <a:gd name="T66" fmla="*/ 608 w 749"/>
                  <a:gd name="T67" fmla="*/ 213 h 520"/>
                  <a:gd name="T68" fmla="*/ 632 w 749"/>
                  <a:gd name="T69" fmla="*/ 321 h 520"/>
                  <a:gd name="T70" fmla="*/ 735 w 749"/>
                  <a:gd name="T71" fmla="*/ 491 h 520"/>
                  <a:gd name="T72" fmla="*/ 744 w 749"/>
                  <a:gd name="T73" fmla="*/ 469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9" h="520">
                    <a:moveTo>
                      <a:pt x="323" y="482"/>
                    </a:moveTo>
                    <a:cubicBezTo>
                      <a:pt x="253" y="167"/>
                      <a:pt x="253" y="167"/>
                      <a:pt x="253" y="167"/>
                    </a:cubicBezTo>
                    <a:cubicBezTo>
                      <a:pt x="589" y="130"/>
                      <a:pt x="589" y="130"/>
                      <a:pt x="589" y="130"/>
                    </a:cubicBezTo>
                    <a:cubicBezTo>
                      <a:pt x="601" y="184"/>
                      <a:pt x="601" y="184"/>
                      <a:pt x="601" y="184"/>
                    </a:cubicBezTo>
                    <a:cubicBezTo>
                      <a:pt x="323" y="482"/>
                      <a:pt x="323" y="482"/>
                      <a:pt x="323" y="482"/>
                    </a:cubicBezTo>
                    <a:close/>
                    <a:moveTo>
                      <a:pt x="231" y="187"/>
                    </a:moveTo>
                    <a:cubicBezTo>
                      <a:pt x="300" y="494"/>
                      <a:pt x="300" y="494"/>
                      <a:pt x="300" y="494"/>
                    </a:cubicBezTo>
                    <a:cubicBezTo>
                      <a:pt x="35" y="468"/>
                      <a:pt x="35" y="468"/>
                      <a:pt x="35" y="468"/>
                    </a:cubicBezTo>
                    <a:cubicBezTo>
                      <a:pt x="231" y="187"/>
                      <a:pt x="231" y="187"/>
                      <a:pt x="231" y="187"/>
                    </a:cubicBezTo>
                    <a:close/>
                    <a:moveTo>
                      <a:pt x="744" y="469"/>
                    </a:moveTo>
                    <a:cubicBezTo>
                      <a:pt x="686" y="413"/>
                      <a:pt x="658" y="320"/>
                      <a:pt x="657" y="314"/>
                    </a:cubicBezTo>
                    <a:cubicBezTo>
                      <a:pt x="591" y="30"/>
                      <a:pt x="591" y="30"/>
                      <a:pt x="591" y="30"/>
                    </a:cubicBezTo>
                    <a:cubicBezTo>
                      <a:pt x="655" y="30"/>
                      <a:pt x="655" y="30"/>
                      <a:pt x="655" y="30"/>
                    </a:cubicBezTo>
                    <a:cubicBezTo>
                      <a:pt x="662" y="30"/>
                      <a:pt x="668" y="25"/>
                      <a:pt x="668" y="18"/>
                    </a:cubicBezTo>
                    <a:cubicBezTo>
                      <a:pt x="668" y="11"/>
                      <a:pt x="662" y="5"/>
                      <a:pt x="655" y="5"/>
                    </a:cubicBezTo>
                    <a:cubicBezTo>
                      <a:pt x="576" y="5"/>
                      <a:pt x="576" y="5"/>
                      <a:pt x="576" y="5"/>
                    </a:cubicBezTo>
                    <a:cubicBezTo>
                      <a:pt x="572" y="5"/>
                      <a:pt x="568" y="7"/>
                      <a:pt x="566" y="10"/>
                    </a:cubicBezTo>
                    <a:cubicBezTo>
                      <a:pt x="563" y="13"/>
                      <a:pt x="563" y="17"/>
                      <a:pt x="563" y="20"/>
                    </a:cubicBezTo>
                    <a:cubicBezTo>
                      <a:pt x="583" y="105"/>
                      <a:pt x="583" y="105"/>
                      <a:pt x="583" y="105"/>
                    </a:cubicBezTo>
                    <a:cubicBezTo>
                      <a:pt x="247" y="142"/>
                      <a:pt x="247" y="142"/>
                      <a:pt x="247" y="142"/>
                    </a:cubicBezTo>
                    <a:cubicBezTo>
                      <a:pt x="218" y="11"/>
                      <a:pt x="218" y="11"/>
                      <a:pt x="218" y="11"/>
                    </a:cubicBezTo>
                    <a:cubicBezTo>
                      <a:pt x="216" y="5"/>
                      <a:pt x="210" y="0"/>
                      <a:pt x="203" y="2"/>
                    </a:cubicBezTo>
                    <a:cubicBezTo>
                      <a:pt x="196" y="3"/>
                      <a:pt x="192" y="10"/>
                      <a:pt x="193" y="17"/>
                    </a:cubicBezTo>
                    <a:cubicBezTo>
                      <a:pt x="224" y="153"/>
                      <a:pt x="224" y="153"/>
                      <a:pt x="224" y="153"/>
                    </a:cubicBezTo>
                    <a:cubicBezTo>
                      <a:pt x="3" y="471"/>
                      <a:pt x="3" y="471"/>
                      <a:pt x="3" y="471"/>
                    </a:cubicBezTo>
                    <a:cubicBezTo>
                      <a:pt x="3" y="471"/>
                      <a:pt x="2" y="471"/>
                      <a:pt x="2" y="472"/>
                    </a:cubicBezTo>
                    <a:cubicBezTo>
                      <a:pt x="2" y="472"/>
                      <a:pt x="2" y="472"/>
                      <a:pt x="2" y="473"/>
                    </a:cubicBezTo>
                    <a:cubicBezTo>
                      <a:pt x="2" y="473"/>
                      <a:pt x="1" y="474"/>
                      <a:pt x="1" y="474"/>
                    </a:cubicBezTo>
                    <a:cubicBezTo>
                      <a:pt x="1" y="474"/>
                      <a:pt x="1" y="475"/>
                      <a:pt x="1" y="475"/>
                    </a:cubicBezTo>
                    <a:cubicBezTo>
                      <a:pt x="1" y="476"/>
                      <a:pt x="1" y="476"/>
                      <a:pt x="1" y="476"/>
                    </a:cubicBezTo>
                    <a:cubicBezTo>
                      <a:pt x="1" y="477"/>
                      <a:pt x="1" y="477"/>
                      <a:pt x="1" y="477"/>
                    </a:cubicBezTo>
                    <a:cubicBezTo>
                      <a:pt x="1" y="477"/>
                      <a:pt x="1" y="477"/>
                      <a:pt x="1" y="477"/>
                    </a:cubicBezTo>
                    <a:cubicBezTo>
                      <a:pt x="0" y="478"/>
                      <a:pt x="1" y="478"/>
                      <a:pt x="1" y="479"/>
                    </a:cubicBezTo>
                    <a:cubicBezTo>
                      <a:pt x="1" y="479"/>
                      <a:pt x="1" y="480"/>
                      <a:pt x="1" y="480"/>
                    </a:cubicBezTo>
                    <a:cubicBezTo>
                      <a:pt x="1" y="480"/>
                      <a:pt x="1" y="481"/>
                      <a:pt x="1" y="481"/>
                    </a:cubicBezTo>
                    <a:cubicBezTo>
                      <a:pt x="1" y="482"/>
                      <a:pt x="1" y="482"/>
                      <a:pt x="1" y="482"/>
                    </a:cubicBezTo>
                    <a:cubicBezTo>
                      <a:pt x="1" y="483"/>
                      <a:pt x="1" y="483"/>
                      <a:pt x="2" y="483"/>
                    </a:cubicBezTo>
                    <a:cubicBezTo>
                      <a:pt x="2" y="484"/>
                      <a:pt x="2" y="484"/>
                      <a:pt x="2" y="485"/>
                    </a:cubicBezTo>
                    <a:cubicBezTo>
                      <a:pt x="2" y="485"/>
                      <a:pt x="3" y="485"/>
                      <a:pt x="3" y="486"/>
                    </a:cubicBezTo>
                    <a:cubicBezTo>
                      <a:pt x="3" y="486"/>
                      <a:pt x="3" y="486"/>
                      <a:pt x="4" y="486"/>
                    </a:cubicBezTo>
                    <a:cubicBezTo>
                      <a:pt x="4" y="487"/>
                      <a:pt x="4" y="487"/>
                      <a:pt x="4" y="487"/>
                    </a:cubicBezTo>
                    <a:cubicBezTo>
                      <a:pt x="5" y="488"/>
                      <a:pt x="5" y="488"/>
                      <a:pt x="5" y="488"/>
                    </a:cubicBezTo>
                    <a:cubicBezTo>
                      <a:pt x="6" y="488"/>
                      <a:pt x="6" y="488"/>
                      <a:pt x="6" y="488"/>
                    </a:cubicBezTo>
                    <a:cubicBezTo>
                      <a:pt x="6" y="489"/>
                      <a:pt x="6" y="489"/>
                      <a:pt x="7" y="489"/>
                    </a:cubicBezTo>
                    <a:cubicBezTo>
                      <a:pt x="7" y="489"/>
                      <a:pt x="7" y="489"/>
                      <a:pt x="7" y="489"/>
                    </a:cubicBezTo>
                    <a:cubicBezTo>
                      <a:pt x="8" y="490"/>
                      <a:pt x="9" y="490"/>
                      <a:pt x="9" y="490"/>
                    </a:cubicBezTo>
                    <a:cubicBezTo>
                      <a:pt x="9" y="490"/>
                      <a:pt x="9" y="490"/>
                      <a:pt x="9" y="490"/>
                    </a:cubicBezTo>
                    <a:cubicBezTo>
                      <a:pt x="10" y="490"/>
                      <a:pt x="11" y="491"/>
                      <a:pt x="12" y="491"/>
                    </a:cubicBezTo>
                    <a:cubicBezTo>
                      <a:pt x="12" y="491"/>
                      <a:pt x="12" y="491"/>
                      <a:pt x="12" y="491"/>
                    </a:cubicBezTo>
                    <a:cubicBezTo>
                      <a:pt x="315" y="520"/>
                      <a:pt x="315" y="520"/>
                      <a:pt x="315" y="520"/>
                    </a:cubicBezTo>
                    <a:cubicBezTo>
                      <a:pt x="315" y="520"/>
                      <a:pt x="316" y="520"/>
                      <a:pt x="316" y="520"/>
                    </a:cubicBezTo>
                    <a:cubicBezTo>
                      <a:pt x="316" y="520"/>
                      <a:pt x="316" y="520"/>
                      <a:pt x="316" y="520"/>
                    </a:cubicBezTo>
                    <a:cubicBezTo>
                      <a:pt x="316" y="520"/>
                      <a:pt x="316" y="520"/>
                      <a:pt x="316" y="520"/>
                    </a:cubicBezTo>
                    <a:cubicBezTo>
                      <a:pt x="316" y="520"/>
                      <a:pt x="316" y="520"/>
                      <a:pt x="316" y="520"/>
                    </a:cubicBezTo>
                    <a:cubicBezTo>
                      <a:pt x="317" y="520"/>
                      <a:pt x="318" y="520"/>
                      <a:pt x="319" y="520"/>
                    </a:cubicBezTo>
                    <a:cubicBezTo>
                      <a:pt x="319" y="520"/>
                      <a:pt x="319" y="520"/>
                      <a:pt x="319" y="520"/>
                    </a:cubicBezTo>
                    <a:cubicBezTo>
                      <a:pt x="319" y="520"/>
                      <a:pt x="319" y="520"/>
                      <a:pt x="319" y="520"/>
                    </a:cubicBezTo>
                    <a:cubicBezTo>
                      <a:pt x="319" y="520"/>
                      <a:pt x="319" y="520"/>
                      <a:pt x="320" y="520"/>
                    </a:cubicBezTo>
                    <a:cubicBezTo>
                      <a:pt x="320" y="520"/>
                      <a:pt x="320" y="520"/>
                      <a:pt x="321" y="519"/>
                    </a:cubicBezTo>
                    <a:cubicBezTo>
                      <a:pt x="321" y="519"/>
                      <a:pt x="321" y="519"/>
                      <a:pt x="321" y="519"/>
                    </a:cubicBezTo>
                    <a:cubicBezTo>
                      <a:pt x="321" y="519"/>
                      <a:pt x="322" y="519"/>
                      <a:pt x="322" y="519"/>
                    </a:cubicBezTo>
                    <a:cubicBezTo>
                      <a:pt x="322" y="519"/>
                      <a:pt x="323" y="519"/>
                      <a:pt x="323" y="518"/>
                    </a:cubicBezTo>
                    <a:cubicBezTo>
                      <a:pt x="323" y="518"/>
                      <a:pt x="323" y="518"/>
                      <a:pt x="323" y="518"/>
                    </a:cubicBezTo>
                    <a:cubicBezTo>
                      <a:pt x="324" y="518"/>
                      <a:pt x="324" y="518"/>
                      <a:pt x="324" y="518"/>
                    </a:cubicBezTo>
                    <a:cubicBezTo>
                      <a:pt x="324" y="517"/>
                      <a:pt x="325" y="517"/>
                      <a:pt x="325" y="517"/>
                    </a:cubicBezTo>
                    <a:cubicBezTo>
                      <a:pt x="325" y="517"/>
                      <a:pt x="325" y="517"/>
                      <a:pt x="325" y="516"/>
                    </a:cubicBezTo>
                    <a:cubicBezTo>
                      <a:pt x="325" y="516"/>
                      <a:pt x="325" y="516"/>
                      <a:pt x="325" y="516"/>
                    </a:cubicBezTo>
                    <a:cubicBezTo>
                      <a:pt x="608" y="213"/>
                      <a:pt x="608" y="213"/>
                      <a:pt x="608" y="213"/>
                    </a:cubicBezTo>
                    <a:cubicBezTo>
                      <a:pt x="632" y="320"/>
                      <a:pt x="632" y="320"/>
                      <a:pt x="632" y="320"/>
                    </a:cubicBezTo>
                    <a:cubicBezTo>
                      <a:pt x="632" y="320"/>
                      <a:pt x="632" y="320"/>
                      <a:pt x="632" y="321"/>
                    </a:cubicBezTo>
                    <a:cubicBezTo>
                      <a:pt x="634" y="325"/>
                      <a:pt x="662" y="425"/>
                      <a:pt x="726" y="487"/>
                    </a:cubicBezTo>
                    <a:cubicBezTo>
                      <a:pt x="729" y="490"/>
                      <a:pt x="732" y="491"/>
                      <a:pt x="735" y="491"/>
                    </a:cubicBezTo>
                    <a:cubicBezTo>
                      <a:pt x="738" y="491"/>
                      <a:pt x="742" y="489"/>
                      <a:pt x="744" y="487"/>
                    </a:cubicBezTo>
                    <a:cubicBezTo>
                      <a:pt x="749" y="482"/>
                      <a:pt x="749" y="474"/>
                      <a:pt x="744" y="469"/>
                    </a:cubicBezTo>
                    <a:close/>
                  </a:path>
                </a:pathLst>
              </a:custGeom>
              <a:solidFill>
                <a:srgbClr val="3B3E9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2">
                <a:extLst>
                  <a:ext uri="{FF2B5EF4-FFF2-40B4-BE49-F238E27FC236}">
                    <a16:creationId xmlns:a16="http://schemas.microsoft.com/office/drawing/2014/main" id="{DE545827-CCBA-4421-BDB1-B84DDA7E6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6433" y="2242027"/>
                <a:ext cx="794140" cy="748523"/>
              </a:xfrm>
              <a:custGeom>
                <a:avLst/>
                <a:gdLst>
                  <a:gd name="T0" fmla="*/ 64 w 161"/>
                  <a:gd name="T1" fmla="*/ 152 h 152"/>
                  <a:gd name="T2" fmla="*/ 40 w 161"/>
                  <a:gd name="T3" fmla="*/ 151 h 152"/>
                  <a:gd name="T4" fmla="*/ 26 w 161"/>
                  <a:gd name="T5" fmla="*/ 133 h 152"/>
                  <a:gd name="T6" fmla="*/ 44 w 161"/>
                  <a:gd name="T7" fmla="*/ 120 h 152"/>
                  <a:gd name="T8" fmla="*/ 119 w 161"/>
                  <a:gd name="T9" fmla="*/ 106 h 152"/>
                  <a:gd name="T10" fmla="*/ 129 w 161"/>
                  <a:gd name="T11" fmla="*/ 81 h 152"/>
                  <a:gd name="T12" fmla="*/ 117 w 161"/>
                  <a:gd name="T13" fmla="*/ 50 h 152"/>
                  <a:gd name="T14" fmla="*/ 58 w 161"/>
                  <a:gd name="T15" fmla="*/ 32 h 152"/>
                  <a:gd name="T16" fmla="*/ 58 w 161"/>
                  <a:gd name="T17" fmla="*/ 32 h 152"/>
                  <a:gd name="T18" fmla="*/ 15 w 161"/>
                  <a:gd name="T19" fmla="*/ 32 h 152"/>
                  <a:gd name="T20" fmla="*/ 0 w 161"/>
                  <a:gd name="T21" fmla="*/ 17 h 152"/>
                  <a:gd name="T22" fmla="*/ 15 w 161"/>
                  <a:gd name="T23" fmla="*/ 1 h 152"/>
                  <a:gd name="T24" fmla="*/ 57 w 161"/>
                  <a:gd name="T25" fmla="*/ 1 h 152"/>
                  <a:gd name="T26" fmla="*/ 139 w 161"/>
                  <a:gd name="T27" fmla="*/ 27 h 152"/>
                  <a:gd name="T28" fmla="*/ 161 w 161"/>
                  <a:gd name="T29" fmla="*/ 81 h 152"/>
                  <a:gd name="T30" fmla="*/ 139 w 161"/>
                  <a:gd name="T31" fmla="*/ 130 h 152"/>
                  <a:gd name="T32" fmla="*/ 64 w 161"/>
                  <a:gd name="T33" fmla="*/ 152 h 152"/>
                  <a:gd name="T34" fmla="*/ 64 w 161"/>
                  <a:gd name="T35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1" h="152">
                    <a:moveTo>
                      <a:pt x="64" y="152"/>
                    </a:moveTo>
                    <a:cubicBezTo>
                      <a:pt x="51" y="152"/>
                      <a:pt x="42" y="151"/>
                      <a:pt x="40" y="151"/>
                    </a:cubicBezTo>
                    <a:cubicBezTo>
                      <a:pt x="31" y="150"/>
                      <a:pt x="25" y="142"/>
                      <a:pt x="26" y="133"/>
                    </a:cubicBezTo>
                    <a:cubicBezTo>
                      <a:pt x="28" y="125"/>
                      <a:pt x="36" y="119"/>
                      <a:pt x="44" y="120"/>
                    </a:cubicBezTo>
                    <a:cubicBezTo>
                      <a:pt x="58" y="122"/>
                      <a:pt x="100" y="123"/>
                      <a:pt x="119" y="106"/>
                    </a:cubicBezTo>
                    <a:cubicBezTo>
                      <a:pt x="126" y="100"/>
                      <a:pt x="129" y="92"/>
                      <a:pt x="129" y="81"/>
                    </a:cubicBezTo>
                    <a:cubicBezTo>
                      <a:pt x="129" y="68"/>
                      <a:pt x="126" y="57"/>
                      <a:pt x="117" y="50"/>
                    </a:cubicBezTo>
                    <a:cubicBezTo>
                      <a:pt x="97" y="31"/>
                      <a:pt x="59" y="32"/>
                      <a:pt x="58" y="32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7" y="32"/>
                      <a:pt x="0" y="25"/>
                      <a:pt x="0" y="17"/>
                    </a:cubicBezTo>
                    <a:cubicBezTo>
                      <a:pt x="0" y="8"/>
                      <a:pt x="7" y="1"/>
                      <a:pt x="15" y="1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63" y="1"/>
                      <a:pt x="110" y="0"/>
                      <a:pt x="139" y="27"/>
                    </a:cubicBezTo>
                    <a:cubicBezTo>
                      <a:pt x="153" y="41"/>
                      <a:pt x="161" y="59"/>
                      <a:pt x="161" y="81"/>
                    </a:cubicBezTo>
                    <a:cubicBezTo>
                      <a:pt x="161" y="101"/>
                      <a:pt x="153" y="118"/>
                      <a:pt x="139" y="130"/>
                    </a:cubicBezTo>
                    <a:cubicBezTo>
                      <a:pt x="118" y="149"/>
                      <a:pt x="86" y="152"/>
                      <a:pt x="64" y="152"/>
                    </a:cubicBezTo>
                    <a:cubicBezTo>
                      <a:pt x="64" y="152"/>
                      <a:pt x="64" y="152"/>
                      <a:pt x="64" y="152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3">
                <a:extLst>
                  <a:ext uri="{FF2B5EF4-FFF2-40B4-BE49-F238E27FC236}">
                    <a16:creationId xmlns:a16="http://schemas.microsoft.com/office/drawing/2014/main" id="{29BB9396-871D-44D1-B452-308B7C3CB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5935" y="2020165"/>
                <a:ext cx="955870" cy="315167"/>
              </a:xfrm>
              <a:custGeom>
                <a:avLst/>
                <a:gdLst>
                  <a:gd name="T0" fmla="*/ 178 w 194"/>
                  <a:gd name="T1" fmla="*/ 64 h 64"/>
                  <a:gd name="T2" fmla="*/ 73 w 194"/>
                  <a:gd name="T3" fmla="*/ 64 h 64"/>
                  <a:gd name="T4" fmla="*/ 5 w 194"/>
                  <a:gd name="T5" fmla="*/ 26 h 64"/>
                  <a:gd name="T6" fmla="*/ 9 w 194"/>
                  <a:gd name="T7" fmla="*/ 4 h 64"/>
                  <a:gd name="T8" fmla="*/ 31 w 194"/>
                  <a:gd name="T9" fmla="*/ 9 h 64"/>
                  <a:gd name="T10" fmla="*/ 73 w 194"/>
                  <a:gd name="T11" fmla="*/ 33 h 64"/>
                  <a:gd name="T12" fmla="*/ 178 w 194"/>
                  <a:gd name="T13" fmla="*/ 33 h 64"/>
                  <a:gd name="T14" fmla="*/ 194 w 194"/>
                  <a:gd name="T15" fmla="*/ 49 h 64"/>
                  <a:gd name="T16" fmla="*/ 178 w 194"/>
                  <a:gd name="T17" fmla="*/ 64 h 64"/>
                  <a:gd name="T18" fmla="*/ 178 w 194"/>
                  <a:gd name="T1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64">
                    <a:moveTo>
                      <a:pt x="178" y="64"/>
                    </a:moveTo>
                    <a:cubicBezTo>
                      <a:pt x="73" y="64"/>
                      <a:pt x="73" y="64"/>
                      <a:pt x="73" y="64"/>
                    </a:cubicBezTo>
                    <a:cubicBezTo>
                      <a:pt x="32" y="64"/>
                      <a:pt x="6" y="28"/>
                      <a:pt x="5" y="26"/>
                    </a:cubicBezTo>
                    <a:cubicBezTo>
                      <a:pt x="0" y="19"/>
                      <a:pt x="2" y="9"/>
                      <a:pt x="9" y="4"/>
                    </a:cubicBezTo>
                    <a:cubicBezTo>
                      <a:pt x="17" y="0"/>
                      <a:pt x="26" y="1"/>
                      <a:pt x="31" y="9"/>
                    </a:cubicBezTo>
                    <a:cubicBezTo>
                      <a:pt x="31" y="9"/>
                      <a:pt x="49" y="33"/>
                      <a:pt x="73" y="33"/>
                    </a:cubicBezTo>
                    <a:cubicBezTo>
                      <a:pt x="178" y="33"/>
                      <a:pt x="178" y="33"/>
                      <a:pt x="178" y="33"/>
                    </a:cubicBezTo>
                    <a:cubicBezTo>
                      <a:pt x="187" y="33"/>
                      <a:pt x="194" y="40"/>
                      <a:pt x="194" y="49"/>
                    </a:cubicBezTo>
                    <a:cubicBezTo>
                      <a:pt x="194" y="57"/>
                      <a:pt x="187" y="64"/>
                      <a:pt x="178" y="64"/>
                    </a:cubicBezTo>
                    <a:cubicBezTo>
                      <a:pt x="178" y="64"/>
                      <a:pt x="178" y="64"/>
                      <a:pt x="178" y="64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94034008-21E4-4C81-92AC-73EEFD46C59A}"/>
                  </a:ext>
                </a:extLst>
              </p:cNvPr>
              <p:cNvSpPr/>
              <p:nvPr/>
            </p:nvSpPr>
            <p:spPr>
              <a:xfrm>
                <a:off x="6787122" y="3508537"/>
                <a:ext cx="2175830" cy="217583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3" name="Freeform 8">
                <a:extLst>
                  <a:ext uri="{FF2B5EF4-FFF2-40B4-BE49-F238E27FC236}">
                    <a16:creationId xmlns:a16="http://schemas.microsoft.com/office/drawing/2014/main" id="{FB791DD4-07FD-47FC-8D90-5E61411397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2303" y="3558680"/>
                <a:ext cx="2069322" cy="2071397"/>
              </a:xfrm>
              <a:custGeom>
                <a:avLst/>
                <a:gdLst>
                  <a:gd name="T0" fmla="*/ 210 w 420"/>
                  <a:gd name="T1" fmla="*/ 10 h 420"/>
                  <a:gd name="T2" fmla="*/ 9 w 420"/>
                  <a:gd name="T3" fmla="*/ 210 h 420"/>
                  <a:gd name="T4" fmla="*/ 210 w 420"/>
                  <a:gd name="T5" fmla="*/ 411 h 420"/>
                  <a:gd name="T6" fmla="*/ 411 w 420"/>
                  <a:gd name="T7" fmla="*/ 210 h 420"/>
                  <a:gd name="T8" fmla="*/ 210 w 420"/>
                  <a:gd name="T9" fmla="*/ 10 h 420"/>
                  <a:gd name="T10" fmla="*/ 210 w 420"/>
                  <a:gd name="T11" fmla="*/ 10 h 420"/>
                  <a:gd name="T12" fmla="*/ 210 w 420"/>
                  <a:gd name="T13" fmla="*/ 420 h 420"/>
                  <a:gd name="T14" fmla="*/ 0 w 420"/>
                  <a:gd name="T15" fmla="*/ 210 h 420"/>
                  <a:gd name="T16" fmla="*/ 210 w 420"/>
                  <a:gd name="T17" fmla="*/ 0 h 420"/>
                  <a:gd name="T18" fmla="*/ 420 w 420"/>
                  <a:gd name="T19" fmla="*/ 210 h 420"/>
                  <a:gd name="T20" fmla="*/ 210 w 420"/>
                  <a:gd name="T21" fmla="*/ 420 h 420"/>
                  <a:gd name="T22" fmla="*/ 210 w 420"/>
                  <a:gd name="T23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0" h="420">
                    <a:moveTo>
                      <a:pt x="210" y="10"/>
                    </a:moveTo>
                    <a:cubicBezTo>
                      <a:pt x="99" y="10"/>
                      <a:pt x="9" y="100"/>
                      <a:pt x="9" y="210"/>
                    </a:cubicBezTo>
                    <a:cubicBezTo>
                      <a:pt x="9" y="321"/>
                      <a:pt x="99" y="411"/>
                      <a:pt x="210" y="411"/>
                    </a:cubicBezTo>
                    <a:cubicBezTo>
                      <a:pt x="321" y="411"/>
                      <a:pt x="411" y="321"/>
                      <a:pt x="411" y="210"/>
                    </a:cubicBezTo>
                    <a:cubicBezTo>
                      <a:pt x="411" y="100"/>
                      <a:pt x="321" y="10"/>
                      <a:pt x="210" y="10"/>
                    </a:cubicBezTo>
                    <a:cubicBezTo>
                      <a:pt x="210" y="10"/>
                      <a:pt x="210" y="10"/>
                      <a:pt x="210" y="10"/>
                    </a:cubicBezTo>
                    <a:close/>
                    <a:moveTo>
                      <a:pt x="210" y="420"/>
                    </a:moveTo>
                    <a:cubicBezTo>
                      <a:pt x="94" y="420"/>
                      <a:pt x="0" y="326"/>
                      <a:pt x="0" y="210"/>
                    </a:cubicBezTo>
                    <a:cubicBezTo>
                      <a:pt x="0" y="94"/>
                      <a:pt x="94" y="0"/>
                      <a:pt x="210" y="0"/>
                    </a:cubicBezTo>
                    <a:cubicBezTo>
                      <a:pt x="326" y="0"/>
                      <a:pt x="420" y="94"/>
                      <a:pt x="420" y="210"/>
                    </a:cubicBezTo>
                    <a:cubicBezTo>
                      <a:pt x="420" y="326"/>
                      <a:pt x="326" y="420"/>
                      <a:pt x="210" y="420"/>
                    </a:cubicBezTo>
                    <a:cubicBezTo>
                      <a:pt x="210" y="420"/>
                      <a:pt x="210" y="420"/>
                      <a:pt x="210" y="42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" name="Oval 2">
                <a:extLst>
                  <a:ext uri="{FF2B5EF4-FFF2-40B4-BE49-F238E27FC236}">
                    <a16:creationId xmlns:a16="http://schemas.microsoft.com/office/drawing/2014/main" id="{EF3CE449-A9AC-48FC-8DD6-8455E851E2AF}"/>
                  </a:ext>
                </a:extLst>
              </p:cNvPr>
              <p:cNvSpPr/>
              <p:nvPr/>
            </p:nvSpPr>
            <p:spPr>
              <a:xfrm>
                <a:off x="3229048" y="3508537"/>
                <a:ext cx="2175830" cy="217583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EC780AE6-DD59-497A-B870-2D6DCFB1A822}"/>
              </a:ext>
            </a:extLst>
          </p:cNvPr>
          <p:cNvSpPr/>
          <p:nvPr/>
        </p:nvSpPr>
        <p:spPr>
          <a:xfrm>
            <a:off x="3834597" y="2354422"/>
            <a:ext cx="1554229" cy="1504777"/>
          </a:xfrm>
          <a:prstGeom prst="ellipse">
            <a:avLst/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FD9ADA8-7D01-417C-A938-1650BBC7177F}"/>
              </a:ext>
            </a:extLst>
          </p:cNvPr>
          <p:cNvSpPr/>
          <p:nvPr/>
        </p:nvSpPr>
        <p:spPr>
          <a:xfrm>
            <a:off x="6634079" y="2354422"/>
            <a:ext cx="1554229" cy="1504777"/>
          </a:xfrm>
          <a:prstGeom prst="ellipse">
            <a:avLst/>
          </a:prstGeom>
          <a:solidFill>
            <a:srgbClr val="EF4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 descr="Playbook">
            <a:extLst>
              <a:ext uri="{FF2B5EF4-FFF2-40B4-BE49-F238E27FC236}">
                <a16:creationId xmlns:a16="http://schemas.microsoft.com/office/drawing/2014/main" id="{F0A8DD08-F604-46B1-AC01-5D9C223061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43083" y="4363559"/>
            <a:ext cx="670323" cy="6703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C4DBFC0-B77C-43D5-909D-FADE3F5341ED}"/>
              </a:ext>
            </a:extLst>
          </p:cNvPr>
          <p:cNvSpPr txBox="1"/>
          <p:nvPr/>
        </p:nvSpPr>
        <p:spPr>
          <a:xfrm>
            <a:off x="1080396" y="2010726"/>
            <a:ext cx="38747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>
                <a:solidFill>
                  <a:schemeClr val="tx1">
                    <a:lumMod val="65000"/>
                    <a:lumOff val="35000"/>
                  </a:schemeClr>
                </a:solidFill>
              </a:rPr>
              <a:t>Source: </a:t>
            </a:r>
            <a:r>
              <a:rPr lang="en-US" sz="1050" err="1">
                <a:solidFill>
                  <a:schemeClr val="tx1">
                    <a:lumMod val="65000"/>
                    <a:lumOff val="35000"/>
                  </a:schemeClr>
                </a:solidFill>
              </a:rPr>
              <a:t>MarketsandMarkets</a:t>
            </a:r>
            <a:r>
              <a:rPr lang="en-US" sz="105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050">
                <a:hlinkClick r:id="rId6"/>
              </a:rPr>
              <a:t>Research</a:t>
            </a:r>
            <a:r>
              <a:rPr lang="en-US" sz="1050"/>
              <a:t> </a:t>
            </a:r>
            <a:r>
              <a:rPr lang="en-US" sz="1050">
                <a:solidFill>
                  <a:schemeClr val="tx1">
                    <a:lumMod val="65000"/>
                    <a:lumOff val="35000"/>
                  </a:schemeClr>
                </a:solidFill>
              </a:rPr>
              <a:t>published on </a:t>
            </a:r>
            <a:r>
              <a:rPr lang="en-US" sz="1050" err="1">
                <a:solidFill>
                  <a:schemeClr val="tx1">
                    <a:lumMod val="65000"/>
                    <a:lumOff val="35000"/>
                  </a:schemeClr>
                </a:solidFill>
              </a:rPr>
              <a:t>BusinessInsider</a:t>
            </a:r>
            <a:r>
              <a:rPr lang="en-US" sz="105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B4A6363-86D8-410F-9088-5973ED4708E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1027418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57" y="147412"/>
            <a:ext cx="11059886" cy="810532"/>
          </a:xfrm>
        </p:spPr>
        <p:txBody>
          <a:bodyPr/>
          <a:lstStyle/>
          <a:p>
            <a:r>
              <a:rPr lang="pt-BR">
                <a:latin typeface="Century Gothic"/>
              </a:rPr>
              <a:t>A SIMPLE W</a:t>
            </a:r>
            <a:r>
              <a:rPr lang="en-US">
                <a:latin typeface="Century Gothic"/>
              </a:rPr>
              <a:t>EB APPLICATION 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7CD6C5-D062-4CB9-A7C2-6C3989719B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281" t="-2255" r="2193" b="6446"/>
          <a:stretch/>
        </p:blipFill>
        <p:spPr>
          <a:xfrm>
            <a:off x="11808979" y="0"/>
            <a:ext cx="380994" cy="38366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pic>
        <p:nvPicPr>
          <p:cNvPr id="3" name="Picture 3" descr="Logo&#10;&#10;Description automatically generated">
            <a:extLst>
              <a:ext uri="{FF2B5EF4-FFF2-40B4-BE49-F238E27FC236}">
                <a16:creationId xmlns:a16="http://schemas.microsoft.com/office/drawing/2014/main" id="{1ECA1EB9-0BAE-44E1-A21F-2B7895048C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5614" y="2300515"/>
            <a:ext cx="2090058" cy="1286329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338B937E-1381-4E84-B315-EC6162E43D4F}"/>
              </a:ext>
            </a:extLst>
          </p:cNvPr>
          <p:cNvSpPr/>
          <p:nvPr/>
        </p:nvSpPr>
        <p:spPr>
          <a:xfrm>
            <a:off x="7339438" y="2678683"/>
            <a:ext cx="461338" cy="37577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8D8D8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4F8374-86ED-44B8-AC89-15FE0896E58A}"/>
              </a:ext>
            </a:extLst>
          </p:cNvPr>
          <p:cNvSpPr txBox="1"/>
          <p:nvPr/>
        </p:nvSpPr>
        <p:spPr>
          <a:xfrm>
            <a:off x="5175703" y="3742417"/>
            <a:ext cx="274319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ea typeface="+mn-lt"/>
                <a:cs typeface="+mn-lt"/>
              </a:rPr>
              <a:t>Server - Side Web Famework</a:t>
            </a:r>
            <a:r>
              <a:rPr lang="en-US">
                <a:ea typeface="+mn-lt"/>
                <a:cs typeface="+mn-lt"/>
              </a:rPr>
              <a:t>- It is the glue between our Python functions and web page.</a:t>
            </a:r>
            <a:endParaRPr lang="en-US"/>
          </a:p>
        </p:txBody>
      </p:sp>
      <p:pic>
        <p:nvPicPr>
          <p:cNvPr id="8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9321FB89-FD9C-4963-9B72-AB746321F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686" y="2425206"/>
            <a:ext cx="2743200" cy="1027874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8AB7F9F1-8FC5-4613-9012-FD9237284F33}"/>
              </a:ext>
            </a:extLst>
          </p:cNvPr>
          <p:cNvSpPr/>
          <p:nvPr/>
        </p:nvSpPr>
        <p:spPr>
          <a:xfrm>
            <a:off x="4264224" y="2733112"/>
            <a:ext cx="488552" cy="366703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3" descr="A picture containing bubble chart&#10;&#10;Description automatically generated">
            <a:extLst>
              <a:ext uri="{FF2B5EF4-FFF2-40B4-BE49-F238E27FC236}">
                <a16:creationId xmlns:a16="http://schemas.microsoft.com/office/drawing/2014/main" id="{9CAAC2B8-1CB1-4A5A-8EB6-587B288631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9685" y="817590"/>
            <a:ext cx="3858985" cy="4569677"/>
          </a:xfrm>
          <a:prstGeom prst="rect">
            <a:avLst/>
          </a:prstGeom>
        </p:spPr>
      </p:pic>
      <p:pic>
        <p:nvPicPr>
          <p:cNvPr id="14" name="Picture 14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938522EE-9B0F-40B4-A287-BF80BC0FAC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686" y="3586190"/>
            <a:ext cx="2262415" cy="1245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5497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7" name="Picture 606" descr="A picture containing sitting&#10;&#10;Description automatically generated">
            <a:extLst>
              <a:ext uri="{FF2B5EF4-FFF2-40B4-BE49-F238E27FC236}">
                <a16:creationId xmlns:a16="http://schemas.microsoft.com/office/drawing/2014/main" id="{3649395B-1B46-40F3-94A7-087BD7E6DA0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25"/>
          <a:stretch/>
        </p:blipFill>
        <p:spPr>
          <a:xfrm>
            <a:off x="9227" y="1002634"/>
            <a:ext cx="12173548" cy="5478414"/>
          </a:xfrm>
          <a:prstGeom prst="rect">
            <a:avLst/>
          </a:prstGeom>
        </p:spPr>
      </p:pic>
      <p:sp>
        <p:nvSpPr>
          <p:cNvPr id="549" name="Freeform: Shape 548">
            <a:extLst>
              <a:ext uri="{FF2B5EF4-FFF2-40B4-BE49-F238E27FC236}">
                <a16:creationId xmlns:a16="http://schemas.microsoft.com/office/drawing/2014/main" id="{E6237BF1-0D2D-49B5-B1A9-634CB3B9ACA7}"/>
              </a:ext>
            </a:extLst>
          </p:cNvPr>
          <p:cNvSpPr>
            <a:spLocks/>
          </p:cNvSpPr>
          <p:nvPr/>
        </p:nvSpPr>
        <p:spPr bwMode="auto">
          <a:xfrm flipH="1" flipV="1">
            <a:off x="-2" y="0"/>
            <a:ext cx="6163847" cy="3200400"/>
          </a:xfrm>
          <a:custGeom>
            <a:avLst/>
            <a:gdLst>
              <a:gd name="connsiteX0" fmla="*/ 4188733 w 4188733"/>
              <a:gd name="connsiteY0" fmla="*/ 2174879 h 2174879"/>
              <a:gd name="connsiteX1" fmla="*/ 255305 w 4188733"/>
              <a:gd name="connsiteY1" fmla="*/ 2174879 h 2174879"/>
              <a:gd name="connsiteX2" fmla="*/ 231274 w 4188733"/>
              <a:gd name="connsiteY2" fmla="*/ 2146885 h 2174879"/>
              <a:gd name="connsiteX3" fmla="*/ 378146 w 4188733"/>
              <a:gd name="connsiteY3" fmla="*/ 1135996 h 2174879"/>
              <a:gd name="connsiteX4" fmla="*/ 948142 w 4188733"/>
              <a:gd name="connsiteY4" fmla="*/ 469441 h 2174879"/>
              <a:gd name="connsiteX5" fmla="*/ 2622289 w 4188733"/>
              <a:gd name="connsiteY5" fmla="*/ 375439 h 2174879"/>
              <a:gd name="connsiteX6" fmla="*/ 3352702 w 4188733"/>
              <a:gd name="connsiteY6" fmla="*/ 765118 h 2174879"/>
              <a:gd name="connsiteX7" fmla="*/ 4166737 w 4188733"/>
              <a:gd name="connsiteY7" fmla="*/ 602752 h 2174879"/>
              <a:gd name="connsiteX8" fmla="*/ 4188733 w 4188733"/>
              <a:gd name="connsiteY8" fmla="*/ 615338 h 217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88733" h="2174879">
                <a:moveTo>
                  <a:pt x="4188733" y="2174879"/>
                </a:moveTo>
                <a:lnTo>
                  <a:pt x="255305" y="2174879"/>
                </a:lnTo>
                <a:lnTo>
                  <a:pt x="231274" y="2146885"/>
                </a:lnTo>
                <a:cubicBezTo>
                  <a:pt x="46965" y="1922403"/>
                  <a:pt x="-243900" y="1435946"/>
                  <a:pt x="378146" y="1135996"/>
                </a:cubicBezTo>
                <a:cubicBezTo>
                  <a:pt x="903771" y="881338"/>
                  <a:pt x="777484" y="819810"/>
                  <a:pt x="948142" y="469441"/>
                </a:cubicBezTo>
                <a:cubicBezTo>
                  <a:pt x="1156343" y="38743"/>
                  <a:pt x="2190526" y="-282571"/>
                  <a:pt x="2622289" y="375439"/>
                </a:cubicBezTo>
                <a:cubicBezTo>
                  <a:pt x="2939711" y="860828"/>
                  <a:pt x="3120608" y="850574"/>
                  <a:pt x="3352702" y="765118"/>
                </a:cubicBezTo>
                <a:cubicBezTo>
                  <a:pt x="3618927" y="667698"/>
                  <a:pt x="3849314" y="457477"/>
                  <a:pt x="4166737" y="602752"/>
                </a:cubicBezTo>
                <a:lnTo>
                  <a:pt x="4188733" y="615338"/>
                </a:lnTo>
                <a:close/>
              </a:path>
            </a:pathLst>
          </a:custGeom>
          <a:solidFill>
            <a:srgbClr val="EF4B3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10" name="Freeform: Shape 609">
            <a:extLst>
              <a:ext uri="{FF2B5EF4-FFF2-40B4-BE49-F238E27FC236}">
                <a16:creationId xmlns:a16="http://schemas.microsoft.com/office/drawing/2014/main" id="{AC85F261-DAEE-4062-A0C4-BC881FDC1A6F}"/>
              </a:ext>
            </a:extLst>
          </p:cNvPr>
          <p:cNvSpPr>
            <a:spLocks/>
          </p:cNvSpPr>
          <p:nvPr/>
        </p:nvSpPr>
        <p:spPr bwMode="auto">
          <a:xfrm flipV="1">
            <a:off x="6404875" y="1532154"/>
            <a:ext cx="5777898" cy="4593243"/>
          </a:xfrm>
          <a:custGeom>
            <a:avLst/>
            <a:gdLst>
              <a:gd name="connsiteX0" fmla="*/ 5221673 w 5777898"/>
              <a:gd name="connsiteY0" fmla="*/ 4591517 h 4593243"/>
              <a:gd name="connsiteX1" fmla="*/ 5777253 w 5777898"/>
              <a:gd name="connsiteY1" fmla="*/ 4468718 h 4593243"/>
              <a:gd name="connsiteX2" fmla="*/ 5777898 w 5777898"/>
              <a:gd name="connsiteY2" fmla="*/ 4468417 h 4593243"/>
              <a:gd name="connsiteX3" fmla="*/ 5777898 w 5777898"/>
              <a:gd name="connsiteY3" fmla="*/ 894132 h 4593243"/>
              <a:gd name="connsiteX4" fmla="*/ 5720653 w 5777898"/>
              <a:gd name="connsiteY4" fmla="*/ 857798 h 4593243"/>
              <a:gd name="connsiteX5" fmla="*/ 5613222 w 5777898"/>
              <a:gd name="connsiteY5" fmla="*/ 802354 h 4593243"/>
              <a:gd name="connsiteX6" fmla="*/ 4529617 w 5777898"/>
              <a:gd name="connsiteY6" fmla="*/ 1018489 h 4593243"/>
              <a:gd name="connsiteX7" fmla="*/ 3557325 w 5777898"/>
              <a:gd name="connsiteY7" fmla="*/ 499766 h 4593243"/>
              <a:gd name="connsiteX8" fmla="*/ 1328779 w 5777898"/>
              <a:gd name="connsiteY8" fmla="*/ 624898 h 4593243"/>
              <a:gd name="connsiteX9" fmla="*/ 570029 w 5777898"/>
              <a:gd name="connsiteY9" fmla="*/ 1512185 h 4593243"/>
              <a:gd name="connsiteX10" fmla="*/ 387552 w 5777898"/>
              <a:gd name="connsiteY10" fmla="*/ 1616832 h 4593243"/>
              <a:gd name="connsiteX11" fmla="*/ 369717 w 5777898"/>
              <a:gd name="connsiteY11" fmla="*/ 1631577 h 4593243"/>
              <a:gd name="connsiteX12" fmla="*/ 354164 w 5777898"/>
              <a:gd name="connsiteY12" fmla="*/ 1638819 h 4593243"/>
              <a:gd name="connsiteX13" fmla="*/ 1033390 w 5777898"/>
              <a:gd name="connsiteY13" fmla="*/ 3051484 h 4593243"/>
              <a:gd name="connsiteX14" fmla="*/ 2110179 w 5777898"/>
              <a:gd name="connsiteY14" fmla="*/ 3790890 h 4593243"/>
              <a:gd name="connsiteX15" fmla="*/ 3193783 w 5777898"/>
              <a:gd name="connsiteY15" fmla="*/ 3574757 h 4593243"/>
              <a:gd name="connsiteX16" fmla="*/ 4166075 w 5777898"/>
              <a:gd name="connsiteY16" fmla="*/ 4093478 h 4593243"/>
              <a:gd name="connsiteX17" fmla="*/ 5221673 w 5777898"/>
              <a:gd name="connsiteY17" fmla="*/ 4591517 h 4593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777898" h="4593243">
                <a:moveTo>
                  <a:pt x="5221673" y="4591517"/>
                </a:moveTo>
                <a:cubicBezTo>
                  <a:pt x="5414148" y="4582423"/>
                  <a:pt x="5605290" y="4537867"/>
                  <a:pt x="5777253" y="4468718"/>
                </a:cubicBezTo>
                <a:lnTo>
                  <a:pt x="5777898" y="4468417"/>
                </a:lnTo>
                <a:lnTo>
                  <a:pt x="5777898" y="894132"/>
                </a:lnTo>
                <a:lnTo>
                  <a:pt x="5720653" y="857798"/>
                </a:lnTo>
                <a:cubicBezTo>
                  <a:pt x="5686733" y="838267"/>
                  <a:pt x="5650989" y="819701"/>
                  <a:pt x="5613222" y="802354"/>
                </a:cubicBezTo>
                <a:cubicBezTo>
                  <a:pt x="5190685" y="608971"/>
                  <a:pt x="4884003" y="888808"/>
                  <a:pt x="4529617" y="1018489"/>
                </a:cubicBezTo>
                <a:cubicBezTo>
                  <a:pt x="4220665" y="1132244"/>
                  <a:pt x="3979864" y="1145894"/>
                  <a:pt x="3557325" y="499766"/>
                </a:cubicBezTo>
                <a:cubicBezTo>
                  <a:pt x="2982584" y="-376146"/>
                  <a:pt x="1605927" y="51572"/>
                  <a:pt x="1328779" y="624898"/>
                </a:cubicBezTo>
                <a:cubicBezTo>
                  <a:pt x="1101607" y="1091291"/>
                  <a:pt x="1269714" y="1173196"/>
                  <a:pt x="570029" y="1512185"/>
                </a:cubicBezTo>
                <a:cubicBezTo>
                  <a:pt x="501027" y="1545457"/>
                  <a:pt x="440461" y="1580455"/>
                  <a:pt x="387552" y="1616832"/>
                </a:cubicBezTo>
                <a:lnTo>
                  <a:pt x="369717" y="1631577"/>
                </a:lnTo>
                <a:lnTo>
                  <a:pt x="354164" y="1638819"/>
                </a:lnTo>
                <a:cubicBezTo>
                  <a:pt x="-353597" y="2066215"/>
                  <a:pt x="64364" y="3375685"/>
                  <a:pt x="1033390" y="3051484"/>
                </a:cubicBezTo>
                <a:cubicBezTo>
                  <a:pt x="1419580" y="2924078"/>
                  <a:pt x="1505905" y="3513328"/>
                  <a:pt x="2110179" y="3790890"/>
                </a:cubicBezTo>
                <a:cubicBezTo>
                  <a:pt x="2532716" y="3984273"/>
                  <a:pt x="2839397" y="3704436"/>
                  <a:pt x="3193783" y="3574757"/>
                </a:cubicBezTo>
                <a:cubicBezTo>
                  <a:pt x="3502736" y="3461000"/>
                  <a:pt x="3743537" y="3447350"/>
                  <a:pt x="4166075" y="4093478"/>
                </a:cubicBezTo>
                <a:cubicBezTo>
                  <a:pt x="4417524" y="4476689"/>
                  <a:pt x="4822467" y="4610377"/>
                  <a:pt x="5221673" y="4591517"/>
                </a:cubicBezTo>
                <a:close/>
              </a:path>
            </a:pathLst>
          </a:custGeom>
          <a:solidFill>
            <a:srgbClr val="EF4B3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551" name="Group 550">
            <a:extLst>
              <a:ext uri="{FF2B5EF4-FFF2-40B4-BE49-F238E27FC236}">
                <a16:creationId xmlns:a16="http://schemas.microsoft.com/office/drawing/2014/main" id="{1E589DFF-73EC-4E7A-BD61-43D46CFAB437}"/>
              </a:ext>
            </a:extLst>
          </p:cNvPr>
          <p:cNvGrpSpPr/>
          <p:nvPr/>
        </p:nvGrpSpPr>
        <p:grpSpPr>
          <a:xfrm>
            <a:off x="2278579" y="1458074"/>
            <a:ext cx="5867908" cy="4996606"/>
            <a:chOff x="1776865" y="3679825"/>
            <a:chExt cx="3143252" cy="2676525"/>
          </a:xfrm>
        </p:grpSpPr>
        <p:sp>
          <p:nvSpPr>
            <p:cNvPr id="552" name="Freeform 33">
              <a:extLst>
                <a:ext uri="{FF2B5EF4-FFF2-40B4-BE49-F238E27FC236}">
                  <a16:creationId xmlns:a16="http://schemas.microsoft.com/office/drawing/2014/main" id="{CB5C5F53-8117-4165-8027-BF2624B5C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241" y="5624513"/>
              <a:ext cx="133350" cy="255588"/>
            </a:xfrm>
            <a:custGeom>
              <a:avLst/>
              <a:gdLst>
                <a:gd name="T0" fmla="*/ 84 w 84"/>
                <a:gd name="T1" fmla="*/ 15 h 161"/>
                <a:gd name="T2" fmla="*/ 78 w 84"/>
                <a:gd name="T3" fmla="*/ 0 h 161"/>
                <a:gd name="T4" fmla="*/ 0 w 84"/>
                <a:gd name="T5" fmla="*/ 28 h 161"/>
                <a:gd name="T6" fmla="*/ 5 w 84"/>
                <a:gd name="T7" fmla="*/ 43 h 161"/>
                <a:gd name="T8" fmla="*/ 13 w 84"/>
                <a:gd name="T9" fmla="*/ 39 h 161"/>
                <a:gd name="T10" fmla="*/ 43 w 84"/>
                <a:gd name="T11" fmla="*/ 161 h 161"/>
                <a:gd name="T12" fmla="*/ 58 w 84"/>
                <a:gd name="T13" fmla="*/ 159 h 161"/>
                <a:gd name="T14" fmla="*/ 28 w 84"/>
                <a:gd name="T15" fmla="*/ 35 h 161"/>
                <a:gd name="T16" fmla="*/ 84 w 84"/>
                <a:gd name="T17" fmla="*/ 1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61">
                  <a:moveTo>
                    <a:pt x="84" y="15"/>
                  </a:moveTo>
                  <a:lnTo>
                    <a:pt x="78" y="0"/>
                  </a:lnTo>
                  <a:lnTo>
                    <a:pt x="0" y="28"/>
                  </a:lnTo>
                  <a:lnTo>
                    <a:pt x="5" y="43"/>
                  </a:lnTo>
                  <a:lnTo>
                    <a:pt x="13" y="39"/>
                  </a:lnTo>
                  <a:lnTo>
                    <a:pt x="43" y="161"/>
                  </a:lnTo>
                  <a:lnTo>
                    <a:pt x="58" y="159"/>
                  </a:lnTo>
                  <a:lnTo>
                    <a:pt x="28" y="35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" name="Freeform 34">
              <a:extLst>
                <a:ext uri="{FF2B5EF4-FFF2-40B4-BE49-F238E27FC236}">
                  <a16:creationId xmlns:a16="http://schemas.microsoft.com/office/drawing/2014/main" id="{B03E5530-DE30-4C7C-9B6F-BC642F66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204" y="4189413"/>
              <a:ext cx="58738" cy="160338"/>
            </a:xfrm>
            <a:custGeom>
              <a:avLst/>
              <a:gdLst>
                <a:gd name="T0" fmla="*/ 15 w 17"/>
                <a:gd name="T1" fmla="*/ 47 h 47"/>
                <a:gd name="T2" fmla="*/ 0 w 17"/>
                <a:gd name="T3" fmla="*/ 0 h 47"/>
                <a:gd name="T4" fmla="*/ 3 w 17"/>
                <a:gd name="T5" fmla="*/ 0 h 47"/>
                <a:gd name="T6" fmla="*/ 17 w 17"/>
                <a:gd name="T7" fmla="*/ 45 h 47"/>
                <a:gd name="T8" fmla="*/ 15 w 17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7">
                  <a:moveTo>
                    <a:pt x="15" y="47"/>
                  </a:moveTo>
                  <a:cubicBezTo>
                    <a:pt x="6" y="39"/>
                    <a:pt x="0" y="2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9" y="38"/>
                    <a:pt x="17" y="45"/>
                  </a:cubicBezTo>
                  <a:lnTo>
                    <a:pt x="15" y="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4" name="Freeform 35">
              <a:extLst>
                <a:ext uri="{FF2B5EF4-FFF2-40B4-BE49-F238E27FC236}">
                  <a16:creationId xmlns:a16="http://schemas.microsoft.com/office/drawing/2014/main" id="{E5271CFD-A71C-475C-9E62-222CC66B8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16" y="4743450"/>
              <a:ext cx="523875" cy="915988"/>
            </a:xfrm>
            <a:custGeom>
              <a:avLst/>
              <a:gdLst>
                <a:gd name="T0" fmla="*/ 56 w 154"/>
                <a:gd name="T1" fmla="*/ 0 h 269"/>
                <a:gd name="T2" fmla="*/ 0 w 154"/>
                <a:gd name="T3" fmla="*/ 39 h 269"/>
                <a:gd name="T4" fmla="*/ 124 w 154"/>
                <a:gd name="T5" fmla="*/ 215 h 269"/>
                <a:gd name="T6" fmla="*/ 110 w 154"/>
                <a:gd name="T7" fmla="*/ 251 h 269"/>
                <a:gd name="T8" fmla="*/ 103 w 154"/>
                <a:gd name="T9" fmla="*/ 269 h 269"/>
                <a:gd name="T10" fmla="*/ 144 w 154"/>
                <a:gd name="T11" fmla="*/ 261 h 269"/>
                <a:gd name="T12" fmla="*/ 154 w 154"/>
                <a:gd name="T13" fmla="*/ 221 h 269"/>
                <a:gd name="T14" fmla="*/ 154 w 154"/>
                <a:gd name="T15" fmla="*/ 191 h 269"/>
                <a:gd name="T16" fmla="*/ 137 w 154"/>
                <a:gd name="T17" fmla="*/ 183 h 269"/>
                <a:gd name="T18" fmla="*/ 97 w 154"/>
                <a:gd name="T19" fmla="*/ 88 h 269"/>
                <a:gd name="T20" fmla="*/ 56 w 154"/>
                <a:gd name="T21" fmla="*/ 50 h 269"/>
                <a:gd name="T22" fmla="*/ 97 w 154"/>
                <a:gd name="T23" fmla="*/ 33 h 269"/>
                <a:gd name="T24" fmla="*/ 56 w 154"/>
                <a:gd name="T25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69">
                  <a:moveTo>
                    <a:pt x="56" y="0"/>
                  </a:moveTo>
                  <a:cubicBezTo>
                    <a:pt x="56" y="0"/>
                    <a:pt x="0" y="24"/>
                    <a:pt x="0" y="39"/>
                  </a:cubicBezTo>
                  <a:cubicBezTo>
                    <a:pt x="0" y="54"/>
                    <a:pt x="124" y="215"/>
                    <a:pt x="124" y="215"/>
                  </a:cubicBezTo>
                  <a:cubicBezTo>
                    <a:pt x="124" y="215"/>
                    <a:pt x="131" y="242"/>
                    <a:pt x="110" y="251"/>
                  </a:cubicBezTo>
                  <a:cubicBezTo>
                    <a:pt x="89" y="259"/>
                    <a:pt x="103" y="269"/>
                    <a:pt x="103" y="269"/>
                  </a:cubicBezTo>
                  <a:cubicBezTo>
                    <a:pt x="144" y="261"/>
                    <a:pt x="144" y="261"/>
                    <a:pt x="144" y="261"/>
                  </a:cubicBezTo>
                  <a:cubicBezTo>
                    <a:pt x="154" y="221"/>
                    <a:pt x="154" y="221"/>
                    <a:pt x="154" y="221"/>
                  </a:cubicBezTo>
                  <a:cubicBezTo>
                    <a:pt x="154" y="191"/>
                    <a:pt x="154" y="191"/>
                    <a:pt x="154" y="191"/>
                  </a:cubicBezTo>
                  <a:cubicBezTo>
                    <a:pt x="137" y="183"/>
                    <a:pt x="137" y="183"/>
                    <a:pt x="137" y="183"/>
                  </a:cubicBezTo>
                  <a:cubicBezTo>
                    <a:pt x="137" y="183"/>
                    <a:pt x="105" y="120"/>
                    <a:pt x="97" y="88"/>
                  </a:cubicBezTo>
                  <a:cubicBezTo>
                    <a:pt x="89" y="55"/>
                    <a:pt x="56" y="50"/>
                    <a:pt x="56" y="50"/>
                  </a:cubicBezTo>
                  <a:cubicBezTo>
                    <a:pt x="97" y="33"/>
                    <a:pt x="97" y="33"/>
                    <a:pt x="97" y="33"/>
                  </a:cubicBezTo>
                  <a:lnTo>
                    <a:pt x="56" y="0"/>
                  </a:lnTo>
                  <a:close/>
                </a:path>
              </a:pathLst>
            </a:custGeom>
            <a:solidFill>
              <a:srgbClr val="FAA0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" name="Freeform 36">
              <a:extLst>
                <a:ext uri="{FF2B5EF4-FFF2-40B4-BE49-F238E27FC236}">
                  <a16:creationId xmlns:a16="http://schemas.microsoft.com/office/drawing/2014/main" id="{2B8684C3-1350-4325-9A4D-8321EC54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454" y="5353050"/>
              <a:ext cx="354013" cy="342900"/>
            </a:xfrm>
            <a:custGeom>
              <a:avLst/>
              <a:gdLst>
                <a:gd name="T0" fmla="*/ 104 w 104"/>
                <a:gd name="T1" fmla="*/ 32 h 101"/>
                <a:gd name="T2" fmla="*/ 77 w 104"/>
                <a:gd name="T3" fmla="*/ 57 h 101"/>
                <a:gd name="T4" fmla="*/ 43 w 104"/>
                <a:gd name="T5" fmla="*/ 90 h 101"/>
                <a:gd name="T6" fmla="*/ 3 w 104"/>
                <a:gd name="T7" fmla="*/ 95 h 101"/>
                <a:gd name="T8" fmla="*/ 25 w 104"/>
                <a:gd name="T9" fmla="*/ 60 h 101"/>
                <a:gd name="T10" fmla="*/ 38 w 104"/>
                <a:gd name="T11" fmla="*/ 16 h 101"/>
                <a:gd name="T12" fmla="*/ 62 w 104"/>
                <a:gd name="T13" fmla="*/ 0 h 101"/>
                <a:gd name="T14" fmla="*/ 104 w 104"/>
                <a:gd name="T15" fmla="*/ 3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1">
                  <a:moveTo>
                    <a:pt x="104" y="32"/>
                  </a:moveTo>
                  <a:cubicBezTo>
                    <a:pt x="104" y="32"/>
                    <a:pt x="88" y="47"/>
                    <a:pt x="77" y="57"/>
                  </a:cubicBezTo>
                  <a:cubicBezTo>
                    <a:pt x="66" y="67"/>
                    <a:pt x="49" y="85"/>
                    <a:pt x="43" y="90"/>
                  </a:cubicBezTo>
                  <a:cubicBezTo>
                    <a:pt x="38" y="95"/>
                    <a:pt x="6" y="101"/>
                    <a:pt x="3" y="95"/>
                  </a:cubicBezTo>
                  <a:cubicBezTo>
                    <a:pt x="0" y="90"/>
                    <a:pt x="20" y="74"/>
                    <a:pt x="25" y="60"/>
                  </a:cubicBezTo>
                  <a:cubicBezTo>
                    <a:pt x="30" y="47"/>
                    <a:pt x="33" y="15"/>
                    <a:pt x="38" y="16"/>
                  </a:cubicBezTo>
                  <a:cubicBezTo>
                    <a:pt x="43" y="16"/>
                    <a:pt x="56" y="0"/>
                    <a:pt x="62" y="0"/>
                  </a:cubicBezTo>
                  <a:cubicBezTo>
                    <a:pt x="69" y="1"/>
                    <a:pt x="104" y="27"/>
                    <a:pt x="104" y="32"/>
                  </a:cubicBezTo>
                  <a:close/>
                </a:path>
              </a:pathLst>
            </a:custGeom>
            <a:solidFill>
              <a:srgbClr val="7274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6" name="Freeform 37">
              <a:extLst>
                <a:ext uri="{FF2B5EF4-FFF2-40B4-BE49-F238E27FC236}">
                  <a16:creationId xmlns:a16="http://schemas.microsoft.com/office/drawing/2014/main" id="{9BD38275-70E8-4EC4-9110-90B6DCE18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904" y="5448300"/>
              <a:ext cx="273050" cy="217488"/>
            </a:xfrm>
            <a:custGeom>
              <a:avLst/>
              <a:gdLst>
                <a:gd name="T0" fmla="*/ 80 w 80"/>
                <a:gd name="T1" fmla="*/ 0 h 64"/>
                <a:gd name="T2" fmla="*/ 0 w 80"/>
                <a:gd name="T3" fmla="*/ 64 h 64"/>
                <a:gd name="T4" fmla="*/ 43 w 80"/>
                <a:gd name="T5" fmla="*/ 36 h 64"/>
                <a:gd name="T6" fmla="*/ 61 w 80"/>
                <a:gd name="T7" fmla="*/ 17 h 64"/>
                <a:gd name="T8" fmla="*/ 80 w 80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64">
                  <a:moveTo>
                    <a:pt x="80" y="0"/>
                  </a:moveTo>
                  <a:cubicBezTo>
                    <a:pt x="29" y="34"/>
                    <a:pt x="54" y="36"/>
                    <a:pt x="0" y="64"/>
                  </a:cubicBezTo>
                  <a:cubicBezTo>
                    <a:pt x="14" y="59"/>
                    <a:pt x="34" y="49"/>
                    <a:pt x="43" y="36"/>
                  </a:cubicBezTo>
                  <a:cubicBezTo>
                    <a:pt x="48" y="29"/>
                    <a:pt x="54" y="23"/>
                    <a:pt x="61" y="17"/>
                  </a:cubicBezTo>
                  <a:cubicBezTo>
                    <a:pt x="67" y="12"/>
                    <a:pt x="74" y="6"/>
                    <a:pt x="80" y="0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7" name="Freeform 38">
              <a:extLst>
                <a:ext uri="{FF2B5EF4-FFF2-40B4-BE49-F238E27FC236}">
                  <a16:creationId xmlns:a16="http://schemas.microsoft.com/office/drawing/2014/main" id="{1EADBB95-9F07-40DC-86B3-F5C8AF337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704" y="5495925"/>
              <a:ext cx="82550" cy="26988"/>
            </a:xfrm>
            <a:custGeom>
              <a:avLst/>
              <a:gdLst>
                <a:gd name="T0" fmla="*/ 24 w 24"/>
                <a:gd name="T1" fmla="*/ 2 h 8"/>
                <a:gd name="T2" fmla="*/ 22 w 24"/>
                <a:gd name="T3" fmla="*/ 5 h 8"/>
                <a:gd name="T4" fmla="*/ 0 w 24"/>
                <a:gd name="T5" fmla="*/ 8 h 8"/>
                <a:gd name="T6" fmla="*/ 1 w 24"/>
                <a:gd name="T7" fmla="*/ 3 h 8"/>
                <a:gd name="T8" fmla="*/ 22 w 24"/>
                <a:gd name="T9" fmla="*/ 0 h 8"/>
                <a:gd name="T10" fmla="*/ 24 w 24"/>
                <a:gd name="T1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8">
                  <a:moveTo>
                    <a:pt x="24" y="2"/>
                  </a:moveTo>
                  <a:cubicBezTo>
                    <a:pt x="24" y="3"/>
                    <a:pt x="23" y="4"/>
                    <a:pt x="22" y="5"/>
                  </a:cubicBezTo>
                  <a:cubicBezTo>
                    <a:pt x="18" y="5"/>
                    <a:pt x="8" y="6"/>
                    <a:pt x="0" y="8"/>
                  </a:cubicBezTo>
                  <a:cubicBezTo>
                    <a:pt x="0" y="6"/>
                    <a:pt x="1" y="4"/>
                    <a:pt x="1" y="3"/>
                  </a:cubicBezTo>
                  <a:cubicBezTo>
                    <a:pt x="11" y="0"/>
                    <a:pt x="21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8" name="Freeform 39">
              <a:extLst>
                <a:ext uri="{FF2B5EF4-FFF2-40B4-BE49-F238E27FC236}">
                  <a16:creationId xmlns:a16="http://schemas.microsoft.com/office/drawing/2014/main" id="{3329F927-0751-4876-9C3C-A1C5F3874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816" y="5451475"/>
              <a:ext cx="60325" cy="26988"/>
            </a:xfrm>
            <a:custGeom>
              <a:avLst/>
              <a:gdLst>
                <a:gd name="T0" fmla="*/ 17 w 18"/>
                <a:gd name="T1" fmla="*/ 6 h 8"/>
                <a:gd name="T2" fmla="*/ 14 w 18"/>
                <a:gd name="T3" fmla="*/ 7 h 8"/>
                <a:gd name="T4" fmla="*/ 0 w 18"/>
                <a:gd name="T5" fmla="*/ 5 h 8"/>
                <a:gd name="T6" fmla="*/ 1 w 18"/>
                <a:gd name="T7" fmla="*/ 0 h 8"/>
                <a:gd name="T8" fmla="*/ 16 w 18"/>
                <a:gd name="T9" fmla="*/ 3 h 8"/>
                <a:gd name="T10" fmla="*/ 17 w 18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8">
                  <a:moveTo>
                    <a:pt x="17" y="6"/>
                  </a:moveTo>
                  <a:cubicBezTo>
                    <a:pt x="17" y="7"/>
                    <a:pt x="16" y="8"/>
                    <a:pt x="14" y="7"/>
                  </a:cubicBezTo>
                  <a:cubicBezTo>
                    <a:pt x="14" y="7"/>
                    <a:pt x="8" y="5"/>
                    <a:pt x="0" y="5"/>
                  </a:cubicBezTo>
                  <a:cubicBezTo>
                    <a:pt x="1" y="3"/>
                    <a:pt x="1" y="2"/>
                    <a:pt x="1" y="0"/>
                  </a:cubicBezTo>
                  <a:cubicBezTo>
                    <a:pt x="9" y="1"/>
                    <a:pt x="15" y="3"/>
                    <a:pt x="16" y="3"/>
                  </a:cubicBezTo>
                  <a:cubicBezTo>
                    <a:pt x="17" y="3"/>
                    <a:pt x="18" y="5"/>
                    <a:pt x="17" y="6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9" name="Freeform 40">
              <a:extLst>
                <a:ext uri="{FF2B5EF4-FFF2-40B4-BE49-F238E27FC236}">
                  <a16:creationId xmlns:a16="http://schemas.microsoft.com/office/drawing/2014/main" id="{78A405E2-5DE6-4CFD-ABE3-B13D13D33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629" y="3886200"/>
              <a:ext cx="312738" cy="401638"/>
            </a:xfrm>
            <a:custGeom>
              <a:avLst/>
              <a:gdLst>
                <a:gd name="T0" fmla="*/ 11 w 92"/>
                <a:gd name="T1" fmla="*/ 10 h 118"/>
                <a:gd name="T2" fmla="*/ 2 w 92"/>
                <a:gd name="T3" fmla="*/ 44 h 118"/>
                <a:gd name="T4" fmla="*/ 17 w 92"/>
                <a:gd name="T5" fmla="*/ 65 h 118"/>
                <a:gd name="T6" fmla="*/ 9 w 92"/>
                <a:gd name="T7" fmla="*/ 85 h 118"/>
                <a:gd name="T8" fmla="*/ 17 w 92"/>
                <a:gd name="T9" fmla="*/ 87 h 118"/>
                <a:gd name="T10" fmla="*/ 18 w 92"/>
                <a:gd name="T11" fmla="*/ 93 h 118"/>
                <a:gd name="T12" fmla="*/ 19 w 92"/>
                <a:gd name="T13" fmla="*/ 97 h 118"/>
                <a:gd name="T14" fmla="*/ 22 w 92"/>
                <a:gd name="T15" fmla="*/ 98 h 118"/>
                <a:gd name="T16" fmla="*/ 26 w 92"/>
                <a:gd name="T17" fmla="*/ 101 h 118"/>
                <a:gd name="T18" fmla="*/ 26 w 92"/>
                <a:gd name="T19" fmla="*/ 104 h 118"/>
                <a:gd name="T20" fmla="*/ 31 w 92"/>
                <a:gd name="T21" fmla="*/ 105 h 118"/>
                <a:gd name="T22" fmla="*/ 35 w 92"/>
                <a:gd name="T23" fmla="*/ 109 h 118"/>
                <a:gd name="T24" fmla="*/ 53 w 92"/>
                <a:gd name="T25" fmla="*/ 114 h 118"/>
                <a:gd name="T26" fmla="*/ 91 w 92"/>
                <a:gd name="T27" fmla="*/ 67 h 118"/>
                <a:gd name="T28" fmla="*/ 71 w 92"/>
                <a:gd name="T29" fmla="*/ 18 h 118"/>
                <a:gd name="T30" fmla="*/ 11 w 92"/>
                <a:gd name="T3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18">
                  <a:moveTo>
                    <a:pt x="11" y="10"/>
                  </a:moveTo>
                  <a:cubicBezTo>
                    <a:pt x="10" y="12"/>
                    <a:pt x="0" y="34"/>
                    <a:pt x="2" y="44"/>
                  </a:cubicBezTo>
                  <a:cubicBezTo>
                    <a:pt x="5" y="54"/>
                    <a:pt x="18" y="62"/>
                    <a:pt x="17" y="65"/>
                  </a:cubicBezTo>
                  <a:cubicBezTo>
                    <a:pt x="16" y="69"/>
                    <a:pt x="14" y="79"/>
                    <a:pt x="9" y="85"/>
                  </a:cubicBezTo>
                  <a:cubicBezTo>
                    <a:pt x="9" y="85"/>
                    <a:pt x="10" y="88"/>
                    <a:pt x="17" y="87"/>
                  </a:cubicBezTo>
                  <a:cubicBezTo>
                    <a:pt x="17" y="87"/>
                    <a:pt x="19" y="91"/>
                    <a:pt x="18" y="93"/>
                  </a:cubicBezTo>
                  <a:cubicBezTo>
                    <a:pt x="17" y="96"/>
                    <a:pt x="18" y="97"/>
                    <a:pt x="19" y="97"/>
                  </a:cubicBezTo>
                  <a:cubicBezTo>
                    <a:pt x="20" y="98"/>
                    <a:pt x="22" y="98"/>
                    <a:pt x="22" y="98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26" y="101"/>
                    <a:pt x="25" y="102"/>
                    <a:pt x="26" y="104"/>
                  </a:cubicBezTo>
                  <a:cubicBezTo>
                    <a:pt x="28" y="106"/>
                    <a:pt x="31" y="105"/>
                    <a:pt x="31" y="105"/>
                  </a:cubicBezTo>
                  <a:cubicBezTo>
                    <a:pt x="31" y="105"/>
                    <a:pt x="33" y="105"/>
                    <a:pt x="35" y="109"/>
                  </a:cubicBezTo>
                  <a:cubicBezTo>
                    <a:pt x="37" y="112"/>
                    <a:pt x="39" y="118"/>
                    <a:pt x="53" y="114"/>
                  </a:cubicBezTo>
                  <a:cubicBezTo>
                    <a:pt x="63" y="110"/>
                    <a:pt x="90" y="84"/>
                    <a:pt x="91" y="67"/>
                  </a:cubicBezTo>
                  <a:cubicBezTo>
                    <a:pt x="92" y="53"/>
                    <a:pt x="78" y="22"/>
                    <a:pt x="71" y="18"/>
                  </a:cubicBezTo>
                  <a:cubicBezTo>
                    <a:pt x="62" y="12"/>
                    <a:pt x="18" y="0"/>
                    <a:pt x="11" y="10"/>
                  </a:cubicBezTo>
                  <a:close/>
                </a:path>
              </a:pathLst>
            </a:custGeom>
            <a:solidFill>
              <a:srgbClr val="FBB8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0" name="Freeform 41">
              <a:extLst>
                <a:ext uri="{FF2B5EF4-FFF2-40B4-BE49-F238E27FC236}">
                  <a16:creationId xmlns:a16="http://schemas.microsoft.com/office/drawing/2014/main" id="{D8FAA478-D463-49B2-AB2B-965812712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8241" y="4206875"/>
              <a:ext cx="30163" cy="23813"/>
            </a:xfrm>
            <a:custGeom>
              <a:avLst/>
              <a:gdLst>
                <a:gd name="T0" fmla="*/ 9 w 9"/>
                <a:gd name="T1" fmla="*/ 0 h 7"/>
                <a:gd name="T2" fmla="*/ 4 w 9"/>
                <a:gd name="T3" fmla="*/ 7 h 7"/>
                <a:gd name="T4" fmla="*/ 0 w 9"/>
                <a:gd name="T5" fmla="*/ 4 h 7"/>
                <a:gd name="T6" fmla="*/ 9 w 9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9" y="0"/>
                  </a:moveTo>
                  <a:cubicBezTo>
                    <a:pt x="9" y="0"/>
                    <a:pt x="8" y="4"/>
                    <a:pt x="4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7" y="3"/>
                    <a:pt x="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1" name="Freeform 42">
              <a:extLst>
                <a:ext uri="{FF2B5EF4-FFF2-40B4-BE49-F238E27FC236}">
                  <a16:creationId xmlns:a16="http://schemas.microsoft.com/office/drawing/2014/main" id="{865610FA-9ACA-4716-9F4C-3D6B1898D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991" y="5927725"/>
              <a:ext cx="960438" cy="234950"/>
            </a:xfrm>
            <a:custGeom>
              <a:avLst/>
              <a:gdLst>
                <a:gd name="T0" fmla="*/ 2 w 605"/>
                <a:gd name="T1" fmla="*/ 148 h 148"/>
                <a:gd name="T2" fmla="*/ 0 w 605"/>
                <a:gd name="T3" fmla="*/ 141 h 148"/>
                <a:gd name="T4" fmla="*/ 603 w 605"/>
                <a:gd name="T5" fmla="*/ 0 h 148"/>
                <a:gd name="T6" fmla="*/ 605 w 605"/>
                <a:gd name="T7" fmla="*/ 6 h 148"/>
                <a:gd name="T8" fmla="*/ 2 w 605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5" h="148">
                  <a:moveTo>
                    <a:pt x="2" y="148"/>
                  </a:moveTo>
                  <a:lnTo>
                    <a:pt x="0" y="141"/>
                  </a:lnTo>
                  <a:lnTo>
                    <a:pt x="603" y="0"/>
                  </a:lnTo>
                  <a:lnTo>
                    <a:pt x="605" y="6"/>
                  </a:lnTo>
                  <a:lnTo>
                    <a:pt x="2" y="148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2" name="Freeform 43">
              <a:extLst>
                <a:ext uri="{FF2B5EF4-FFF2-40B4-BE49-F238E27FC236}">
                  <a16:creationId xmlns:a16="http://schemas.microsoft.com/office/drawing/2014/main" id="{C55FA774-D0E3-4784-8C91-249BD24EA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716" y="5675313"/>
              <a:ext cx="998538" cy="88900"/>
            </a:xfrm>
            <a:custGeom>
              <a:avLst/>
              <a:gdLst>
                <a:gd name="T0" fmla="*/ 0 w 629"/>
                <a:gd name="T1" fmla="*/ 56 h 56"/>
                <a:gd name="T2" fmla="*/ 0 w 629"/>
                <a:gd name="T3" fmla="*/ 50 h 56"/>
                <a:gd name="T4" fmla="*/ 629 w 629"/>
                <a:gd name="T5" fmla="*/ 0 h 56"/>
                <a:gd name="T6" fmla="*/ 629 w 629"/>
                <a:gd name="T7" fmla="*/ 7 h 56"/>
                <a:gd name="T8" fmla="*/ 0 w 629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9" h="56">
                  <a:moveTo>
                    <a:pt x="0" y="56"/>
                  </a:moveTo>
                  <a:lnTo>
                    <a:pt x="0" y="50"/>
                  </a:lnTo>
                  <a:lnTo>
                    <a:pt x="629" y="0"/>
                  </a:lnTo>
                  <a:lnTo>
                    <a:pt x="629" y="7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3B28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3" name="Oval 44">
              <a:extLst>
                <a:ext uri="{FF2B5EF4-FFF2-40B4-BE49-F238E27FC236}">
                  <a16:creationId xmlns:a16="http://schemas.microsoft.com/office/drawing/2014/main" id="{50DD3985-0122-49EA-BD6A-7D2FD6E3DB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1016" y="5737225"/>
              <a:ext cx="419100" cy="419100"/>
            </a:xfrm>
            <a:prstGeom prst="ellipse">
              <a:avLst/>
            </a:pr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63348D7D-6CDD-4A30-843E-E1C4DB0AFE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865" y="5254624"/>
              <a:ext cx="1103314" cy="1101726"/>
            </a:xfrm>
            <a:custGeom>
              <a:avLst/>
              <a:gdLst>
                <a:gd name="connsiteX0" fmla="*/ 553244 w 1103314"/>
                <a:gd name="connsiteY0" fmla="*/ 57150 h 1101726"/>
                <a:gd name="connsiteX1" fmla="*/ 57150 w 1103314"/>
                <a:gd name="connsiteY1" fmla="*/ 552450 h 1101726"/>
                <a:gd name="connsiteX2" fmla="*/ 553244 w 1103314"/>
                <a:gd name="connsiteY2" fmla="*/ 1047750 h 1101726"/>
                <a:gd name="connsiteX3" fmla="*/ 1049338 w 1103314"/>
                <a:gd name="connsiteY3" fmla="*/ 552450 h 1101726"/>
                <a:gd name="connsiteX4" fmla="*/ 553244 w 1103314"/>
                <a:gd name="connsiteY4" fmla="*/ 57150 h 1101726"/>
                <a:gd name="connsiteX5" fmla="*/ 551657 w 1103314"/>
                <a:gd name="connsiteY5" fmla="*/ 0 h 1101726"/>
                <a:gd name="connsiteX6" fmla="*/ 1103314 w 1103314"/>
                <a:gd name="connsiteY6" fmla="*/ 550863 h 1101726"/>
                <a:gd name="connsiteX7" fmla="*/ 551657 w 1103314"/>
                <a:gd name="connsiteY7" fmla="*/ 1101726 h 1101726"/>
                <a:gd name="connsiteX8" fmla="*/ 0 w 1103314"/>
                <a:gd name="connsiteY8" fmla="*/ 550863 h 1101726"/>
                <a:gd name="connsiteX9" fmla="*/ 551657 w 1103314"/>
                <a:gd name="connsiteY9" fmla="*/ 0 h 1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3314" h="1101726">
                  <a:moveTo>
                    <a:pt x="553244" y="57150"/>
                  </a:moveTo>
                  <a:cubicBezTo>
                    <a:pt x="279259" y="57150"/>
                    <a:pt x="57150" y="278903"/>
                    <a:pt x="57150" y="552450"/>
                  </a:cubicBezTo>
                  <a:cubicBezTo>
                    <a:pt x="57150" y="825997"/>
                    <a:pt x="279259" y="1047750"/>
                    <a:pt x="553244" y="1047750"/>
                  </a:cubicBezTo>
                  <a:cubicBezTo>
                    <a:pt x="827229" y="1047750"/>
                    <a:pt x="1049338" y="825997"/>
                    <a:pt x="1049338" y="552450"/>
                  </a:cubicBezTo>
                  <a:cubicBezTo>
                    <a:pt x="1049338" y="278903"/>
                    <a:pt x="827229" y="57150"/>
                    <a:pt x="553244" y="57150"/>
                  </a:cubicBezTo>
                  <a:close/>
                  <a:moveTo>
                    <a:pt x="551657" y="0"/>
                  </a:moveTo>
                  <a:cubicBezTo>
                    <a:pt x="856329" y="0"/>
                    <a:pt x="1103314" y="246630"/>
                    <a:pt x="1103314" y="550863"/>
                  </a:cubicBezTo>
                  <a:cubicBezTo>
                    <a:pt x="1103314" y="855096"/>
                    <a:pt x="856329" y="1101726"/>
                    <a:pt x="551657" y="1101726"/>
                  </a:cubicBezTo>
                  <a:cubicBezTo>
                    <a:pt x="246985" y="1101726"/>
                    <a:pt x="0" y="855096"/>
                    <a:pt x="0" y="550863"/>
                  </a:cubicBezTo>
                  <a:cubicBezTo>
                    <a:pt x="0" y="246630"/>
                    <a:pt x="246985" y="0"/>
                    <a:pt x="551657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65" name="Oval 47">
              <a:extLst>
                <a:ext uri="{FF2B5EF4-FFF2-40B4-BE49-F238E27FC236}">
                  <a16:creationId xmlns:a16="http://schemas.microsoft.com/office/drawing/2014/main" id="{2D888F55-54A5-4CE7-AC5A-ED62E973A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2316" y="5680075"/>
              <a:ext cx="252413" cy="250825"/>
            </a:xfrm>
            <a:prstGeom prst="ellipse">
              <a:avLst/>
            </a:pr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6" name="Freeform 48">
              <a:extLst>
                <a:ext uri="{FF2B5EF4-FFF2-40B4-BE49-F238E27FC236}">
                  <a16:creationId xmlns:a16="http://schemas.microsoft.com/office/drawing/2014/main" id="{7EC13D06-C132-4234-8C56-FF6F51A0A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554" y="5394325"/>
              <a:ext cx="415925" cy="822325"/>
            </a:xfrm>
            <a:custGeom>
              <a:avLst/>
              <a:gdLst>
                <a:gd name="T0" fmla="*/ 1 w 122"/>
                <a:gd name="T1" fmla="*/ 242 h 242"/>
                <a:gd name="T2" fmla="*/ 0 w 122"/>
                <a:gd name="T3" fmla="*/ 242 h 242"/>
                <a:gd name="T4" fmla="*/ 1 w 122"/>
                <a:gd name="T5" fmla="*/ 241 h 242"/>
                <a:gd name="T6" fmla="*/ 121 w 122"/>
                <a:gd name="T7" fmla="*/ 121 h 242"/>
                <a:gd name="T8" fmla="*/ 1 w 122"/>
                <a:gd name="T9" fmla="*/ 2 h 242"/>
                <a:gd name="T10" fmla="*/ 0 w 122"/>
                <a:gd name="T11" fmla="*/ 1 h 242"/>
                <a:gd name="T12" fmla="*/ 1 w 122"/>
                <a:gd name="T13" fmla="*/ 0 h 242"/>
                <a:gd name="T14" fmla="*/ 122 w 122"/>
                <a:gd name="T15" fmla="*/ 121 h 242"/>
                <a:gd name="T16" fmla="*/ 1 w 122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242">
                  <a:moveTo>
                    <a:pt x="1" y="242"/>
                  </a:moveTo>
                  <a:cubicBezTo>
                    <a:pt x="1" y="242"/>
                    <a:pt x="0" y="242"/>
                    <a:pt x="0" y="242"/>
                  </a:cubicBezTo>
                  <a:cubicBezTo>
                    <a:pt x="0" y="241"/>
                    <a:pt x="1" y="241"/>
                    <a:pt x="1" y="241"/>
                  </a:cubicBezTo>
                  <a:cubicBezTo>
                    <a:pt x="67" y="241"/>
                    <a:pt x="121" y="187"/>
                    <a:pt x="121" y="121"/>
                  </a:cubicBezTo>
                  <a:cubicBezTo>
                    <a:pt x="121" y="56"/>
                    <a:pt x="67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8" y="0"/>
                    <a:pt x="122" y="55"/>
                    <a:pt x="122" y="121"/>
                  </a:cubicBezTo>
                  <a:cubicBezTo>
                    <a:pt x="122" y="188"/>
                    <a:pt x="68" y="242"/>
                    <a:pt x="1" y="242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7" name="Freeform 49">
              <a:extLst>
                <a:ext uri="{FF2B5EF4-FFF2-40B4-BE49-F238E27FC236}">
                  <a16:creationId xmlns:a16="http://schemas.microsoft.com/office/drawing/2014/main" id="{F4667141-05DC-465F-8535-AA3A5B4F8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829" y="5475288"/>
              <a:ext cx="336550" cy="660400"/>
            </a:xfrm>
            <a:custGeom>
              <a:avLst/>
              <a:gdLst>
                <a:gd name="T0" fmla="*/ 1 w 99"/>
                <a:gd name="T1" fmla="*/ 194 h 194"/>
                <a:gd name="T2" fmla="*/ 0 w 99"/>
                <a:gd name="T3" fmla="*/ 194 h 194"/>
                <a:gd name="T4" fmla="*/ 1 w 99"/>
                <a:gd name="T5" fmla="*/ 193 h 194"/>
                <a:gd name="T6" fmla="*/ 97 w 99"/>
                <a:gd name="T7" fmla="*/ 97 h 194"/>
                <a:gd name="T8" fmla="*/ 1 w 99"/>
                <a:gd name="T9" fmla="*/ 2 h 194"/>
                <a:gd name="T10" fmla="*/ 0 w 99"/>
                <a:gd name="T11" fmla="*/ 1 h 194"/>
                <a:gd name="T12" fmla="*/ 1 w 99"/>
                <a:gd name="T13" fmla="*/ 0 h 194"/>
                <a:gd name="T14" fmla="*/ 99 w 99"/>
                <a:gd name="T15" fmla="*/ 97 h 194"/>
                <a:gd name="T16" fmla="*/ 1 w 99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94">
                  <a:moveTo>
                    <a:pt x="1" y="194"/>
                  </a:moveTo>
                  <a:cubicBezTo>
                    <a:pt x="1" y="194"/>
                    <a:pt x="0" y="194"/>
                    <a:pt x="0" y="194"/>
                  </a:cubicBezTo>
                  <a:cubicBezTo>
                    <a:pt x="0" y="193"/>
                    <a:pt x="1" y="193"/>
                    <a:pt x="1" y="193"/>
                  </a:cubicBezTo>
                  <a:cubicBezTo>
                    <a:pt x="54" y="193"/>
                    <a:pt x="97" y="150"/>
                    <a:pt x="97" y="97"/>
                  </a:cubicBezTo>
                  <a:cubicBezTo>
                    <a:pt x="97" y="45"/>
                    <a:pt x="54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99" y="44"/>
                    <a:pt x="99" y="97"/>
                  </a:cubicBezTo>
                  <a:cubicBezTo>
                    <a:pt x="99" y="151"/>
                    <a:pt x="55" y="194"/>
                    <a:pt x="1" y="194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61A056F3-80C0-448C-9211-3F87D4FCD0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9979" y="5254624"/>
              <a:ext cx="1100138" cy="1101726"/>
            </a:xfrm>
            <a:custGeom>
              <a:avLst/>
              <a:gdLst>
                <a:gd name="connsiteX0" fmla="*/ 550862 w 1100138"/>
                <a:gd name="connsiteY0" fmla="*/ 57150 h 1101726"/>
                <a:gd name="connsiteX1" fmla="*/ 55562 w 1100138"/>
                <a:gd name="connsiteY1" fmla="*/ 552450 h 1101726"/>
                <a:gd name="connsiteX2" fmla="*/ 550862 w 1100138"/>
                <a:gd name="connsiteY2" fmla="*/ 1047750 h 1101726"/>
                <a:gd name="connsiteX3" fmla="*/ 1046162 w 1100138"/>
                <a:gd name="connsiteY3" fmla="*/ 552450 h 1101726"/>
                <a:gd name="connsiteX4" fmla="*/ 550862 w 1100138"/>
                <a:gd name="connsiteY4" fmla="*/ 57150 h 1101726"/>
                <a:gd name="connsiteX5" fmla="*/ 550069 w 1100138"/>
                <a:gd name="connsiteY5" fmla="*/ 0 h 1101726"/>
                <a:gd name="connsiteX6" fmla="*/ 1100138 w 1100138"/>
                <a:gd name="connsiteY6" fmla="*/ 550863 h 1101726"/>
                <a:gd name="connsiteX7" fmla="*/ 550069 w 1100138"/>
                <a:gd name="connsiteY7" fmla="*/ 1101726 h 1101726"/>
                <a:gd name="connsiteX8" fmla="*/ 0 w 1100138"/>
                <a:gd name="connsiteY8" fmla="*/ 550863 h 1101726"/>
                <a:gd name="connsiteX9" fmla="*/ 550069 w 1100138"/>
                <a:gd name="connsiteY9" fmla="*/ 0 h 110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0138" h="1101726">
                  <a:moveTo>
                    <a:pt x="550862" y="57150"/>
                  </a:moveTo>
                  <a:cubicBezTo>
                    <a:pt x="277315" y="57150"/>
                    <a:pt x="55562" y="278903"/>
                    <a:pt x="55562" y="552450"/>
                  </a:cubicBezTo>
                  <a:cubicBezTo>
                    <a:pt x="55562" y="825997"/>
                    <a:pt x="277315" y="1047750"/>
                    <a:pt x="550862" y="1047750"/>
                  </a:cubicBezTo>
                  <a:cubicBezTo>
                    <a:pt x="824409" y="1047750"/>
                    <a:pt x="1046162" y="825997"/>
                    <a:pt x="1046162" y="552450"/>
                  </a:cubicBezTo>
                  <a:cubicBezTo>
                    <a:pt x="1046162" y="278903"/>
                    <a:pt x="824409" y="57150"/>
                    <a:pt x="550862" y="57150"/>
                  </a:cubicBezTo>
                  <a:close/>
                  <a:moveTo>
                    <a:pt x="550069" y="0"/>
                  </a:moveTo>
                  <a:cubicBezTo>
                    <a:pt x="853864" y="0"/>
                    <a:pt x="1100138" y="246630"/>
                    <a:pt x="1100138" y="550863"/>
                  </a:cubicBezTo>
                  <a:cubicBezTo>
                    <a:pt x="1100138" y="855096"/>
                    <a:pt x="853864" y="1101726"/>
                    <a:pt x="550069" y="1101726"/>
                  </a:cubicBezTo>
                  <a:cubicBezTo>
                    <a:pt x="246274" y="1101726"/>
                    <a:pt x="0" y="855096"/>
                    <a:pt x="0" y="550863"/>
                  </a:cubicBezTo>
                  <a:cubicBezTo>
                    <a:pt x="0" y="246630"/>
                    <a:pt x="246274" y="0"/>
                    <a:pt x="550069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69" name="Oval 52">
              <a:extLst>
                <a:ext uri="{FF2B5EF4-FFF2-40B4-BE49-F238E27FC236}">
                  <a16:creationId xmlns:a16="http://schemas.microsoft.com/office/drawing/2014/main" id="{F8D139A7-BCB0-4BDA-8F1E-F7A6739AD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2254" y="5680075"/>
              <a:ext cx="252413" cy="250825"/>
            </a:xfrm>
            <a:prstGeom prst="ellipse">
              <a:avLst/>
            </a:pr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0" name="Freeform 53">
              <a:extLst>
                <a:ext uri="{FF2B5EF4-FFF2-40B4-BE49-F238E27FC236}">
                  <a16:creationId xmlns:a16="http://schemas.microsoft.com/office/drawing/2014/main" id="{A552F0D6-4487-447D-AF3E-422A46E19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491" y="5394325"/>
              <a:ext cx="419100" cy="822325"/>
            </a:xfrm>
            <a:custGeom>
              <a:avLst/>
              <a:gdLst>
                <a:gd name="T0" fmla="*/ 1 w 123"/>
                <a:gd name="T1" fmla="*/ 242 h 242"/>
                <a:gd name="T2" fmla="*/ 0 w 123"/>
                <a:gd name="T3" fmla="*/ 242 h 242"/>
                <a:gd name="T4" fmla="*/ 1 w 123"/>
                <a:gd name="T5" fmla="*/ 241 h 242"/>
                <a:gd name="T6" fmla="*/ 121 w 123"/>
                <a:gd name="T7" fmla="*/ 121 h 242"/>
                <a:gd name="T8" fmla="*/ 1 w 123"/>
                <a:gd name="T9" fmla="*/ 2 h 242"/>
                <a:gd name="T10" fmla="*/ 0 w 123"/>
                <a:gd name="T11" fmla="*/ 1 h 242"/>
                <a:gd name="T12" fmla="*/ 1 w 123"/>
                <a:gd name="T13" fmla="*/ 0 h 242"/>
                <a:gd name="T14" fmla="*/ 123 w 123"/>
                <a:gd name="T15" fmla="*/ 121 h 242"/>
                <a:gd name="T16" fmla="*/ 1 w 123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242">
                  <a:moveTo>
                    <a:pt x="1" y="242"/>
                  </a:moveTo>
                  <a:cubicBezTo>
                    <a:pt x="1" y="242"/>
                    <a:pt x="0" y="242"/>
                    <a:pt x="0" y="242"/>
                  </a:cubicBezTo>
                  <a:cubicBezTo>
                    <a:pt x="0" y="241"/>
                    <a:pt x="1" y="241"/>
                    <a:pt x="1" y="241"/>
                  </a:cubicBezTo>
                  <a:cubicBezTo>
                    <a:pt x="67" y="241"/>
                    <a:pt x="121" y="187"/>
                    <a:pt x="121" y="121"/>
                  </a:cubicBezTo>
                  <a:cubicBezTo>
                    <a:pt x="121" y="56"/>
                    <a:pt x="67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68" y="0"/>
                    <a:pt x="123" y="55"/>
                    <a:pt x="123" y="121"/>
                  </a:cubicBezTo>
                  <a:cubicBezTo>
                    <a:pt x="123" y="188"/>
                    <a:pt x="68" y="242"/>
                    <a:pt x="1" y="242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" name="Freeform 54">
              <a:extLst>
                <a:ext uri="{FF2B5EF4-FFF2-40B4-BE49-F238E27FC236}">
                  <a16:creationId xmlns:a16="http://schemas.microsoft.com/office/drawing/2014/main" id="{0A05B1F5-05F7-4088-B008-087628C93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766" y="5475288"/>
              <a:ext cx="338138" cy="660400"/>
            </a:xfrm>
            <a:custGeom>
              <a:avLst/>
              <a:gdLst>
                <a:gd name="T0" fmla="*/ 1 w 99"/>
                <a:gd name="T1" fmla="*/ 194 h 194"/>
                <a:gd name="T2" fmla="*/ 0 w 99"/>
                <a:gd name="T3" fmla="*/ 194 h 194"/>
                <a:gd name="T4" fmla="*/ 1 w 99"/>
                <a:gd name="T5" fmla="*/ 193 h 194"/>
                <a:gd name="T6" fmla="*/ 97 w 99"/>
                <a:gd name="T7" fmla="*/ 97 h 194"/>
                <a:gd name="T8" fmla="*/ 1 w 99"/>
                <a:gd name="T9" fmla="*/ 2 h 194"/>
                <a:gd name="T10" fmla="*/ 0 w 99"/>
                <a:gd name="T11" fmla="*/ 1 h 194"/>
                <a:gd name="T12" fmla="*/ 1 w 99"/>
                <a:gd name="T13" fmla="*/ 0 h 194"/>
                <a:gd name="T14" fmla="*/ 99 w 99"/>
                <a:gd name="T15" fmla="*/ 97 h 194"/>
                <a:gd name="T16" fmla="*/ 1 w 99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94">
                  <a:moveTo>
                    <a:pt x="1" y="194"/>
                  </a:moveTo>
                  <a:cubicBezTo>
                    <a:pt x="1" y="194"/>
                    <a:pt x="0" y="194"/>
                    <a:pt x="0" y="194"/>
                  </a:cubicBezTo>
                  <a:cubicBezTo>
                    <a:pt x="0" y="193"/>
                    <a:pt x="1" y="193"/>
                    <a:pt x="1" y="193"/>
                  </a:cubicBezTo>
                  <a:cubicBezTo>
                    <a:pt x="54" y="193"/>
                    <a:pt x="97" y="150"/>
                    <a:pt x="97" y="97"/>
                  </a:cubicBezTo>
                  <a:cubicBezTo>
                    <a:pt x="97" y="45"/>
                    <a:pt x="54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99" y="44"/>
                    <a:pt x="99" y="97"/>
                  </a:cubicBezTo>
                  <a:cubicBezTo>
                    <a:pt x="99" y="151"/>
                    <a:pt x="55" y="194"/>
                    <a:pt x="1" y="194"/>
                  </a:cubicBezTo>
                  <a:close/>
                </a:path>
              </a:pathLst>
            </a:custGeom>
            <a:solidFill>
              <a:srgbClr val="344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2" name="Freeform 55">
              <a:extLst>
                <a:ext uri="{FF2B5EF4-FFF2-40B4-BE49-F238E27FC236}">
                  <a16:creationId xmlns:a16="http://schemas.microsoft.com/office/drawing/2014/main" id="{FE673636-3E28-45A0-813D-B5B1A9963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766" y="4645025"/>
              <a:ext cx="374650" cy="119063"/>
            </a:xfrm>
            <a:custGeom>
              <a:avLst/>
              <a:gdLst>
                <a:gd name="T0" fmla="*/ 33 w 110"/>
                <a:gd name="T1" fmla="*/ 12 h 35"/>
                <a:gd name="T2" fmla="*/ 103 w 110"/>
                <a:gd name="T3" fmla="*/ 7 h 35"/>
                <a:gd name="T4" fmla="*/ 68 w 110"/>
                <a:gd name="T5" fmla="*/ 35 h 35"/>
                <a:gd name="T6" fmla="*/ 33 w 110"/>
                <a:gd name="T7" fmla="*/ 1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35">
                  <a:moveTo>
                    <a:pt x="33" y="12"/>
                  </a:moveTo>
                  <a:cubicBezTo>
                    <a:pt x="33" y="12"/>
                    <a:pt x="96" y="0"/>
                    <a:pt x="103" y="7"/>
                  </a:cubicBezTo>
                  <a:cubicBezTo>
                    <a:pt x="110" y="14"/>
                    <a:pt x="82" y="35"/>
                    <a:pt x="68" y="35"/>
                  </a:cubicBezTo>
                  <a:cubicBezTo>
                    <a:pt x="54" y="35"/>
                    <a:pt x="0" y="30"/>
                    <a:pt x="33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3" name="Freeform 56">
              <a:extLst>
                <a:ext uri="{FF2B5EF4-FFF2-40B4-BE49-F238E27FC236}">
                  <a16:creationId xmlns:a16="http://schemas.microsoft.com/office/drawing/2014/main" id="{2C634869-D72A-42D5-AE65-3E06B8217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241" y="3846513"/>
              <a:ext cx="403225" cy="247650"/>
            </a:xfrm>
            <a:custGeom>
              <a:avLst/>
              <a:gdLst>
                <a:gd name="T0" fmla="*/ 17 w 118"/>
                <a:gd name="T1" fmla="*/ 53 h 73"/>
                <a:gd name="T2" fmla="*/ 42 w 118"/>
                <a:gd name="T3" fmla="*/ 35 h 73"/>
                <a:gd name="T4" fmla="*/ 106 w 118"/>
                <a:gd name="T5" fmla="*/ 73 h 73"/>
                <a:gd name="T6" fmla="*/ 108 w 118"/>
                <a:gd name="T7" fmla="*/ 26 h 73"/>
                <a:gd name="T8" fmla="*/ 35 w 118"/>
                <a:gd name="T9" fmla="*/ 8 h 73"/>
                <a:gd name="T10" fmla="*/ 17 w 118"/>
                <a:gd name="T11" fmla="*/ 5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73">
                  <a:moveTo>
                    <a:pt x="17" y="53"/>
                  </a:moveTo>
                  <a:cubicBezTo>
                    <a:pt x="17" y="53"/>
                    <a:pt x="28" y="39"/>
                    <a:pt x="42" y="35"/>
                  </a:cubicBezTo>
                  <a:cubicBezTo>
                    <a:pt x="55" y="30"/>
                    <a:pt x="95" y="55"/>
                    <a:pt x="106" y="73"/>
                  </a:cubicBezTo>
                  <a:cubicBezTo>
                    <a:pt x="106" y="73"/>
                    <a:pt x="118" y="50"/>
                    <a:pt x="108" y="26"/>
                  </a:cubicBezTo>
                  <a:cubicBezTo>
                    <a:pt x="97" y="1"/>
                    <a:pt x="52" y="0"/>
                    <a:pt x="35" y="8"/>
                  </a:cubicBezTo>
                  <a:cubicBezTo>
                    <a:pt x="17" y="17"/>
                    <a:pt x="0" y="48"/>
                    <a:pt x="17" y="53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4" name="Freeform 57">
              <a:extLst>
                <a:ext uri="{FF2B5EF4-FFF2-40B4-BE49-F238E27FC236}">
                  <a16:creationId xmlns:a16="http://schemas.microsoft.com/office/drawing/2014/main" id="{AEAF8055-0FA3-4A06-BEB6-B031D317F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754" y="4094163"/>
              <a:ext cx="228600" cy="176213"/>
            </a:xfrm>
            <a:custGeom>
              <a:avLst/>
              <a:gdLst>
                <a:gd name="T0" fmla="*/ 92 w 144"/>
                <a:gd name="T1" fmla="*/ 111 h 111"/>
                <a:gd name="T2" fmla="*/ 0 w 144"/>
                <a:gd name="T3" fmla="*/ 71 h 111"/>
                <a:gd name="T4" fmla="*/ 45 w 144"/>
                <a:gd name="T5" fmla="*/ 0 h 111"/>
                <a:gd name="T6" fmla="*/ 144 w 144"/>
                <a:gd name="T7" fmla="*/ 15 h 111"/>
                <a:gd name="T8" fmla="*/ 92 w 144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11">
                  <a:moveTo>
                    <a:pt x="92" y="111"/>
                  </a:moveTo>
                  <a:lnTo>
                    <a:pt x="0" y="71"/>
                  </a:lnTo>
                  <a:lnTo>
                    <a:pt x="45" y="0"/>
                  </a:lnTo>
                  <a:lnTo>
                    <a:pt x="144" y="15"/>
                  </a:lnTo>
                  <a:lnTo>
                    <a:pt x="92" y="111"/>
                  </a:lnTo>
                  <a:close/>
                </a:path>
              </a:pathLst>
            </a:custGeom>
            <a:solidFill>
              <a:srgbClr val="FAA0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5" name="Freeform 58">
              <a:extLst>
                <a:ext uri="{FF2B5EF4-FFF2-40B4-BE49-F238E27FC236}">
                  <a16:creationId xmlns:a16="http://schemas.microsoft.com/office/drawing/2014/main" id="{6461299B-3A84-4CB9-A266-0CBBE995F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741" y="4495800"/>
              <a:ext cx="668338" cy="398463"/>
            </a:xfrm>
            <a:custGeom>
              <a:avLst/>
              <a:gdLst>
                <a:gd name="T0" fmla="*/ 174 w 196"/>
                <a:gd name="T1" fmla="*/ 0 h 117"/>
                <a:gd name="T2" fmla="*/ 0 w 196"/>
                <a:gd name="T3" fmla="*/ 73 h 117"/>
                <a:gd name="T4" fmla="*/ 33 w 196"/>
                <a:gd name="T5" fmla="*/ 117 h 117"/>
                <a:gd name="T6" fmla="*/ 179 w 196"/>
                <a:gd name="T7" fmla="*/ 88 h 117"/>
                <a:gd name="T8" fmla="*/ 174 w 196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6" h="117">
                  <a:moveTo>
                    <a:pt x="174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26" y="97"/>
                    <a:pt x="33" y="117"/>
                  </a:cubicBezTo>
                  <a:cubicBezTo>
                    <a:pt x="179" y="88"/>
                    <a:pt x="179" y="88"/>
                    <a:pt x="179" y="88"/>
                  </a:cubicBezTo>
                  <a:cubicBezTo>
                    <a:pt x="179" y="88"/>
                    <a:pt x="196" y="22"/>
                    <a:pt x="17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6" name="Freeform 59">
              <a:extLst>
                <a:ext uri="{FF2B5EF4-FFF2-40B4-BE49-F238E27FC236}">
                  <a16:creationId xmlns:a16="http://schemas.microsoft.com/office/drawing/2014/main" id="{168ABDB4-BDDE-47C7-ACFE-38E89FEB4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391" y="4835525"/>
              <a:ext cx="431800" cy="1003300"/>
            </a:xfrm>
            <a:custGeom>
              <a:avLst/>
              <a:gdLst>
                <a:gd name="T0" fmla="*/ 10 w 127"/>
                <a:gd name="T1" fmla="*/ 295 h 295"/>
                <a:gd name="T2" fmla="*/ 7 w 127"/>
                <a:gd name="T3" fmla="*/ 294 h 295"/>
                <a:gd name="T4" fmla="*/ 2 w 127"/>
                <a:gd name="T5" fmla="*/ 282 h 295"/>
                <a:gd name="T6" fmla="*/ 108 w 127"/>
                <a:gd name="T7" fmla="*/ 7 h 295"/>
                <a:gd name="T8" fmla="*/ 119 w 127"/>
                <a:gd name="T9" fmla="*/ 2 h 295"/>
                <a:gd name="T10" fmla="*/ 125 w 127"/>
                <a:gd name="T11" fmla="*/ 14 h 295"/>
                <a:gd name="T12" fmla="*/ 19 w 127"/>
                <a:gd name="T13" fmla="*/ 289 h 295"/>
                <a:gd name="T14" fmla="*/ 10 w 127"/>
                <a:gd name="T1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295">
                  <a:moveTo>
                    <a:pt x="10" y="295"/>
                  </a:moveTo>
                  <a:cubicBezTo>
                    <a:pt x="9" y="295"/>
                    <a:pt x="8" y="294"/>
                    <a:pt x="7" y="294"/>
                  </a:cubicBezTo>
                  <a:cubicBezTo>
                    <a:pt x="2" y="292"/>
                    <a:pt x="0" y="287"/>
                    <a:pt x="2" y="282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9" y="2"/>
                    <a:pt x="115" y="0"/>
                    <a:pt x="119" y="2"/>
                  </a:cubicBezTo>
                  <a:cubicBezTo>
                    <a:pt x="124" y="3"/>
                    <a:pt x="127" y="9"/>
                    <a:pt x="125" y="14"/>
                  </a:cubicBezTo>
                  <a:cubicBezTo>
                    <a:pt x="19" y="289"/>
                    <a:pt x="19" y="289"/>
                    <a:pt x="19" y="289"/>
                  </a:cubicBezTo>
                  <a:cubicBezTo>
                    <a:pt x="17" y="292"/>
                    <a:pt x="14" y="295"/>
                    <a:pt x="10" y="295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7" name="Freeform 60">
              <a:extLst>
                <a:ext uri="{FF2B5EF4-FFF2-40B4-BE49-F238E27FC236}">
                  <a16:creationId xmlns:a16="http://schemas.microsoft.com/office/drawing/2014/main" id="{7C42FF4C-9938-4415-872A-A8776AE62C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7441" y="5073650"/>
              <a:ext cx="1825625" cy="908050"/>
            </a:xfrm>
            <a:custGeom>
              <a:avLst/>
              <a:gdLst>
                <a:gd name="T0" fmla="*/ 254 w 536"/>
                <a:gd name="T1" fmla="*/ 267 h 267"/>
                <a:gd name="T2" fmla="*/ 0 w 536"/>
                <a:gd name="T3" fmla="*/ 19 h 267"/>
                <a:gd name="T4" fmla="*/ 12 w 536"/>
                <a:gd name="T5" fmla="*/ 6 h 267"/>
                <a:gd name="T6" fmla="*/ 12 w 536"/>
                <a:gd name="T7" fmla="*/ 3 h 267"/>
                <a:gd name="T8" fmla="*/ 296 w 536"/>
                <a:gd name="T9" fmla="*/ 0 h 267"/>
                <a:gd name="T10" fmla="*/ 527 w 536"/>
                <a:gd name="T11" fmla="*/ 201 h 267"/>
                <a:gd name="T12" fmla="*/ 520 w 536"/>
                <a:gd name="T13" fmla="*/ 226 h 267"/>
                <a:gd name="T14" fmla="*/ 254 w 536"/>
                <a:gd name="T15" fmla="*/ 267 h 267"/>
                <a:gd name="T16" fmla="*/ 28 w 536"/>
                <a:gd name="T17" fmla="*/ 21 h 267"/>
                <a:gd name="T18" fmla="*/ 260 w 536"/>
                <a:gd name="T19" fmla="*/ 247 h 267"/>
                <a:gd name="T20" fmla="*/ 508 w 536"/>
                <a:gd name="T21" fmla="*/ 209 h 267"/>
                <a:gd name="T22" fmla="*/ 289 w 536"/>
                <a:gd name="T23" fmla="*/ 19 h 267"/>
                <a:gd name="T24" fmla="*/ 28 w 536"/>
                <a:gd name="T25" fmla="*/ 2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6" h="267">
                  <a:moveTo>
                    <a:pt x="254" y="267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527" y="201"/>
                    <a:pt x="527" y="201"/>
                    <a:pt x="527" y="201"/>
                  </a:cubicBezTo>
                  <a:cubicBezTo>
                    <a:pt x="536" y="209"/>
                    <a:pt x="532" y="224"/>
                    <a:pt x="520" y="226"/>
                  </a:cubicBezTo>
                  <a:lnTo>
                    <a:pt x="254" y="267"/>
                  </a:lnTo>
                  <a:close/>
                  <a:moveTo>
                    <a:pt x="28" y="21"/>
                  </a:moveTo>
                  <a:cubicBezTo>
                    <a:pt x="260" y="247"/>
                    <a:pt x="260" y="247"/>
                    <a:pt x="260" y="247"/>
                  </a:cubicBezTo>
                  <a:cubicBezTo>
                    <a:pt x="508" y="209"/>
                    <a:pt x="508" y="209"/>
                    <a:pt x="508" y="209"/>
                  </a:cubicBezTo>
                  <a:cubicBezTo>
                    <a:pt x="289" y="19"/>
                    <a:pt x="289" y="19"/>
                    <a:pt x="289" y="19"/>
                  </a:cubicBezTo>
                  <a:lnTo>
                    <a:pt x="28" y="21"/>
                  </a:ln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8" name="Oval 61">
              <a:extLst>
                <a:ext uri="{FF2B5EF4-FFF2-40B4-BE49-F238E27FC236}">
                  <a16:creationId xmlns:a16="http://schemas.microsoft.com/office/drawing/2014/main" id="{E76FB2C8-B3EE-4A94-A66E-43285D3D6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0879" y="5907088"/>
              <a:ext cx="82550" cy="85725"/>
            </a:xfrm>
            <a:prstGeom prst="ellipse">
              <a:avLst/>
            </a:prstGeom>
            <a:solidFill>
              <a:srgbClr val="3B3E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9" name="Freeform 62">
              <a:extLst>
                <a:ext uri="{FF2B5EF4-FFF2-40B4-BE49-F238E27FC236}">
                  <a16:creationId xmlns:a16="http://schemas.microsoft.com/office/drawing/2014/main" id="{EAF76F59-51AA-4B9F-ACC6-39F631664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8341" y="5942013"/>
              <a:ext cx="85725" cy="325438"/>
            </a:xfrm>
            <a:custGeom>
              <a:avLst/>
              <a:gdLst>
                <a:gd name="T0" fmla="*/ 18 w 25"/>
                <a:gd name="T1" fmla="*/ 96 h 96"/>
                <a:gd name="T2" fmla="*/ 12 w 25"/>
                <a:gd name="T3" fmla="*/ 91 h 96"/>
                <a:gd name="T4" fmla="*/ 1 w 25"/>
                <a:gd name="T5" fmla="*/ 7 h 96"/>
                <a:gd name="T6" fmla="*/ 6 w 25"/>
                <a:gd name="T7" fmla="*/ 0 h 96"/>
                <a:gd name="T8" fmla="*/ 13 w 25"/>
                <a:gd name="T9" fmla="*/ 5 h 96"/>
                <a:gd name="T10" fmla="*/ 24 w 25"/>
                <a:gd name="T11" fmla="*/ 89 h 96"/>
                <a:gd name="T12" fmla="*/ 19 w 25"/>
                <a:gd name="T13" fmla="*/ 96 h 96"/>
                <a:gd name="T14" fmla="*/ 18 w 25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96">
                  <a:moveTo>
                    <a:pt x="18" y="96"/>
                  </a:moveTo>
                  <a:cubicBezTo>
                    <a:pt x="15" y="96"/>
                    <a:pt x="12" y="94"/>
                    <a:pt x="12" y="9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2"/>
                    <a:pt x="13" y="5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5" y="92"/>
                    <a:pt x="22" y="95"/>
                    <a:pt x="19" y="96"/>
                  </a:cubicBezTo>
                  <a:cubicBezTo>
                    <a:pt x="19" y="96"/>
                    <a:pt x="18" y="96"/>
                    <a:pt x="18" y="96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0" name="Freeform 63">
              <a:extLst>
                <a:ext uri="{FF2B5EF4-FFF2-40B4-BE49-F238E27FC236}">
                  <a16:creationId xmlns:a16="http://schemas.microsoft.com/office/drawing/2014/main" id="{D67F7495-3CFA-4C5C-A622-D993BA7E5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16" y="5043488"/>
              <a:ext cx="323850" cy="1173163"/>
            </a:xfrm>
            <a:custGeom>
              <a:avLst/>
              <a:gdLst>
                <a:gd name="T0" fmla="*/ 42 w 95"/>
                <a:gd name="T1" fmla="*/ 0 h 345"/>
                <a:gd name="T2" fmla="*/ 6 w 95"/>
                <a:gd name="T3" fmla="*/ 55 h 345"/>
                <a:gd name="T4" fmla="*/ 57 w 95"/>
                <a:gd name="T5" fmla="*/ 266 h 345"/>
                <a:gd name="T6" fmla="*/ 26 w 95"/>
                <a:gd name="T7" fmla="*/ 339 h 345"/>
                <a:gd name="T8" fmla="*/ 44 w 95"/>
                <a:gd name="T9" fmla="*/ 343 h 345"/>
                <a:gd name="T10" fmla="*/ 69 w 95"/>
                <a:gd name="T11" fmla="*/ 309 h 345"/>
                <a:gd name="T12" fmla="*/ 87 w 95"/>
                <a:gd name="T13" fmla="*/ 299 h 345"/>
                <a:gd name="T14" fmla="*/ 80 w 95"/>
                <a:gd name="T15" fmla="*/ 266 h 345"/>
                <a:gd name="T16" fmla="*/ 73 w 95"/>
                <a:gd name="T17" fmla="*/ 84 h 345"/>
                <a:gd name="T18" fmla="*/ 66 w 95"/>
                <a:gd name="T19" fmla="*/ 69 h 345"/>
                <a:gd name="T20" fmla="*/ 83 w 95"/>
                <a:gd name="T21" fmla="*/ 19 h 345"/>
                <a:gd name="T22" fmla="*/ 42 w 95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" h="345">
                  <a:moveTo>
                    <a:pt x="42" y="0"/>
                  </a:moveTo>
                  <a:cubicBezTo>
                    <a:pt x="42" y="0"/>
                    <a:pt x="12" y="42"/>
                    <a:pt x="6" y="55"/>
                  </a:cubicBezTo>
                  <a:cubicBezTo>
                    <a:pt x="0" y="68"/>
                    <a:pt x="57" y="235"/>
                    <a:pt x="57" y="266"/>
                  </a:cubicBezTo>
                  <a:cubicBezTo>
                    <a:pt x="57" y="297"/>
                    <a:pt x="41" y="332"/>
                    <a:pt x="26" y="339"/>
                  </a:cubicBezTo>
                  <a:cubicBezTo>
                    <a:pt x="12" y="345"/>
                    <a:pt x="33" y="343"/>
                    <a:pt x="44" y="343"/>
                  </a:cubicBezTo>
                  <a:cubicBezTo>
                    <a:pt x="55" y="343"/>
                    <a:pt x="61" y="317"/>
                    <a:pt x="69" y="309"/>
                  </a:cubicBezTo>
                  <a:cubicBezTo>
                    <a:pt x="77" y="301"/>
                    <a:pt x="81" y="304"/>
                    <a:pt x="87" y="299"/>
                  </a:cubicBezTo>
                  <a:cubicBezTo>
                    <a:pt x="92" y="293"/>
                    <a:pt x="83" y="270"/>
                    <a:pt x="80" y="266"/>
                  </a:cubicBezTo>
                  <a:cubicBezTo>
                    <a:pt x="76" y="262"/>
                    <a:pt x="95" y="116"/>
                    <a:pt x="73" y="84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83" y="19"/>
                    <a:pt x="83" y="19"/>
                    <a:pt x="83" y="19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FBB8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1" name="Freeform 64">
              <a:extLst>
                <a:ext uri="{FF2B5EF4-FFF2-40B4-BE49-F238E27FC236}">
                  <a16:creationId xmlns:a16="http://schemas.microsoft.com/office/drawing/2014/main" id="{473A8E76-5891-4DF4-B862-CF5FCC1D4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7441" y="4445000"/>
              <a:ext cx="20638" cy="0"/>
            </a:xfrm>
            <a:custGeom>
              <a:avLst/>
              <a:gdLst>
                <a:gd name="T0" fmla="*/ 3 w 6"/>
                <a:gd name="T1" fmla="*/ 3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6">
                  <a:moveTo>
                    <a:pt x="3" y="0"/>
                  </a:moveTo>
                  <a:cubicBezTo>
                    <a:pt x="6" y="0"/>
                    <a:pt x="0" y="0"/>
                    <a:pt x="3" y="0"/>
                  </a:cubicBezTo>
                  <a:close/>
                </a:path>
              </a:pathLst>
            </a:custGeom>
            <a:solidFill>
              <a:srgbClr val="5941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2" name="Freeform 65">
              <a:extLst>
                <a:ext uri="{FF2B5EF4-FFF2-40B4-BE49-F238E27FC236}">
                  <a16:creationId xmlns:a16="http://schemas.microsoft.com/office/drawing/2014/main" id="{13ED2184-D70F-4127-9BC4-C94881BE4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716" y="4441825"/>
              <a:ext cx="623888" cy="727075"/>
            </a:xfrm>
            <a:custGeom>
              <a:avLst/>
              <a:gdLst>
                <a:gd name="T0" fmla="*/ 140 w 183"/>
                <a:gd name="T1" fmla="*/ 1 h 214"/>
                <a:gd name="T2" fmla="*/ 55 w 183"/>
                <a:gd name="T3" fmla="*/ 57 h 214"/>
                <a:gd name="T4" fmla="*/ 0 w 183"/>
                <a:gd name="T5" fmla="*/ 188 h 214"/>
                <a:gd name="T6" fmla="*/ 56 w 183"/>
                <a:gd name="T7" fmla="*/ 214 h 214"/>
                <a:gd name="T8" fmla="*/ 168 w 183"/>
                <a:gd name="T9" fmla="*/ 58 h 214"/>
                <a:gd name="T10" fmla="*/ 140 w 183"/>
                <a:gd name="T11" fmla="*/ 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3" h="214">
                  <a:moveTo>
                    <a:pt x="140" y="1"/>
                  </a:moveTo>
                  <a:cubicBezTo>
                    <a:pt x="103" y="0"/>
                    <a:pt x="69" y="23"/>
                    <a:pt x="55" y="57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56" y="214"/>
                    <a:pt x="56" y="214"/>
                    <a:pt x="56" y="214"/>
                  </a:cubicBezTo>
                  <a:cubicBezTo>
                    <a:pt x="168" y="58"/>
                    <a:pt x="168" y="58"/>
                    <a:pt x="168" y="58"/>
                  </a:cubicBezTo>
                  <a:cubicBezTo>
                    <a:pt x="168" y="58"/>
                    <a:pt x="183" y="7"/>
                    <a:pt x="140" y="1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3" name="Freeform 66">
              <a:extLst>
                <a:ext uri="{FF2B5EF4-FFF2-40B4-BE49-F238E27FC236}">
                  <a16:creationId xmlns:a16="http://schemas.microsoft.com/office/drawing/2014/main" id="{F5ED5767-4E66-47B5-A8AC-A3A7BF508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904" y="4019550"/>
              <a:ext cx="1123950" cy="574675"/>
            </a:xfrm>
            <a:custGeom>
              <a:avLst/>
              <a:gdLst>
                <a:gd name="T0" fmla="*/ 330 w 330"/>
                <a:gd name="T1" fmla="*/ 125 h 169"/>
                <a:gd name="T2" fmla="*/ 177 w 330"/>
                <a:gd name="T3" fmla="*/ 31 h 169"/>
                <a:gd name="T4" fmla="*/ 32 w 330"/>
                <a:gd name="T5" fmla="*/ 40 h 169"/>
                <a:gd name="T6" fmla="*/ 32 w 330"/>
                <a:gd name="T7" fmla="*/ 131 h 169"/>
                <a:gd name="T8" fmla="*/ 153 w 330"/>
                <a:gd name="T9" fmla="*/ 125 h 169"/>
                <a:gd name="T10" fmla="*/ 219 w 330"/>
                <a:gd name="T11" fmla="*/ 169 h 169"/>
                <a:gd name="T12" fmla="*/ 330 w 330"/>
                <a:gd name="T13" fmla="*/ 12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169">
                  <a:moveTo>
                    <a:pt x="330" y="125"/>
                  </a:moveTo>
                  <a:cubicBezTo>
                    <a:pt x="330" y="125"/>
                    <a:pt x="256" y="61"/>
                    <a:pt x="177" y="31"/>
                  </a:cubicBezTo>
                  <a:cubicBezTo>
                    <a:pt x="97" y="0"/>
                    <a:pt x="62" y="17"/>
                    <a:pt x="32" y="40"/>
                  </a:cubicBezTo>
                  <a:cubicBezTo>
                    <a:pt x="2" y="63"/>
                    <a:pt x="0" y="115"/>
                    <a:pt x="32" y="131"/>
                  </a:cubicBezTo>
                  <a:cubicBezTo>
                    <a:pt x="64" y="148"/>
                    <a:pt x="108" y="130"/>
                    <a:pt x="153" y="125"/>
                  </a:cubicBezTo>
                  <a:cubicBezTo>
                    <a:pt x="198" y="120"/>
                    <a:pt x="219" y="169"/>
                    <a:pt x="219" y="169"/>
                  </a:cubicBezTo>
                  <a:cubicBezTo>
                    <a:pt x="219" y="169"/>
                    <a:pt x="318" y="161"/>
                    <a:pt x="330" y="125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4" name="Freeform 67">
              <a:extLst>
                <a:ext uri="{FF2B5EF4-FFF2-40B4-BE49-F238E27FC236}">
                  <a16:creationId xmlns:a16="http://schemas.microsoft.com/office/drawing/2014/main" id="{87C4DEF7-E51E-4783-B558-DF05A86DE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2891" y="4192588"/>
              <a:ext cx="265113" cy="296863"/>
            </a:xfrm>
            <a:custGeom>
              <a:avLst/>
              <a:gdLst>
                <a:gd name="T0" fmla="*/ 78 w 78"/>
                <a:gd name="T1" fmla="*/ 79 h 87"/>
                <a:gd name="T2" fmla="*/ 68 w 78"/>
                <a:gd name="T3" fmla="*/ 55 h 87"/>
                <a:gd name="T4" fmla="*/ 11 w 78"/>
                <a:gd name="T5" fmla="*/ 0 h 87"/>
                <a:gd name="T6" fmla="*/ 0 w 78"/>
                <a:gd name="T7" fmla="*/ 4 h 87"/>
                <a:gd name="T8" fmla="*/ 22 w 78"/>
                <a:gd name="T9" fmla="*/ 87 h 87"/>
                <a:gd name="T10" fmla="*/ 78 w 78"/>
                <a:gd name="T11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87">
                  <a:moveTo>
                    <a:pt x="78" y="79"/>
                  </a:moveTo>
                  <a:cubicBezTo>
                    <a:pt x="76" y="71"/>
                    <a:pt x="73" y="63"/>
                    <a:pt x="68" y="55"/>
                  </a:cubicBezTo>
                  <a:cubicBezTo>
                    <a:pt x="52" y="28"/>
                    <a:pt x="11" y="0"/>
                    <a:pt x="1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40" y="87"/>
                    <a:pt x="59" y="83"/>
                    <a:pt x="78" y="79"/>
                  </a:cubicBezTo>
                  <a:close/>
                </a:path>
              </a:pathLst>
            </a:custGeom>
            <a:solidFill>
              <a:srgbClr val="2BBFE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5" name="Freeform 68">
              <a:extLst>
                <a:ext uri="{FF2B5EF4-FFF2-40B4-BE49-F238E27FC236}">
                  <a16:creationId xmlns:a16="http://schemas.microsoft.com/office/drawing/2014/main" id="{F7A0A0F7-7BC3-40D5-9AF7-5FC529F6D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354" y="4183063"/>
              <a:ext cx="282575" cy="396875"/>
            </a:xfrm>
            <a:custGeom>
              <a:avLst/>
              <a:gdLst>
                <a:gd name="T0" fmla="*/ 32 w 83"/>
                <a:gd name="T1" fmla="*/ 2 h 117"/>
                <a:gd name="T2" fmla="*/ 72 w 83"/>
                <a:gd name="T3" fmla="*/ 44 h 117"/>
                <a:gd name="T4" fmla="*/ 79 w 83"/>
                <a:gd name="T5" fmla="*/ 92 h 117"/>
                <a:gd name="T6" fmla="*/ 19 w 83"/>
                <a:gd name="T7" fmla="*/ 117 h 117"/>
                <a:gd name="T8" fmla="*/ 10 w 83"/>
                <a:gd name="T9" fmla="*/ 77 h 117"/>
                <a:gd name="T10" fmla="*/ 0 w 83"/>
                <a:gd name="T11" fmla="*/ 39 h 117"/>
                <a:gd name="T12" fmla="*/ 32 w 83"/>
                <a:gd name="T13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7">
                  <a:moveTo>
                    <a:pt x="32" y="2"/>
                  </a:moveTo>
                  <a:cubicBezTo>
                    <a:pt x="55" y="0"/>
                    <a:pt x="65" y="22"/>
                    <a:pt x="72" y="44"/>
                  </a:cubicBezTo>
                  <a:cubicBezTo>
                    <a:pt x="83" y="75"/>
                    <a:pt x="79" y="92"/>
                    <a:pt x="79" y="9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19" y="117"/>
                    <a:pt x="18" y="96"/>
                    <a:pt x="10" y="77"/>
                  </a:cubicBezTo>
                  <a:cubicBezTo>
                    <a:pt x="6" y="65"/>
                    <a:pt x="0" y="52"/>
                    <a:pt x="0" y="39"/>
                  </a:cubicBezTo>
                  <a:cubicBezTo>
                    <a:pt x="0" y="21"/>
                    <a:pt x="16" y="4"/>
                    <a:pt x="32" y="2"/>
                  </a:cubicBezTo>
                  <a:close/>
                </a:path>
              </a:pathLst>
            </a:custGeom>
            <a:solidFill>
              <a:srgbClr val="D941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6" name="Freeform 69">
              <a:extLst>
                <a:ext uri="{FF2B5EF4-FFF2-40B4-BE49-F238E27FC236}">
                  <a16:creationId xmlns:a16="http://schemas.microsoft.com/office/drawing/2014/main" id="{B29941BE-F5CE-4A0E-B796-E138D2863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616" y="4508500"/>
              <a:ext cx="603250" cy="395288"/>
            </a:xfrm>
            <a:custGeom>
              <a:avLst/>
              <a:gdLst>
                <a:gd name="T0" fmla="*/ 7 w 177"/>
                <a:gd name="T1" fmla="*/ 83 h 116"/>
                <a:gd name="T2" fmla="*/ 92 w 177"/>
                <a:gd name="T3" fmla="*/ 54 h 116"/>
                <a:gd name="T4" fmla="*/ 129 w 177"/>
                <a:gd name="T5" fmla="*/ 37 h 116"/>
                <a:gd name="T6" fmla="*/ 120 w 177"/>
                <a:gd name="T7" fmla="*/ 17 h 116"/>
                <a:gd name="T8" fmla="*/ 162 w 177"/>
                <a:gd name="T9" fmla="*/ 0 h 116"/>
                <a:gd name="T10" fmla="*/ 168 w 177"/>
                <a:gd name="T11" fmla="*/ 63 h 116"/>
                <a:gd name="T12" fmla="*/ 35 w 177"/>
                <a:gd name="T13" fmla="*/ 106 h 116"/>
                <a:gd name="T14" fmla="*/ 0 w 177"/>
                <a:gd name="T15" fmla="*/ 116 h 116"/>
                <a:gd name="T16" fmla="*/ 7 w 177"/>
                <a:gd name="T17" fmla="*/ 8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16">
                  <a:moveTo>
                    <a:pt x="7" y="83"/>
                  </a:moveTo>
                  <a:cubicBezTo>
                    <a:pt x="7" y="83"/>
                    <a:pt x="63" y="61"/>
                    <a:pt x="92" y="54"/>
                  </a:cubicBezTo>
                  <a:cubicBezTo>
                    <a:pt x="122" y="48"/>
                    <a:pt x="129" y="37"/>
                    <a:pt x="129" y="37"/>
                  </a:cubicBezTo>
                  <a:cubicBezTo>
                    <a:pt x="120" y="17"/>
                    <a:pt x="120" y="17"/>
                    <a:pt x="120" y="17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0"/>
                    <a:pt x="177" y="54"/>
                    <a:pt x="168" y="63"/>
                  </a:cubicBezTo>
                  <a:cubicBezTo>
                    <a:pt x="159" y="72"/>
                    <a:pt x="64" y="102"/>
                    <a:pt x="35" y="106"/>
                  </a:cubicBezTo>
                  <a:cubicBezTo>
                    <a:pt x="7" y="110"/>
                    <a:pt x="0" y="116"/>
                    <a:pt x="0" y="116"/>
                  </a:cubicBezTo>
                  <a:lnTo>
                    <a:pt x="7" y="83"/>
                  </a:lnTo>
                  <a:close/>
                </a:path>
              </a:pathLst>
            </a:custGeom>
            <a:solidFill>
              <a:srgbClr val="FBB8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7" name="Freeform 70">
              <a:extLst>
                <a:ext uri="{FF2B5EF4-FFF2-40B4-BE49-F238E27FC236}">
                  <a16:creationId xmlns:a16="http://schemas.microsoft.com/office/drawing/2014/main" id="{E8319766-1C84-459C-92F3-775223FCD6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1241" y="4713288"/>
              <a:ext cx="180975" cy="282575"/>
            </a:xfrm>
            <a:custGeom>
              <a:avLst/>
              <a:gdLst>
                <a:gd name="T0" fmla="*/ 42 w 53"/>
                <a:gd name="T1" fmla="*/ 15 h 83"/>
                <a:gd name="T2" fmla="*/ 23 w 53"/>
                <a:gd name="T3" fmla="*/ 5 h 83"/>
                <a:gd name="T4" fmla="*/ 0 w 53"/>
                <a:gd name="T5" fmla="*/ 50 h 83"/>
                <a:gd name="T6" fmla="*/ 37 w 53"/>
                <a:gd name="T7" fmla="*/ 83 h 83"/>
                <a:gd name="T8" fmla="*/ 42 w 53"/>
                <a:gd name="T9" fmla="*/ 66 h 83"/>
                <a:gd name="T10" fmla="*/ 46 w 53"/>
                <a:gd name="T11" fmla="*/ 61 h 83"/>
                <a:gd name="T12" fmla="*/ 46 w 53"/>
                <a:gd name="T13" fmla="*/ 39 h 83"/>
                <a:gd name="T14" fmla="*/ 42 w 53"/>
                <a:gd name="T15" fmla="*/ 1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83">
                  <a:moveTo>
                    <a:pt x="42" y="15"/>
                  </a:moveTo>
                  <a:cubicBezTo>
                    <a:pt x="42" y="15"/>
                    <a:pt x="37" y="0"/>
                    <a:pt x="23" y="5"/>
                  </a:cubicBezTo>
                  <a:cubicBezTo>
                    <a:pt x="9" y="9"/>
                    <a:pt x="0" y="36"/>
                    <a:pt x="0" y="50"/>
                  </a:cubicBezTo>
                  <a:cubicBezTo>
                    <a:pt x="0" y="65"/>
                    <a:pt x="29" y="83"/>
                    <a:pt x="37" y="83"/>
                  </a:cubicBezTo>
                  <a:cubicBezTo>
                    <a:pt x="45" y="83"/>
                    <a:pt x="47" y="71"/>
                    <a:pt x="42" y="66"/>
                  </a:cubicBezTo>
                  <a:cubicBezTo>
                    <a:pt x="37" y="61"/>
                    <a:pt x="39" y="61"/>
                    <a:pt x="46" y="61"/>
                  </a:cubicBezTo>
                  <a:cubicBezTo>
                    <a:pt x="53" y="61"/>
                    <a:pt x="46" y="51"/>
                    <a:pt x="46" y="39"/>
                  </a:cubicBezTo>
                  <a:cubicBezTo>
                    <a:pt x="46" y="27"/>
                    <a:pt x="42" y="15"/>
                    <a:pt x="42" y="15"/>
                  </a:cubicBez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8" name="Freeform 71">
              <a:extLst>
                <a:ext uri="{FF2B5EF4-FFF2-40B4-BE49-F238E27FC236}">
                  <a16:creationId xmlns:a16="http://schemas.microsoft.com/office/drawing/2014/main" id="{26C971F0-985E-4B36-BB69-7E1C76C16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816" y="5945188"/>
              <a:ext cx="395288" cy="295275"/>
            </a:xfrm>
            <a:custGeom>
              <a:avLst/>
              <a:gdLst>
                <a:gd name="T0" fmla="*/ 115 w 116"/>
                <a:gd name="T1" fmla="*/ 43 h 87"/>
                <a:gd name="T2" fmla="*/ 82 w 116"/>
                <a:gd name="T3" fmla="*/ 60 h 87"/>
                <a:gd name="T4" fmla="*/ 41 w 116"/>
                <a:gd name="T5" fmla="*/ 84 h 87"/>
                <a:gd name="T6" fmla="*/ 1 w 116"/>
                <a:gd name="T7" fmla="*/ 78 h 87"/>
                <a:gd name="T8" fmla="*/ 31 w 116"/>
                <a:gd name="T9" fmla="*/ 50 h 87"/>
                <a:gd name="T10" fmla="*/ 55 w 116"/>
                <a:gd name="T11" fmla="*/ 10 h 87"/>
                <a:gd name="T12" fmla="*/ 83 w 116"/>
                <a:gd name="T13" fmla="*/ 2 h 87"/>
                <a:gd name="T14" fmla="*/ 115 w 116"/>
                <a:gd name="T15" fmla="*/ 4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87">
                  <a:moveTo>
                    <a:pt x="115" y="43"/>
                  </a:moveTo>
                  <a:cubicBezTo>
                    <a:pt x="115" y="43"/>
                    <a:pt x="95" y="53"/>
                    <a:pt x="82" y="60"/>
                  </a:cubicBezTo>
                  <a:cubicBezTo>
                    <a:pt x="69" y="67"/>
                    <a:pt x="48" y="80"/>
                    <a:pt x="41" y="84"/>
                  </a:cubicBezTo>
                  <a:cubicBezTo>
                    <a:pt x="34" y="87"/>
                    <a:pt x="2" y="84"/>
                    <a:pt x="1" y="78"/>
                  </a:cubicBezTo>
                  <a:cubicBezTo>
                    <a:pt x="0" y="72"/>
                    <a:pt x="22" y="62"/>
                    <a:pt x="31" y="50"/>
                  </a:cubicBezTo>
                  <a:cubicBezTo>
                    <a:pt x="39" y="38"/>
                    <a:pt x="51" y="9"/>
                    <a:pt x="55" y="10"/>
                  </a:cubicBezTo>
                  <a:cubicBezTo>
                    <a:pt x="60" y="12"/>
                    <a:pt x="77" y="0"/>
                    <a:pt x="83" y="2"/>
                  </a:cubicBezTo>
                  <a:cubicBezTo>
                    <a:pt x="89" y="3"/>
                    <a:pt x="116" y="38"/>
                    <a:pt x="115" y="43"/>
                  </a:cubicBezTo>
                  <a:close/>
                </a:path>
              </a:pathLst>
            </a:custGeom>
            <a:solidFill>
              <a:srgbClr val="7274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9" name="Freeform 72">
              <a:extLst>
                <a:ext uri="{FF2B5EF4-FFF2-40B4-BE49-F238E27FC236}">
                  <a16:creationId xmlns:a16="http://schemas.microsoft.com/office/drawing/2014/main" id="{BF3FA0DC-DD5B-4065-A5B7-CC84D3784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916" y="6070600"/>
              <a:ext cx="319088" cy="139700"/>
            </a:xfrm>
            <a:custGeom>
              <a:avLst/>
              <a:gdLst>
                <a:gd name="T0" fmla="*/ 94 w 94"/>
                <a:gd name="T1" fmla="*/ 0 h 41"/>
                <a:gd name="T2" fmla="*/ 0 w 94"/>
                <a:gd name="T3" fmla="*/ 41 h 41"/>
                <a:gd name="T4" fmla="*/ 49 w 94"/>
                <a:gd name="T5" fmla="*/ 24 h 41"/>
                <a:gd name="T6" fmla="*/ 71 w 94"/>
                <a:gd name="T7" fmla="*/ 11 h 41"/>
                <a:gd name="T8" fmla="*/ 94 w 94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41">
                  <a:moveTo>
                    <a:pt x="94" y="0"/>
                  </a:moveTo>
                  <a:cubicBezTo>
                    <a:pt x="36" y="19"/>
                    <a:pt x="60" y="28"/>
                    <a:pt x="0" y="41"/>
                  </a:cubicBezTo>
                  <a:cubicBezTo>
                    <a:pt x="15" y="39"/>
                    <a:pt x="37" y="34"/>
                    <a:pt x="49" y="24"/>
                  </a:cubicBezTo>
                  <a:cubicBezTo>
                    <a:pt x="56" y="19"/>
                    <a:pt x="63" y="15"/>
                    <a:pt x="71" y="11"/>
                  </a:cubicBezTo>
                  <a:cubicBezTo>
                    <a:pt x="79" y="7"/>
                    <a:pt x="86" y="3"/>
                    <a:pt x="94" y="0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0" name="Freeform 73">
              <a:extLst>
                <a:ext uri="{FF2B5EF4-FFF2-40B4-BE49-F238E27FC236}">
                  <a16:creationId xmlns:a16="http://schemas.microsoft.com/office/drawing/2014/main" id="{01A00BBB-A79F-4BA6-A674-00DA88492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816" y="6067425"/>
              <a:ext cx="84138" cy="23813"/>
            </a:xfrm>
            <a:custGeom>
              <a:avLst/>
              <a:gdLst>
                <a:gd name="T0" fmla="*/ 25 w 25"/>
                <a:gd name="T1" fmla="*/ 5 h 7"/>
                <a:gd name="T2" fmla="*/ 22 w 25"/>
                <a:gd name="T3" fmla="*/ 7 h 7"/>
                <a:gd name="T4" fmla="*/ 0 w 25"/>
                <a:gd name="T5" fmla="*/ 4 h 7"/>
                <a:gd name="T6" fmla="*/ 2 w 25"/>
                <a:gd name="T7" fmla="*/ 0 h 7"/>
                <a:gd name="T8" fmla="*/ 23 w 25"/>
                <a:gd name="T9" fmla="*/ 3 h 7"/>
                <a:gd name="T10" fmla="*/ 25 w 25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">
                  <a:moveTo>
                    <a:pt x="25" y="5"/>
                  </a:moveTo>
                  <a:cubicBezTo>
                    <a:pt x="24" y="7"/>
                    <a:pt x="23" y="7"/>
                    <a:pt x="22" y="7"/>
                  </a:cubicBezTo>
                  <a:cubicBezTo>
                    <a:pt x="17" y="6"/>
                    <a:pt x="8" y="5"/>
                    <a:pt x="0" y="4"/>
                  </a:cubicBezTo>
                  <a:cubicBezTo>
                    <a:pt x="1" y="3"/>
                    <a:pt x="1" y="1"/>
                    <a:pt x="2" y="0"/>
                  </a:cubicBezTo>
                  <a:cubicBezTo>
                    <a:pt x="12" y="0"/>
                    <a:pt x="22" y="2"/>
                    <a:pt x="23" y="3"/>
                  </a:cubicBezTo>
                  <a:cubicBezTo>
                    <a:pt x="24" y="3"/>
                    <a:pt x="25" y="4"/>
                    <a:pt x="25" y="5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1" name="Freeform 74">
              <a:extLst>
                <a:ext uri="{FF2B5EF4-FFF2-40B4-BE49-F238E27FC236}">
                  <a16:creationId xmlns:a16="http://schemas.microsoft.com/office/drawing/2014/main" id="{28136C4F-03BC-43D2-A243-8B8532D4E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629" y="6019800"/>
              <a:ext cx="57150" cy="36513"/>
            </a:xfrm>
            <a:custGeom>
              <a:avLst/>
              <a:gdLst>
                <a:gd name="T0" fmla="*/ 16 w 17"/>
                <a:gd name="T1" fmla="*/ 9 h 11"/>
                <a:gd name="T2" fmla="*/ 13 w 17"/>
                <a:gd name="T3" fmla="*/ 10 h 11"/>
                <a:gd name="T4" fmla="*/ 0 w 17"/>
                <a:gd name="T5" fmla="*/ 4 h 11"/>
                <a:gd name="T6" fmla="*/ 2 w 17"/>
                <a:gd name="T7" fmla="*/ 0 h 11"/>
                <a:gd name="T8" fmla="*/ 16 w 17"/>
                <a:gd name="T9" fmla="*/ 6 h 11"/>
                <a:gd name="T10" fmla="*/ 16 w 17"/>
                <a:gd name="T1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1">
                  <a:moveTo>
                    <a:pt x="16" y="9"/>
                  </a:moveTo>
                  <a:cubicBezTo>
                    <a:pt x="16" y="10"/>
                    <a:pt x="14" y="11"/>
                    <a:pt x="13" y="10"/>
                  </a:cubicBezTo>
                  <a:cubicBezTo>
                    <a:pt x="13" y="10"/>
                    <a:pt x="7" y="6"/>
                    <a:pt x="0" y="4"/>
                  </a:cubicBezTo>
                  <a:cubicBezTo>
                    <a:pt x="1" y="3"/>
                    <a:pt x="2" y="1"/>
                    <a:pt x="2" y="0"/>
                  </a:cubicBezTo>
                  <a:cubicBezTo>
                    <a:pt x="10" y="2"/>
                    <a:pt x="15" y="6"/>
                    <a:pt x="16" y="6"/>
                  </a:cubicBezTo>
                  <a:cubicBezTo>
                    <a:pt x="17" y="7"/>
                    <a:pt x="17" y="8"/>
                    <a:pt x="16" y="9"/>
                  </a:cubicBez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2" name="Freeform 75">
              <a:extLst>
                <a:ext uri="{FF2B5EF4-FFF2-40B4-BE49-F238E27FC236}">
                  <a16:creationId xmlns:a16="http://schemas.microsoft.com/office/drawing/2014/main" id="{9714FE7F-DBB7-4D2F-89ED-8779199EB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804" y="6203950"/>
              <a:ext cx="187325" cy="77788"/>
            </a:xfrm>
            <a:custGeom>
              <a:avLst/>
              <a:gdLst>
                <a:gd name="T0" fmla="*/ 118 w 118"/>
                <a:gd name="T1" fmla="*/ 27 h 49"/>
                <a:gd name="T2" fmla="*/ 7 w 118"/>
                <a:gd name="T3" fmla="*/ 49 h 49"/>
                <a:gd name="T4" fmla="*/ 0 w 118"/>
                <a:gd name="T5" fmla="*/ 23 h 49"/>
                <a:gd name="T6" fmla="*/ 112 w 118"/>
                <a:gd name="T7" fmla="*/ 0 h 49"/>
                <a:gd name="T8" fmla="*/ 118 w 118"/>
                <a:gd name="T9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49">
                  <a:moveTo>
                    <a:pt x="118" y="27"/>
                  </a:moveTo>
                  <a:lnTo>
                    <a:pt x="7" y="49"/>
                  </a:lnTo>
                  <a:lnTo>
                    <a:pt x="0" y="23"/>
                  </a:lnTo>
                  <a:lnTo>
                    <a:pt x="112" y="0"/>
                  </a:lnTo>
                  <a:lnTo>
                    <a:pt x="118" y="27"/>
                  </a:lnTo>
                  <a:close/>
                </a:path>
              </a:pathLst>
            </a:custGeom>
            <a:solidFill>
              <a:srgbClr val="2C255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3" name="Freeform 76">
              <a:extLst>
                <a:ext uri="{FF2B5EF4-FFF2-40B4-BE49-F238E27FC236}">
                  <a16:creationId xmlns:a16="http://schemas.microsoft.com/office/drawing/2014/main" id="{3F3CD897-4823-4DD1-833B-A81219740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604" y="4314825"/>
              <a:ext cx="565150" cy="273050"/>
            </a:xfrm>
            <a:custGeom>
              <a:avLst/>
              <a:gdLst>
                <a:gd name="T0" fmla="*/ 113 w 166"/>
                <a:gd name="T1" fmla="*/ 13 h 80"/>
                <a:gd name="T2" fmla="*/ 0 w 166"/>
                <a:gd name="T3" fmla="*/ 9 h 80"/>
                <a:gd name="T4" fmla="*/ 1 w 166"/>
                <a:gd name="T5" fmla="*/ 12 h 80"/>
                <a:gd name="T6" fmla="*/ 112 w 166"/>
                <a:gd name="T7" fmla="*/ 16 h 80"/>
                <a:gd name="T8" fmla="*/ 163 w 166"/>
                <a:gd name="T9" fmla="*/ 80 h 80"/>
                <a:gd name="T10" fmla="*/ 166 w 166"/>
                <a:gd name="T11" fmla="*/ 79 h 80"/>
                <a:gd name="T12" fmla="*/ 113 w 166"/>
                <a:gd name="T13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80">
                  <a:moveTo>
                    <a:pt x="113" y="13"/>
                  </a:moveTo>
                  <a:cubicBezTo>
                    <a:pt x="88" y="0"/>
                    <a:pt x="4" y="8"/>
                    <a:pt x="0" y="9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87" y="3"/>
                    <a:pt x="112" y="16"/>
                  </a:cubicBezTo>
                  <a:cubicBezTo>
                    <a:pt x="128" y="23"/>
                    <a:pt x="149" y="56"/>
                    <a:pt x="163" y="80"/>
                  </a:cubicBezTo>
                  <a:cubicBezTo>
                    <a:pt x="164" y="80"/>
                    <a:pt x="165" y="79"/>
                    <a:pt x="166" y="79"/>
                  </a:cubicBezTo>
                  <a:cubicBezTo>
                    <a:pt x="152" y="55"/>
                    <a:pt x="130" y="21"/>
                    <a:pt x="113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4" name="Freeform 77">
              <a:extLst>
                <a:ext uri="{FF2B5EF4-FFF2-40B4-BE49-F238E27FC236}">
                  <a16:creationId xmlns:a16="http://schemas.microsoft.com/office/drawing/2014/main" id="{CF510AF4-7AF8-4A16-A98E-5D9A3FC3B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791" y="4267200"/>
              <a:ext cx="642938" cy="309563"/>
            </a:xfrm>
            <a:custGeom>
              <a:avLst/>
              <a:gdLst>
                <a:gd name="T0" fmla="*/ 122 w 189"/>
                <a:gd name="T1" fmla="*/ 13 h 91"/>
                <a:gd name="T2" fmla="*/ 0 w 189"/>
                <a:gd name="T3" fmla="*/ 10 h 91"/>
                <a:gd name="T4" fmla="*/ 0 w 189"/>
                <a:gd name="T5" fmla="*/ 13 h 91"/>
                <a:gd name="T6" fmla="*/ 121 w 189"/>
                <a:gd name="T7" fmla="*/ 16 h 91"/>
                <a:gd name="T8" fmla="*/ 185 w 189"/>
                <a:gd name="T9" fmla="*/ 91 h 91"/>
                <a:gd name="T10" fmla="*/ 189 w 189"/>
                <a:gd name="T11" fmla="*/ 90 h 91"/>
                <a:gd name="T12" fmla="*/ 122 w 189"/>
                <a:gd name="T13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91">
                  <a:moveTo>
                    <a:pt x="122" y="13"/>
                  </a:moveTo>
                  <a:cubicBezTo>
                    <a:pt x="90" y="0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90" y="3"/>
                    <a:pt x="121" y="16"/>
                  </a:cubicBezTo>
                  <a:cubicBezTo>
                    <a:pt x="140" y="24"/>
                    <a:pt x="168" y="63"/>
                    <a:pt x="185" y="91"/>
                  </a:cubicBezTo>
                  <a:cubicBezTo>
                    <a:pt x="186" y="91"/>
                    <a:pt x="188" y="90"/>
                    <a:pt x="189" y="90"/>
                  </a:cubicBezTo>
                  <a:cubicBezTo>
                    <a:pt x="171" y="62"/>
                    <a:pt x="143" y="22"/>
                    <a:pt x="122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" name="Freeform 78">
              <a:extLst>
                <a:ext uri="{FF2B5EF4-FFF2-40B4-BE49-F238E27FC236}">
                  <a16:creationId xmlns:a16="http://schemas.microsoft.com/office/drawing/2014/main" id="{C6C41DBE-B07F-411F-8F9D-80FDCEB8C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791" y="4294188"/>
              <a:ext cx="84138" cy="17463"/>
            </a:xfrm>
            <a:custGeom>
              <a:avLst/>
              <a:gdLst>
                <a:gd name="T0" fmla="*/ 22 w 25"/>
                <a:gd name="T1" fmla="*/ 0 h 5"/>
                <a:gd name="T2" fmla="*/ 0 w 25"/>
                <a:gd name="T3" fmla="*/ 2 h 5"/>
                <a:gd name="T4" fmla="*/ 0 w 25"/>
                <a:gd name="T5" fmla="*/ 5 h 5"/>
                <a:gd name="T6" fmla="*/ 25 w 25"/>
                <a:gd name="T7" fmla="*/ 3 h 5"/>
                <a:gd name="T8" fmla="*/ 22 w 2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">
                  <a:moveTo>
                    <a:pt x="22" y="0"/>
                  </a:moveTo>
                  <a:cubicBezTo>
                    <a:pt x="10" y="1"/>
                    <a:pt x="1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1" y="4"/>
                    <a:pt x="25" y="3"/>
                  </a:cubicBezTo>
                  <a:cubicBezTo>
                    <a:pt x="24" y="2"/>
                    <a:pt x="23" y="1"/>
                    <a:pt x="22" y="0"/>
                  </a:cubicBezTo>
                  <a:close/>
                </a:path>
              </a:pathLst>
            </a:custGeom>
            <a:solidFill>
              <a:srgbClr val="C6C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" name="Freeform 79">
              <a:extLst>
                <a:ext uri="{FF2B5EF4-FFF2-40B4-BE49-F238E27FC236}">
                  <a16:creationId xmlns:a16="http://schemas.microsoft.com/office/drawing/2014/main" id="{4733302A-1D09-4970-8EEA-8657ECCFB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604" y="4338638"/>
              <a:ext cx="98425" cy="17463"/>
            </a:xfrm>
            <a:custGeom>
              <a:avLst/>
              <a:gdLst>
                <a:gd name="T0" fmla="*/ 0 w 29"/>
                <a:gd name="T1" fmla="*/ 2 h 5"/>
                <a:gd name="T2" fmla="*/ 1 w 29"/>
                <a:gd name="T3" fmla="*/ 5 h 5"/>
                <a:gd name="T4" fmla="*/ 29 w 29"/>
                <a:gd name="T5" fmla="*/ 3 h 5"/>
                <a:gd name="T6" fmla="*/ 27 w 29"/>
                <a:gd name="T7" fmla="*/ 0 h 5"/>
                <a:gd name="T8" fmla="*/ 0 w 29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5">
                  <a:moveTo>
                    <a:pt x="0" y="2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3" y="4"/>
                    <a:pt x="29" y="3"/>
                  </a:cubicBezTo>
                  <a:cubicBezTo>
                    <a:pt x="28" y="2"/>
                    <a:pt x="27" y="1"/>
                    <a:pt x="27" y="0"/>
                  </a:cubicBezTo>
                  <a:cubicBezTo>
                    <a:pt x="12" y="0"/>
                    <a:pt x="2" y="1"/>
                    <a:pt x="0" y="2"/>
                  </a:cubicBezTo>
                  <a:close/>
                </a:path>
              </a:pathLst>
            </a:custGeom>
            <a:solidFill>
              <a:srgbClr val="C6C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" name="Freeform 80">
              <a:extLst>
                <a:ext uri="{FF2B5EF4-FFF2-40B4-BE49-F238E27FC236}">
                  <a16:creationId xmlns:a16="http://schemas.microsoft.com/office/drawing/2014/main" id="{9B9F71B0-D50C-4D15-9AD8-A0C17B02F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354" y="4183063"/>
              <a:ext cx="282575" cy="396875"/>
            </a:xfrm>
            <a:custGeom>
              <a:avLst/>
              <a:gdLst>
                <a:gd name="T0" fmla="*/ 32 w 83"/>
                <a:gd name="T1" fmla="*/ 2 h 117"/>
                <a:gd name="T2" fmla="*/ 72 w 83"/>
                <a:gd name="T3" fmla="*/ 44 h 117"/>
                <a:gd name="T4" fmla="*/ 79 w 83"/>
                <a:gd name="T5" fmla="*/ 92 h 117"/>
                <a:gd name="T6" fmla="*/ 19 w 83"/>
                <a:gd name="T7" fmla="*/ 117 h 117"/>
                <a:gd name="T8" fmla="*/ 10 w 83"/>
                <a:gd name="T9" fmla="*/ 77 h 117"/>
                <a:gd name="T10" fmla="*/ 0 w 83"/>
                <a:gd name="T11" fmla="*/ 39 h 117"/>
                <a:gd name="T12" fmla="*/ 32 w 83"/>
                <a:gd name="T13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17">
                  <a:moveTo>
                    <a:pt x="32" y="2"/>
                  </a:moveTo>
                  <a:cubicBezTo>
                    <a:pt x="55" y="0"/>
                    <a:pt x="65" y="22"/>
                    <a:pt x="72" y="44"/>
                  </a:cubicBezTo>
                  <a:cubicBezTo>
                    <a:pt x="83" y="75"/>
                    <a:pt x="79" y="92"/>
                    <a:pt x="79" y="92"/>
                  </a:cubicBezTo>
                  <a:cubicBezTo>
                    <a:pt x="19" y="117"/>
                    <a:pt x="19" y="117"/>
                    <a:pt x="19" y="117"/>
                  </a:cubicBezTo>
                  <a:cubicBezTo>
                    <a:pt x="19" y="117"/>
                    <a:pt x="18" y="96"/>
                    <a:pt x="10" y="77"/>
                  </a:cubicBezTo>
                  <a:cubicBezTo>
                    <a:pt x="6" y="65"/>
                    <a:pt x="0" y="52"/>
                    <a:pt x="0" y="39"/>
                  </a:cubicBezTo>
                  <a:cubicBezTo>
                    <a:pt x="0" y="21"/>
                    <a:pt x="16" y="4"/>
                    <a:pt x="32" y="2"/>
                  </a:cubicBezTo>
                  <a:close/>
                </a:path>
              </a:pathLst>
            </a:custGeom>
            <a:solidFill>
              <a:srgbClr val="14B4E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" name="Freeform 82">
              <a:extLst>
                <a:ext uri="{FF2B5EF4-FFF2-40B4-BE49-F238E27FC236}">
                  <a16:creationId xmlns:a16="http://schemas.microsoft.com/office/drawing/2014/main" id="{A92E7C90-4B52-4479-A4AD-36162EF7B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054" y="3957638"/>
              <a:ext cx="163513" cy="115888"/>
            </a:xfrm>
            <a:custGeom>
              <a:avLst/>
              <a:gdLst>
                <a:gd name="T0" fmla="*/ 0 w 103"/>
                <a:gd name="T1" fmla="*/ 67 h 73"/>
                <a:gd name="T2" fmla="*/ 88 w 103"/>
                <a:gd name="T3" fmla="*/ 0 h 73"/>
                <a:gd name="T4" fmla="*/ 103 w 103"/>
                <a:gd name="T5" fmla="*/ 5 h 73"/>
                <a:gd name="T6" fmla="*/ 4 w 103"/>
                <a:gd name="T7" fmla="*/ 73 h 73"/>
                <a:gd name="T8" fmla="*/ 0 w 103"/>
                <a:gd name="T9" fmla="*/ 6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73">
                  <a:moveTo>
                    <a:pt x="0" y="67"/>
                  </a:moveTo>
                  <a:lnTo>
                    <a:pt x="88" y="0"/>
                  </a:lnTo>
                  <a:lnTo>
                    <a:pt x="103" y="5"/>
                  </a:lnTo>
                  <a:lnTo>
                    <a:pt x="4" y="73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384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" name="Freeform 83">
              <a:extLst>
                <a:ext uri="{FF2B5EF4-FFF2-40B4-BE49-F238E27FC236}">
                  <a16:creationId xmlns:a16="http://schemas.microsoft.com/office/drawing/2014/main" id="{3FB63911-1825-4AA4-BCAD-916DE6931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004" y="3927475"/>
              <a:ext cx="55563" cy="449263"/>
            </a:xfrm>
            <a:custGeom>
              <a:avLst/>
              <a:gdLst>
                <a:gd name="T0" fmla="*/ 8 w 16"/>
                <a:gd name="T1" fmla="*/ 0 h 132"/>
                <a:gd name="T2" fmla="*/ 12 w 16"/>
                <a:gd name="T3" fmla="*/ 115 h 132"/>
                <a:gd name="T4" fmla="*/ 5 w 16"/>
                <a:gd name="T5" fmla="*/ 126 h 132"/>
                <a:gd name="T6" fmla="*/ 0 w 16"/>
                <a:gd name="T7" fmla="*/ 124 h 132"/>
                <a:gd name="T8" fmla="*/ 2 w 16"/>
                <a:gd name="T9" fmla="*/ 122 h 132"/>
                <a:gd name="T10" fmla="*/ 9 w 16"/>
                <a:gd name="T11" fmla="*/ 66 h 132"/>
                <a:gd name="T12" fmla="*/ 3 w 16"/>
                <a:gd name="T13" fmla="*/ 1 h 132"/>
                <a:gd name="T14" fmla="*/ 8 w 16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2">
                  <a:moveTo>
                    <a:pt x="8" y="0"/>
                  </a:moveTo>
                  <a:cubicBezTo>
                    <a:pt x="11" y="26"/>
                    <a:pt x="16" y="89"/>
                    <a:pt x="12" y="115"/>
                  </a:cubicBezTo>
                  <a:cubicBezTo>
                    <a:pt x="11" y="119"/>
                    <a:pt x="10" y="125"/>
                    <a:pt x="5" y="126"/>
                  </a:cubicBezTo>
                  <a:cubicBezTo>
                    <a:pt x="3" y="127"/>
                    <a:pt x="1" y="125"/>
                    <a:pt x="0" y="124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12" y="132"/>
                    <a:pt x="9" y="78"/>
                    <a:pt x="9" y="66"/>
                  </a:cubicBezTo>
                  <a:cubicBezTo>
                    <a:pt x="7" y="44"/>
                    <a:pt x="5" y="23"/>
                    <a:pt x="3" y="1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2B32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" name="Freeform 84">
              <a:extLst>
                <a:ext uri="{FF2B5EF4-FFF2-40B4-BE49-F238E27FC236}">
                  <a16:creationId xmlns:a16="http://schemas.microsoft.com/office/drawing/2014/main" id="{833EFEB6-3873-4E91-9410-2F5ADE249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004" y="3679825"/>
              <a:ext cx="568325" cy="360363"/>
            </a:xfrm>
            <a:custGeom>
              <a:avLst/>
              <a:gdLst>
                <a:gd name="T0" fmla="*/ 22 w 167"/>
                <a:gd name="T1" fmla="*/ 105 h 106"/>
                <a:gd name="T2" fmla="*/ 48 w 167"/>
                <a:gd name="T3" fmla="*/ 102 h 106"/>
                <a:gd name="T4" fmla="*/ 120 w 167"/>
                <a:gd name="T5" fmla="*/ 85 h 106"/>
                <a:gd name="T6" fmla="*/ 149 w 167"/>
                <a:gd name="T7" fmla="*/ 83 h 106"/>
                <a:gd name="T8" fmla="*/ 158 w 167"/>
                <a:gd name="T9" fmla="*/ 17 h 106"/>
                <a:gd name="T10" fmla="*/ 56 w 167"/>
                <a:gd name="T11" fmla="*/ 24 h 106"/>
                <a:gd name="T12" fmla="*/ 22 w 167"/>
                <a:gd name="T13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106">
                  <a:moveTo>
                    <a:pt x="22" y="105"/>
                  </a:moveTo>
                  <a:cubicBezTo>
                    <a:pt x="22" y="105"/>
                    <a:pt x="23" y="106"/>
                    <a:pt x="48" y="102"/>
                  </a:cubicBezTo>
                  <a:cubicBezTo>
                    <a:pt x="73" y="99"/>
                    <a:pt x="110" y="83"/>
                    <a:pt x="120" y="85"/>
                  </a:cubicBezTo>
                  <a:cubicBezTo>
                    <a:pt x="130" y="86"/>
                    <a:pt x="142" y="86"/>
                    <a:pt x="149" y="83"/>
                  </a:cubicBezTo>
                  <a:cubicBezTo>
                    <a:pt x="157" y="79"/>
                    <a:pt x="167" y="27"/>
                    <a:pt x="158" y="17"/>
                  </a:cubicBezTo>
                  <a:cubicBezTo>
                    <a:pt x="149" y="8"/>
                    <a:pt x="90" y="0"/>
                    <a:pt x="56" y="24"/>
                  </a:cubicBezTo>
                  <a:cubicBezTo>
                    <a:pt x="22" y="49"/>
                    <a:pt x="0" y="90"/>
                    <a:pt x="22" y="105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" name="Freeform 85">
              <a:extLst>
                <a:ext uri="{FF2B5EF4-FFF2-40B4-BE49-F238E27FC236}">
                  <a16:creationId xmlns:a16="http://schemas.microsoft.com/office/drawing/2014/main" id="{64874B3D-13B6-4097-9F0D-F1F10BE40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441" y="3775075"/>
              <a:ext cx="481013" cy="261938"/>
            </a:xfrm>
            <a:custGeom>
              <a:avLst/>
              <a:gdLst>
                <a:gd name="T0" fmla="*/ 37 w 141"/>
                <a:gd name="T1" fmla="*/ 29 h 77"/>
                <a:gd name="T2" fmla="*/ 0 w 141"/>
                <a:gd name="T3" fmla="*/ 76 h 77"/>
                <a:gd name="T4" fmla="*/ 1 w 141"/>
                <a:gd name="T5" fmla="*/ 77 h 77"/>
                <a:gd name="T6" fmla="*/ 7 w 141"/>
                <a:gd name="T7" fmla="*/ 77 h 77"/>
                <a:gd name="T8" fmla="*/ 41 w 141"/>
                <a:gd name="T9" fmla="*/ 34 h 77"/>
                <a:gd name="T10" fmla="*/ 141 w 141"/>
                <a:gd name="T11" fmla="*/ 10 h 77"/>
                <a:gd name="T12" fmla="*/ 141 w 141"/>
                <a:gd name="T13" fmla="*/ 3 h 77"/>
                <a:gd name="T14" fmla="*/ 37 w 141"/>
                <a:gd name="T15" fmla="*/ 2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77">
                  <a:moveTo>
                    <a:pt x="37" y="29"/>
                  </a:moveTo>
                  <a:cubicBezTo>
                    <a:pt x="10" y="47"/>
                    <a:pt x="2" y="68"/>
                    <a:pt x="0" y="76"/>
                  </a:cubicBezTo>
                  <a:cubicBezTo>
                    <a:pt x="0" y="76"/>
                    <a:pt x="1" y="76"/>
                    <a:pt x="1" y="77"/>
                  </a:cubicBezTo>
                  <a:cubicBezTo>
                    <a:pt x="1" y="77"/>
                    <a:pt x="2" y="77"/>
                    <a:pt x="7" y="77"/>
                  </a:cubicBezTo>
                  <a:cubicBezTo>
                    <a:pt x="8" y="70"/>
                    <a:pt x="16" y="51"/>
                    <a:pt x="41" y="34"/>
                  </a:cubicBezTo>
                  <a:cubicBezTo>
                    <a:pt x="69" y="14"/>
                    <a:pt x="114" y="6"/>
                    <a:pt x="141" y="10"/>
                  </a:cubicBezTo>
                  <a:cubicBezTo>
                    <a:pt x="141" y="8"/>
                    <a:pt x="141" y="6"/>
                    <a:pt x="141" y="3"/>
                  </a:cubicBezTo>
                  <a:cubicBezTo>
                    <a:pt x="112" y="0"/>
                    <a:pt x="67" y="8"/>
                    <a:pt x="37" y="29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" name="Freeform 86">
              <a:extLst>
                <a:ext uri="{FF2B5EF4-FFF2-40B4-BE49-F238E27FC236}">
                  <a16:creationId xmlns:a16="http://schemas.microsoft.com/office/drawing/2014/main" id="{8E529712-89C3-4F7C-B337-F77A145DE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454" y="3730625"/>
              <a:ext cx="504825" cy="277813"/>
            </a:xfrm>
            <a:custGeom>
              <a:avLst/>
              <a:gdLst>
                <a:gd name="T0" fmla="*/ 41 w 148"/>
                <a:gd name="T1" fmla="*/ 35 h 82"/>
                <a:gd name="T2" fmla="*/ 148 w 148"/>
                <a:gd name="T3" fmla="*/ 9 h 82"/>
                <a:gd name="T4" fmla="*/ 146 w 148"/>
                <a:gd name="T5" fmla="*/ 3 h 82"/>
                <a:gd name="T6" fmla="*/ 38 w 148"/>
                <a:gd name="T7" fmla="*/ 31 h 82"/>
                <a:gd name="T8" fmla="*/ 0 w 148"/>
                <a:gd name="T9" fmla="*/ 74 h 82"/>
                <a:gd name="T10" fmla="*/ 3 w 148"/>
                <a:gd name="T11" fmla="*/ 82 h 82"/>
                <a:gd name="T12" fmla="*/ 41 w 148"/>
                <a:gd name="T13" fmla="*/ 3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82">
                  <a:moveTo>
                    <a:pt x="41" y="35"/>
                  </a:moveTo>
                  <a:cubicBezTo>
                    <a:pt x="72" y="14"/>
                    <a:pt x="118" y="5"/>
                    <a:pt x="148" y="9"/>
                  </a:cubicBezTo>
                  <a:cubicBezTo>
                    <a:pt x="148" y="6"/>
                    <a:pt x="147" y="5"/>
                    <a:pt x="146" y="3"/>
                  </a:cubicBezTo>
                  <a:cubicBezTo>
                    <a:pt x="115" y="0"/>
                    <a:pt x="70" y="9"/>
                    <a:pt x="38" y="31"/>
                  </a:cubicBezTo>
                  <a:cubicBezTo>
                    <a:pt x="18" y="45"/>
                    <a:pt x="6" y="60"/>
                    <a:pt x="0" y="74"/>
                  </a:cubicBezTo>
                  <a:cubicBezTo>
                    <a:pt x="1" y="77"/>
                    <a:pt x="1" y="79"/>
                    <a:pt x="3" y="82"/>
                  </a:cubicBezTo>
                  <a:cubicBezTo>
                    <a:pt x="7" y="70"/>
                    <a:pt x="18" y="51"/>
                    <a:pt x="41" y="35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" name="Freeform 87">
              <a:extLst>
                <a:ext uri="{FF2B5EF4-FFF2-40B4-BE49-F238E27FC236}">
                  <a16:creationId xmlns:a16="http://schemas.microsoft.com/office/drawing/2014/main" id="{483FA4DD-8E3B-4DC9-969D-B3CAA4CF0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7441" y="4049713"/>
              <a:ext cx="98425" cy="88900"/>
            </a:xfrm>
            <a:custGeom>
              <a:avLst/>
              <a:gdLst>
                <a:gd name="T0" fmla="*/ 9 w 29"/>
                <a:gd name="T1" fmla="*/ 2 h 26"/>
                <a:gd name="T2" fmla="*/ 1 w 29"/>
                <a:gd name="T3" fmla="*/ 6 h 26"/>
                <a:gd name="T4" fmla="*/ 9 w 29"/>
                <a:gd name="T5" fmla="*/ 20 h 26"/>
                <a:gd name="T6" fmla="*/ 28 w 29"/>
                <a:gd name="T7" fmla="*/ 8 h 26"/>
                <a:gd name="T8" fmla="*/ 9 w 29"/>
                <a:gd name="T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9" y="2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14"/>
                    <a:pt x="9" y="20"/>
                  </a:cubicBezTo>
                  <a:cubicBezTo>
                    <a:pt x="19" y="26"/>
                    <a:pt x="29" y="13"/>
                    <a:pt x="28" y="8"/>
                  </a:cubicBezTo>
                  <a:cubicBezTo>
                    <a:pt x="26" y="4"/>
                    <a:pt x="15" y="0"/>
                    <a:pt x="9" y="2"/>
                  </a:cubicBezTo>
                  <a:close/>
                </a:path>
              </a:pathLst>
            </a:custGeom>
            <a:solidFill>
              <a:srgbClr val="2026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" name="Freeform 88">
              <a:extLst>
                <a:ext uri="{FF2B5EF4-FFF2-40B4-BE49-F238E27FC236}">
                  <a16:creationId xmlns:a16="http://schemas.microsoft.com/office/drawing/2014/main" id="{59DE10B7-4C8E-4826-9A58-432031B3B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3316" y="4070350"/>
              <a:ext cx="41275" cy="41275"/>
            </a:xfrm>
            <a:custGeom>
              <a:avLst/>
              <a:gdLst>
                <a:gd name="T0" fmla="*/ 2 w 12"/>
                <a:gd name="T1" fmla="*/ 0 h 12"/>
                <a:gd name="T2" fmla="*/ 3 w 12"/>
                <a:gd name="T3" fmla="*/ 8 h 12"/>
                <a:gd name="T4" fmla="*/ 12 w 12"/>
                <a:gd name="T5" fmla="*/ 12 h 12"/>
                <a:gd name="T6" fmla="*/ 2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0"/>
                  </a:moveTo>
                  <a:cubicBezTo>
                    <a:pt x="2" y="0"/>
                    <a:pt x="0" y="4"/>
                    <a:pt x="3" y="8"/>
                  </a:cubicBezTo>
                  <a:cubicBezTo>
                    <a:pt x="6" y="12"/>
                    <a:pt x="12" y="12"/>
                    <a:pt x="12" y="12"/>
                  </a:cubicBezTo>
                  <a:cubicBezTo>
                    <a:pt x="12" y="12"/>
                    <a:pt x="3" y="10"/>
                    <a:pt x="2" y="0"/>
                  </a:cubicBezTo>
                  <a:close/>
                </a:path>
              </a:pathLst>
            </a:custGeom>
            <a:solidFill>
              <a:srgbClr val="3842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05" name="TextBox 604">
            <a:extLst>
              <a:ext uri="{FF2B5EF4-FFF2-40B4-BE49-F238E27FC236}">
                <a16:creationId xmlns:a16="http://schemas.microsoft.com/office/drawing/2014/main" id="{01554102-EF2F-47DE-80FA-15E02CFFAD69}"/>
              </a:ext>
            </a:extLst>
          </p:cNvPr>
          <p:cNvSpPr txBox="1"/>
          <p:nvPr/>
        </p:nvSpPr>
        <p:spPr>
          <a:xfrm>
            <a:off x="445143" y="277008"/>
            <a:ext cx="32395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00" b="1">
                <a:solidFill>
                  <a:schemeClr val="bg1"/>
                </a:solidFill>
                <a:latin typeface="Century Gothic" panose="020B0502020202020204" pitchFamily="34" charset="0"/>
              </a:rPr>
              <a:t>Q&amp;A</a:t>
            </a:r>
          </a:p>
        </p:txBody>
      </p:sp>
      <p:sp>
        <p:nvSpPr>
          <p:cNvPr id="606" name="Freeform 556">
            <a:extLst>
              <a:ext uri="{FF2B5EF4-FFF2-40B4-BE49-F238E27FC236}">
                <a16:creationId xmlns:a16="http://schemas.microsoft.com/office/drawing/2014/main" id="{EC20BAF2-22E7-4F56-B929-938919D3B74D}"/>
              </a:ext>
            </a:extLst>
          </p:cNvPr>
          <p:cNvSpPr>
            <a:spLocks/>
          </p:cNvSpPr>
          <p:nvPr/>
        </p:nvSpPr>
        <p:spPr bwMode="auto">
          <a:xfrm>
            <a:off x="6815288" y="6260685"/>
            <a:ext cx="3590623" cy="211777"/>
          </a:xfrm>
          <a:custGeom>
            <a:avLst/>
            <a:gdLst>
              <a:gd name="T0" fmla="*/ 0 w 2145"/>
              <a:gd name="T1" fmla="*/ 120 h 126"/>
              <a:gd name="T2" fmla="*/ 154 w 2145"/>
              <a:gd name="T3" fmla="*/ 65 h 126"/>
              <a:gd name="T4" fmla="*/ 400 w 2145"/>
              <a:gd name="T5" fmla="*/ 55 h 126"/>
              <a:gd name="T6" fmla="*/ 549 w 2145"/>
              <a:gd name="T7" fmla="*/ 60 h 126"/>
              <a:gd name="T8" fmla="*/ 823 w 2145"/>
              <a:gd name="T9" fmla="*/ 81 h 126"/>
              <a:gd name="T10" fmla="*/ 1230 w 2145"/>
              <a:gd name="T11" fmla="*/ 35 h 126"/>
              <a:gd name="T12" fmla="*/ 1649 w 2145"/>
              <a:gd name="T13" fmla="*/ 65 h 126"/>
              <a:gd name="T14" fmla="*/ 2145 w 2145"/>
              <a:gd name="T15" fmla="*/ 120 h 126"/>
              <a:gd name="T16" fmla="*/ 0 w 2145"/>
              <a:gd name="T17" fmla="*/ 12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45" h="126">
                <a:moveTo>
                  <a:pt x="0" y="120"/>
                </a:moveTo>
                <a:cubicBezTo>
                  <a:pt x="0" y="120"/>
                  <a:pt x="27" y="45"/>
                  <a:pt x="154" y="65"/>
                </a:cubicBezTo>
                <a:cubicBezTo>
                  <a:pt x="281" y="85"/>
                  <a:pt x="337" y="71"/>
                  <a:pt x="400" y="55"/>
                </a:cubicBezTo>
                <a:cubicBezTo>
                  <a:pt x="462" y="39"/>
                  <a:pt x="489" y="38"/>
                  <a:pt x="549" y="60"/>
                </a:cubicBezTo>
                <a:cubicBezTo>
                  <a:pt x="608" y="81"/>
                  <a:pt x="629" y="126"/>
                  <a:pt x="823" y="81"/>
                </a:cubicBezTo>
                <a:cubicBezTo>
                  <a:pt x="1017" y="37"/>
                  <a:pt x="1109" y="0"/>
                  <a:pt x="1230" y="35"/>
                </a:cubicBezTo>
                <a:cubicBezTo>
                  <a:pt x="1351" y="69"/>
                  <a:pt x="1500" y="6"/>
                  <a:pt x="1649" y="65"/>
                </a:cubicBezTo>
                <a:cubicBezTo>
                  <a:pt x="1798" y="124"/>
                  <a:pt x="2028" y="21"/>
                  <a:pt x="2145" y="120"/>
                </a:cubicBezTo>
                <a:cubicBezTo>
                  <a:pt x="0" y="120"/>
                  <a:pt x="0" y="120"/>
                  <a:pt x="0" y="12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CD72DF2-BDC0-4528-A86C-FDC8DB6DAB0D}"/>
              </a:ext>
            </a:extLst>
          </p:cNvPr>
          <p:cNvSpPr txBox="1"/>
          <p:nvPr/>
        </p:nvSpPr>
        <p:spPr>
          <a:xfrm>
            <a:off x="8155716" y="2612849"/>
            <a:ext cx="32318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hank</a:t>
            </a:r>
          </a:p>
          <a:p>
            <a:pPr algn="r"/>
            <a:r>
              <a:rPr lang="en-US" sz="7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You!</a:t>
            </a:r>
          </a:p>
        </p:txBody>
      </p:sp>
    </p:spTree>
    <p:extLst>
      <p:ext uri="{BB962C8B-B14F-4D97-AF65-F5344CB8AC3E}">
        <p14:creationId xmlns:p14="http://schemas.microsoft.com/office/powerpoint/2010/main" val="1956169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250"/>
                                        <p:tgtEl>
                                          <p:spTgt spid="5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250"/>
                                        <p:tgtEl>
                                          <p:spTgt spid="5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1250"/>
                                        <p:tgtEl>
                                          <p:spTgt spid="6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250"/>
                                        <p:tgtEl>
                                          <p:spTgt spid="6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6" grpId="0" animBg="1"/>
      <p:bldP spid="6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Rectangle: Top Corners Rounded 448">
            <a:extLst>
              <a:ext uri="{FF2B5EF4-FFF2-40B4-BE49-F238E27FC236}">
                <a16:creationId xmlns:a16="http://schemas.microsoft.com/office/drawing/2014/main" id="{F0A72A91-71B8-4330-9431-CFC5345CF644}"/>
              </a:ext>
            </a:extLst>
          </p:cNvPr>
          <p:cNvSpPr/>
          <p:nvPr/>
        </p:nvSpPr>
        <p:spPr>
          <a:xfrm rot="5400000">
            <a:off x="5944458" y="1433533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" name="Oval 449">
            <a:extLst>
              <a:ext uri="{FF2B5EF4-FFF2-40B4-BE49-F238E27FC236}">
                <a16:creationId xmlns:a16="http://schemas.microsoft.com/office/drawing/2014/main" id="{9478E8FF-2CA4-4398-938A-3E083092F105}"/>
              </a:ext>
            </a:extLst>
          </p:cNvPr>
          <p:cNvSpPr/>
          <p:nvPr/>
        </p:nvSpPr>
        <p:spPr>
          <a:xfrm>
            <a:off x="6114712" y="1626417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8FEB64E1-71A1-4822-B799-2E6A2499DAA2}"/>
              </a:ext>
            </a:extLst>
          </p:cNvPr>
          <p:cNvGrpSpPr/>
          <p:nvPr/>
        </p:nvGrpSpPr>
        <p:grpSpPr>
          <a:xfrm>
            <a:off x="7037359" y="1697540"/>
            <a:ext cx="2088133" cy="586943"/>
            <a:chOff x="6864635" y="1867646"/>
            <a:chExt cx="1123664" cy="586943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88064A65-B8EE-4CC5-8777-5171834A8C73}"/>
                </a:ext>
              </a:extLst>
            </p:cNvPr>
            <p:cNvSpPr/>
            <p:nvPr/>
          </p:nvSpPr>
          <p:spPr>
            <a:xfrm>
              <a:off x="6864635" y="1867646"/>
              <a:ext cx="1030511" cy="5539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Industry Overview</a:t>
              </a:r>
            </a:p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&amp; Business Case</a:t>
              </a:r>
            </a:p>
          </p:txBody>
        </p: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A2759C93-BB28-4B20-94CD-28652EBB04B2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9" name="Rectangle: Top Corners Rounded 358">
            <a:extLst>
              <a:ext uri="{FF2B5EF4-FFF2-40B4-BE49-F238E27FC236}">
                <a16:creationId xmlns:a16="http://schemas.microsoft.com/office/drawing/2014/main" id="{BBF48C2A-F9B9-4BBE-BA74-BF672CEACAE2}"/>
              </a:ext>
            </a:extLst>
          </p:cNvPr>
          <p:cNvSpPr/>
          <p:nvPr/>
        </p:nvSpPr>
        <p:spPr>
          <a:xfrm rot="5400000">
            <a:off x="5944458" y="2755772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ACA6185D-B34E-4C3E-A227-ACEA8A8583C4}"/>
              </a:ext>
            </a:extLst>
          </p:cNvPr>
          <p:cNvSpPr/>
          <p:nvPr/>
        </p:nvSpPr>
        <p:spPr>
          <a:xfrm>
            <a:off x="6114712" y="2948656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CE88883D-BC7E-40F7-90B4-891CA313F71E}"/>
              </a:ext>
            </a:extLst>
          </p:cNvPr>
          <p:cNvGrpSpPr/>
          <p:nvPr/>
        </p:nvGrpSpPr>
        <p:grpSpPr>
          <a:xfrm>
            <a:off x="6745601" y="2969259"/>
            <a:ext cx="2379900" cy="584795"/>
            <a:chOff x="6572876" y="1869794"/>
            <a:chExt cx="1415423" cy="584795"/>
          </a:xfrm>
        </p:grpSpPr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02C0EC0E-FDCE-4FCA-A649-30984C3ED4C7}"/>
                </a:ext>
              </a:extLst>
            </p:cNvPr>
            <p:cNvSpPr/>
            <p:nvPr/>
          </p:nvSpPr>
          <p:spPr>
            <a:xfrm>
              <a:off x="6572876" y="2023690"/>
              <a:ext cx="1363494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rgbClr val="F1604D"/>
                  </a:solidFill>
                  <a:latin typeface="+mj-lt"/>
                </a:rPr>
                <a:t>Data Exploration</a:t>
              </a:r>
            </a:p>
          </p:txBody>
        </p: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5D1C800E-D713-4132-B007-4A9DF10A51AA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6" name="Rectangle: Top Corners Rounded 365">
            <a:extLst>
              <a:ext uri="{FF2B5EF4-FFF2-40B4-BE49-F238E27FC236}">
                <a16:creationId xmlns:a16="http://schemas.microsoft.com/office/drawing/2014/main" id="{D2883F3D-FD2E-4B07-92D2-F9E789B98961}"/>
              </a:ext>
            </a:extLst>
          </p:cNvPr>
          <p:cNvSpPr/>
          <p:nvPr/>
        </p:nvSpPr>
        <p:spPr>
          <a:xfrm rot="5400000">
            <a:off x="5944458" y="407801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DC9ED136-03DE-4F8A-85B9-8B31FC6C4A86}"/>
              </a:ext>
            </a:extLst>
          </p:cNvPr>
          <p:cNvSpPr/>
          <p:nvPr/>
        </p:nvSpPr>
        <p:spPr>
          <a:xfrm>
            <a:off x="6114712" y="427089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78978E55-D75C-4FD8-A0D9-1DEEAC14E76E}"/>
              </a:ext>
            </a:extLst>
          </p:cNvPr>
          <p:cNvGrpSpPr/>
          <p:nvPr/>
        </p:nvGrpSpPr>
        <p:grpSpPr>
          <a:xfrm>
            <a:off x="7006343" y="4300871"/>
            <a:ext cx="2119159" cy="584795"/>
            <a:chOff x="6794056" y="1869794"/>
            <a:chExt cx="1194243" cy="584795"/>
          </a:xfrm>
        </p:grpSpPr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426002F4-9E30-458E-8558-CF6EDD4F5275}"/>
                </a:ext>
              </a:extLst>
            </p:cNvPr>
            <p:cNvSpPr/>
            <p:nvPr/>
          </p:nvSpPr>
          <p:spPr>
            <a:xfrm>
              <a:off x="6794056" y="2023690"/>
              <a:ext cx="112112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Model and Evaluation </a:t>
              </a:r>
            </a:p>
          </p:txBody>
        </p: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27CCFB0E-2D49-4634-9ED4-876225D7CC34}"/>
                </a:ext>
              </a:extLst>
            </p:cNvPr>
            <p:cNvCxnSpPr/>
            <p:nvPr/>
          </p:nvCxnSpPr>
          <p:spPr>
            <a:xfrm>
              <a:off x="7988299" y="1869794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3" name="Rectangle: Top Corners Rounded 372">
            <a:extLst>
              <a:ext uri="{FF2B5EF4-FFF2-40B4-BE49-F238E27FC236}">
                <a16:creationId xmlns:a16="http://schemas.microsoft.com/office/drawing/2014/main" id="{E2675A36-160D-4276-A956-3D2CDEEE94D0}"/>
              </a:ext>
            </a:extLst>
          </p:cNvPr>
          <p:cNvSpPr/>
          <p:nvPr/>
        </p:nvSpPr>
        <p:spPr>
          <a:xfrm rot="5400000">
            <a:off x="5944458" y="5400251"/>
            <a:ext cx="985255" cy="103051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160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B1B29EBC-F878-4532-9F29-E9A5A0C8CA33}"/>
              </a:ext>
            </a:extLst>
          </p:cNvPr>
          <p:cNvSpPr/>
          <p:nvPr/>
        </p:nvSpPr>
        <p:spPr>
          <a:xfrm>
            <a:off x="6114712" y="5593135"/>
            <a:ext cx="644746" cy="644746"/>
          </a:xfrm>
          <a:prstGeom prst="ellipse">
            <a:avLst/>
          </a:prstGeom>
          <a:solidFill>
            <a:srgbClr val="3B3E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359D68F8-9693-495F-9AB8-49F23A1B2B99}"/>
              </a:ext>
            </a:extLst>
          </p:cNvPr>
          <p:cNvGrpSpPr/>
          <p:nvPr/>
        </p:nvGrpSpPr>
        <p:grpSpPr>
          <a:xfrm>
            <a:off x="7128345" y="5606641"/>
            <a:ext cx="1997162" cy="584795"/>
            <a:chOff x="7108737" y="1862971"/>
            <a:chExt cx="1997162" cy="584795"/>
          </a:xfrm>
        </p:grpSpPr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90208D9B-C9C0-427E-A4E0-C20D7D9EB228}"/>
                </a:ext>
              </a:extLst>
            </p:cNvPr>
            <p:cNvSpPr/>
            <p:nvPr/>
          </p:nvSpPr>
          <p:spPr>
            <a:xfrm>
              <a:off x="7108737" y="2008303"/>
              <a:ext cx="1893016" cy="3077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2000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rPr>
                <a:t>Recommendations</a:t>
              </a:r>
            </a:p>
          </p:txBody>
        </p: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69903CAF-2DAE-409F-B9D3-A1FACC4F44EA}"/>
                </a:ext>
              </a:extLst>
            </p:cNvPr>
            <p:cNvCxnSpPr/>
            <p:nvPr/>
          </p:nvCxnSpPr>
          <p:spPr>
            <a:xfrm>
              <a:off x="9105899" y="1862971"/>
              <a:ext cx="0" cy="584795"/>
            </a:xfrm>
            <a:prstGeom prst="line">
              <a:avLst/>
            </a:prstGeom>
            <a:ln>
              <a:solidFill>
                <a:srgbClr val="3B3E9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BEA7A9-CC5F-4A6F-A837-874D69AEACC3}"/>
              </a:ext>
            </a:extLst>
          </p:cNvPr>
          <p:cNvGrpSpPr/>
          <p:nvPr/>
        </p:nvGrpSpPr>
        <p:grpSpPr>
          <a:xfrm>
            <a:off x="0" y="942492"/>
            <a:ext cx="6034133" cy="5498253"/>
            <a:chOff x="0" y="685800"/>
            <a:chExt cx="6034133" cy="549825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ACCEDB7-69C5-4F03-A857-AF2DB03AFF66}"/>
                </a:ext>
              </a:extLst>
            </p:cNvPr>
            <p:cNvSpPr/>
            <p:nvPr/>
          </p:nvSpPr>
          <p:spPr>
            <a:xfrm rot="5400000">
              <a:off x="3546537" y="3696457"/>
              <a:ext cx="4739714" cy="23547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10000"/>
                  </a:schemeClr>
                </a:gs>
                <a:gs pos="93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553DA69-AACC-4F2E-9733-3B488AC56CB7}"/>
                </a:ext>
              </a:extLst>
            </p:cNvPr>
            <p:cNvSpPr/>
            <p:nvPr/>
          </p:nvSpPr>
          <p:spPr>
            <a:xfrm>
              <a:off x="0" y="685800"/>
              <a:ext cx="5921829" cy="5486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48" name="Picture 447" descr="A picture containing sitting&#10;&#10;Description automatically generated">
            <a:extLst>
              <a:ext uri="{FF2B5EF4-FFF2-40B4-BE49-F238E27FC236}">
                <a16:creationId xmlns:a16="http://schemas.microsoft.com/office/drawing/2014/main" id="{21ED10EA-DB44-416E-9EBA-AC64F409DF8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14"/>
          <a:stretch/>
        </p:blipFill>
        <p:spPr>
          <a:xfrm>
            <a:off x="242977" y="1817148"/>
            <a:ext cx="5243421" cy="3748940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9A629FB9-C7FE-47A9-AB98-FE5447343A18}"/>
              </a:ext>
            </a:extLst>
          </p:cNvPr>
          <p:cNvGrpSpPr/>
          <p:nvPr/>
        </p:nvGrpSpPr>
        <p:grpSpPr>
          <a:xfrm>
            <a:off x="692378" y="2711762"/>
            <a:ext cx="4489450" cy="2854326"/>
            <a:chOff x="779463" y="2263775"/>
            <a:chExt cx="4489450" cy="2854326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F9E24B0-8FA3-4A13-A99C-FC2999FE7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6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5" y="18"/>
                    <a:pt x="19" y="115"/>
                    <a:pt x="19" y="233"/>
                  </a:cubicBezTo>
                  <a:cubicBezTo>
                    <a:pt x="19" y="352"/>
                    <a:pt x="115" y="448"/>
                    <a:pt x="234" y="448"/>
                  </a:cubicBezTo>
                  <a:cubicBezTo>
                    <a:pt x="352" y="448"/>
                    <a:pt x="449" y="352"/>
                    <a:pt x="449" y="233"/>
                  </a:cubicBezTo>
                  <a:cubicBezTo>
                    <a:pt x="449" y="115"/>
                    <a:pt x="352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0BF4FEB-3922-48E8-A16F-CC91EDA4E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95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F573261-FA4E-43DE-B185-BFAE721C9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613" y="3354388"/>
              <a:ext cx="1765300" cy="1763713"/>
            </a:xfrm>
            <a:custGeom>
              <a:avLst/>
              <a:gdLst>
                <a:gd name="T0" fmla="*/ 234 w 468"/>
                <a:gd name="T1" fmla="*/ 18 h 467"/>
                <a:gd name="T2" fmla="*/ 19 w 468"/>
                <a:gd name="T3" fmla="*/ 233 h 467"/>
                <a:gd name="T4" fmla="*/ 234 w 468"/>
                <a:gd name="T5" fmla="*/ 448 h 467"/>
                <a:gd name="T6" fmla="*/ 449 w 468"/>
                <a:gd name="T7" fmla="*/ 233 h 467"/>
                <a:gd name="T8" fmla="*/ 234 w 468"/>
                <a:gd name="T9" fmla="*/ 18 h 467"/>
                <a:gd name="T10" fmla="*/ 234 w 468"/>
                <a:gd name="T11" fmla="*/ 18 h 467"/>
                <a:gd name="T12" fmla="*/ 234 w 468"/>
                <a:gd name="T13" fmla="*/ 467 h 467"/>
                <a:gd name="T14" fmla="*/ 0 w 468"/>
                <a:gd name="T15" fmla="*/ 233 h 467"/>
                <a:gd name="T16" fmla="*/ 234 w 468"/>
                <a:gd name="T17" fmla="*/ 0 h 467"/>
                <a:gd name="T18" fmla="*/ 468 w 468"/>
                <a:gd name="T19" fmla="*/ 233 h 467"/>
                <a:gd name="T20" fmla="*/ 234 w 468"/>
                <a:gd name="T21" fmla="*/ 467 h 467"/>
                <a:gd name="T22" fmla="*/ 234 w 468"/>
                <a:gd name="T2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8" h="467">
                  <a:moveTo>
                    <a:pt x="234" y="18"/>
                  </a:moveTo>
                  <a:cubicBezTo>
                    <a:pt x="116" y="18"/>
                    <a:pt x="19" y="115"/>
                    <a:pt x="19" y="233"/>
                  </a:cubicBezTo>
                  <a:cubicBezTo>
                    <a:pt x="19" y="352"/>
                    <a:pt x="116" y="448"/>
                    <a:pt x="234" y="448"/>
                  </a:cubicBezTo>
                  <a:cubicBezTo>
                    <a:pt x="353" y="448"/>
                    <a:pt x="449" y="352"/>
                    <a:pt x="449" y="233"/>
                  </a:cubicBezTo>
                  <a:cubicBezTo>
                    <a:pt x="449" y="115"/>
                    <a:pt x="353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lose/>
                  <a:moveTo>
                    <a:pt x="234" y="467"/>
                  </a:moveTo>
                  <a:cubicBezTo>
                    <a:pt x="105" y="467"/>
                    <a:pt x="0" y="362"/>
                    <a:pt x="0" y="233"/>
                  </a:cubicBezTo>
                  <a:cubicBezTo>
                    <a:pt x="0" y="104"/>
                    <a:pt x="105" y="0"/>
                    <a:pt x="234" y="0"/>
                  </a:cubicBezTo>
                  <a:cubicBezTo>
                    <a:pt x="363" y="0"/>
                    <a:pt x="468" y="104"/>
                    <a:pt x="468" y="233"/>
                  </a:cubicBezTo>
                  <a:cubicBezTo>
                    <a:pt x="468" y="362"/>
                    <a:pt x="363" y="467"/>
                    <a:pt x="234" y="467"/>
                  </a:cubicBezTo>
                  <a:cubicBezTo>
                    <a:pt x="234" y="467"/>
                    <a:pt x="234" y="467"/>
                    <a:pt x="234" y="467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7250F5C-1FFB-4363-9089-F793FB372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4101" y="3441700"/>
              <a:ext cx="1584325" cy="1585913"/>
            </a:xfrm>
            <a:custGeom>
              <a:avLst/>
              <a:gdLst>
                <a:gd name="T0" fmla="*/ 210 w 420"/>
                <a:gd name="T1" fmla="*/ 10 h 420"/>
                <a:gd name="T2" fmla="*/ 9 w 420"/>
                <a:gd name="T3" fmla="*/ 210 h 420"/>
                <a:gd name="T4" fmla="*/ 210 w 420"/>
                <a:gd name="T5" fmla="*/ 411 h 420"/>
                <a:gd name="T6" fmla="*/ 411 w 420"/>
                <a:gd name="T7" fmla="*/ 210 h 420"/>
                <a:gd name="T8" fmla="*/ 210 w 420"/>
                <a:gd name="T9" fmla="*/ 10 h 420"/>
                <a:gd name="T10" fmla="*/ 210 w 420"/>
                <a:gd name="T11" fmla="*/ 10 h 420"/>
                <a:gd name="T12" fmla="*/ 210 w 420"/>
                <a:gd name="T13" fmla="*/ 420 h 420"/>
                <a:gd name="T14" fmla="*/ 0 w 420"/>
                <a:gd name="T15" fmla="*/ 210 h 420"/>
                <a:gd name="T16" fmla="*/ 210 w 420"/>
                <a:gd name="T17" fmla="*/ 0 h 420"/>
                <a:gd name="T18" fmla="*/ 420 w 420"/>
                <a:gd name="T19" fmla="*/ 210 h 420"/>
                <a:gd name="T20" fmla="*/ 210 w 420"/>
                <a:gd name="T21" fmla="*/ 420 h 420"/>
                <a:gd name="T22" fmla="*/ 210 w 420"/>
                <a:gd name="T23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0" h="420">
                  <a:moveTo>
                    <a:pt x="210" y="10"/>
                  </a:moveTo>
                  <a:cubicBezTo>
                    <a:pt x="99" y="10"/>
                    <a:pt x="9" y="100"/>
                    <a:pt x="9" y="210"/>
                  </a:cubicBezTo>
                  <a:cubicBezTo>
                    <a:pt x="9" y="321"/>
                    <a:pt x="99" y="411"/>
                    <a:pt x="210" y="411"/>
                  </a:cubicBezTo>
                  <a:cubicBezTo>
                    <a:pt x="321" y="411"/>
                    <a:pt x="411" y="321"/>
                    <a:pt x="411" y="210"/>
                  </a:cubicBezTo>
                  <a:cubicBezTo>
                    <a:pt x="411" y="100"/>
                    <a:pt x="321" y="10"/>
                    <a:pt x="210" y="10"/>
                  </a:cubicBezTo>
                  <a:cubicBezTo>
                    <a:pt x="210" y="10"/>
                    <a:pt x="210" y="10"/>
                    <a:pt x="210" y="10"/>
                  </a:cubicBezTo>
                  <a:close/>
                  <a:moveTo>
                    <a:pt x="210" y="420"/>
                  </a:moveTo>
                  <a:cubicBezTo>
                    <a:pt x="94" y="420"/>
                    <a:pt x="0" y="326"/>
                    <a:pt x="0" y="210"/>
                  </a:cubicBezTo>
                  <a:cubicBezTo>
                    <a:pt x="0" y="94"/>
                    <a:pt x="94" y="0"/>
                    <a:pt x="210" y="0"/>
                  </a:cubicBezTo>
                  <a:cubicBezTo>
                    <a:pt x="326" y="0"/>
                    <a:pt x="420" y="94"/>
                    <a:pt x="420" y="210"/>
                  </a:cubicBezTo>
                  <a:cubicBezTo>
                    <a:pt x="420" y="326"/>
                    <a:pt x="326" y="420"/>
                    <a:pt x="210" y="420"/>
                  </a:cubicBezTo>
                  <a:cubicBezTo>
                    <a:pt x="210" y="420"/>
                    <a:pt x="210" y="420"/>
                    <a:pt x="210" y="42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E1DC1D4-BA14-4476-B63C-D42C63631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4488" y="2428875"/>
              <a:ext cx="2824163" cy="1963738"/>
            </a:xfrm>
            <a:custGeom>
              <a:avLst/>
              <a:gdLst>
                <a:gd name="T0" fmla="*/ 253 w 749"/>
                <a:gd name="T1" fmla="*/ 167 h 520"/>
                <a:gd name="T2" fmla="*/ 601 w 749"/>
                <a:gd name="T3" fmla="*/ 184 h 520"/>
                <a:gd name="T4" fmla="*/ 231 w 749"/>
                <a:gd name="T5" fmla="*/ 187 h 520"/>
                <a:gd name="T6" fmla="*/ 35 w 749"/>
                <a:gd name="T7" fmla="*/ 468 h 520"/>
                <a:gd name="T8" fmla="*/ 744 w 749"/>
                <a:gd name="T9" fmla="*/ 469 h 520"/>
                <a:gd name="T10" fmla="*/ 591 w 749"/>
                <a:gd name="T11" fmla="*/ 30 h 520"/>
                <a:gd name="T12" fmla="*/ 668 w 749"/>
                <a:gd name="T13" fmla="*/ 18 h 520"/>
                <a:gd name="T14" fmla="*/ 576 w 749"/>
                <a:gd name="T15" fmla="*/ 5 h 520"/>
                <a:gd name="T16" fmla="*/ 563 w 749"/>
                <a:gd name="T17" fmla="*/ 20 h 520"/>
                <a:gd name="T18" fmla="*/ 247 w 749"/>
                <a:gd name="T19" fmla="*/ 142 h 520"/>
                <a:gd name="T20" fmla="*/ 203 w 749"/>
                <a:gd name="T21" fmla="*/ 2 h 520"/>
                <a:gd name="T22" fmla="*/ 224 w 749"/>
                <a:gd name="T23" fmla="*/ 153 h 520"/>
                <a:gd name="T24" fmla="*/ 2 w 749"/>
                <a:gd name="T25" fmla="*/ 472 h 520"/>
                <a:gd name="T26" fmla="*/ 1 w 749"/>
                <a:gd name="T27" fmla="*/ 474 h 520"/>
                <a:gd name="T28" fmla="*/ 1 w 749"/>
                <a:gd name="T29" fmla="*/ 476 h 520"/>
                <a:gd name="T30" fmla="*/ 1 w 749"/>
                <a:gd name="T31" fmla="*/ 477 h 520"/>
                <a:gd name="T32" fmla="*/ 1 w 749"/>
                <a:gd name="T33" fmla="*/ 480 h 520"/>
                <a:gd name="T34" fmla="*/ 1 w 749"/>
                <a:gd name="T35" fmla="*/ 482 h 520"/>
                <a:gd name="T36" fmla="*/ 2 w 749"/>
                <a:gd name="T37" fmla="*/ 485 h 520"/>
                <a:gd name="T38" fmla="*/ 4 w 749"/>
                <a:gd name="T39" fmla="*/ 486 h 520"/>
                <a:gd name="T40" fmla="*/ 5 w 749"/>
                <a:gd name="T41" fmla="*/ 488 h 520"/>
                <a:gd name="T42" fmla="*/ 7 w 749"/>
                <a:gd name="T43" fmla="*/ 489 h 520"/>
                <a:gd name="T44" fmla="*/ 9 w 749"/>
                <a:gd name="T45" fmla="*/ 490 h 520"/>
                <a:gd name="T46" fmla="*/ 12 w 749"/>
                <a:gd name="T47" fmla="*/ 491 h 520"/>
                <a:gd name="T48" fmla="*/ 315 w 749"/>
                <a:gd name="T49" fmla="*/ 520 h 520"/>
                <a:gd name="T50" fmla="*/ 316 w 749"/>
                <a:gd name="T51" fmla="*/ 520 h 520"/>
                <a:gd name="T52" fmla="*/ 316 w 749"/>
                <a:gd name="T53" fmla="*/ 520 h 520"/>
                <a:gd name="T54" fmla="*/ 319 w 749"/>
                <a:gd name="T55" fmla="*/ 520 h 520"/>
                <a:gd name="T56" fmla="*/ 320 w 749"/>
                <a:gd name="T57" fmla="*/ 520 h 520"/>
                <a:gd name="T58" fmla="*/ 321 w 749"/>
                <a:gd name="T59" fmla="*/ 519 h 520"/>
                <a:gd name="T60" fmla="*/ 323 w 749"/>
                <a:gd name="T61" fmla="*/ 518 h 520"/>
                <a:gd name="T62" fmla="*/ 324 w 749"/>
                <a:gd name="T63" fmla="*/ 518 h 520"/>
                <a:gd name="T64" fmla="*/ 325 w 749"/>
                <a:gd name="T65" fmla="*/ 516 h 520"/>
                <a:gd name="T66" fmla="*/ 608 w 749"/>
                <a:gd name="T67" fmla="*/ 213 h 520"/>
                <a:gd name="T68" fmla="*/ 632 w 749"/>
                <a:gd name="T69" fmla="*/ 321 h 520"/>
                <a:gd name="T70" fmla="*/ 735 w 749"/>
                <a:gd name="T71" fmla="*/ 491 h 520"/>
                <a:gd name="T72" fmla="*/ 744 w 749"/>
                <a:gd name="T73" fmla="*/ 469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49" h="520">
                  <a:moveTo>
                    <a:pt x="323" y="482"/>
                  </a:moveTo>
                  <a:cubicBezTo>
                    <a:pt x="253" y="167"/>
                    <a:pt x="253" y="167"/>
                    <a:pt x="253" y="167"/>
                  </a:cubicBezTo>
                  <a:cubicBezTo>
                    <a:pt x="589" y="130"/>
                    <a:pt x="589" y="130"/>
                    <a:pt x="589" y="130"/>
                  </a:cubicBezTo>
                  <a:cubicBezTo>
                    <a:pt x="601" y="184"/>
                    <a:pt x="601" y="184"/>
                    <a:pt x="601" y="184"/>
                  </a:cubicBezTo>
                  <a:cubicBezTo>
                    <a:pt x="323" y="482"/>
                    <a:pt x="323" y="482"/>
                    <a:pt x="323" y="482"/>
                  </a:cubicBezTo>
                  <a:close/>
                  <a:moveTo>
                    <a:pt x="231" y="187"/>
                  </a:moveTo>
                  <a:cubicBezTo>
                    <a:pt x="300" y="494"/>
                    <a:pt x="300" y="494"/>
                    <a:pt x="300" y="494"/>
                  </a:cubicBezTo>
                  <a:cubicBezTo>
                    <a:pt x="35" y="468"/>
                    <a:pt x="35" y="468"/>
                    <a:pt x="35" y="468"/>
                  </a:cubicBezTo>
                  <a:cubicBezTo>
                    <a:pt x="231" y="187"/>
                    <a:pt x="231" y="187"/>
                    <a:pt x="231" y="187"/>
                  </a:cubicBezTo>
                  <a:close/>
                  <a:moveTo>
                    <a:pt x="744" y="469"/>
                  </a:moveTo>
                  <a:cubicBezTo>
                    <a:pt x="686" y="413"/>
                    <a:pt x="658" y="320"/>
                    <a:pt x="657" y="314"/>
                  </a:cubicBezTo>
                  <a:cubicBezTo>
                    <a:pt x="591" y="30"/>
                    <a:pt x="591" y="30"/>
                    <a:pt x="591" y="30"/>
                  </a:cubicBezTo>
                  <a:cubicBezTo>
                    <a:pt x="655" y="30"/>
                    <a:pt x="655" y="30"/>
                    <a:pt x="655" y="30"/>
                  </a:cubicBezTo>
                  <a:cubicBezTo>
                    <a:pt x="662" y="30"/>
                    <a:pt x="668" y="25"/>
                    <a:pt x="668" y="18"/>
                  </a:cubicBezTo>
                  <a:cubicBezTo>
                    <a:pt x="668" y="11"/>
                    <a:pt x="662" y="5"/>
                    <a:pt x="655" y="5"/>
                  </a:cubicBezTo>
                  <a:cubicBezTo>
                    <a:pt x="576" y="5"/>
                    <a:pt x="576" y="5"/>
                    <a:pt x="576" y="5"/>
                  </a:cubicBezTo>
                  <a:cubicBezTo>
                    <a:pt x="572" y="5"/>
                    <a:pt x="568" y="7"/>
                    <a:pt x="566" y="10"/>
                  </a:cubicBezTo>
                  <a:cubicBezTo>
                    <a:pt x="563" y="13"/>
                    <a:pt x="563" y="17"/>
                    <a:pt x="563" y="20"/>
                  </a:cubicBezTo>
                  <a:cubicBezTo>
                    <a:pt x="583" y="105"/>
                    <a:pt x="583" y="105"/>
                    <a:pt x="583" y="105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16" y="5"/>
                    <a:pt x="210" y="0"/>
                    <a:pt x="203" y="2"/>
                  </a:cubicBezTo>
                  <a:cubicBezTo>
                    <a:pt x="196" y="3"/>
                    <a:pt x="192" y="10"/>
                    <a:pt x="193" y="17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3" y="471"/>
                    <a:pt x="3" y="471"/>
                    <a:pt x="3" y="471"/>
                  </a:cubicBezTo>
                  <a:cubicBezTo>
                    <a:pt x="3" y="471"/>
                    <a:pt x="2" y="471"/>
                    <a:pt x="2" y="472"/>
                  </a:cubicBezTo>
                  <a:cubicBezTo>
                    <a:pt x="2" y="472"/>
                    <a:pt x="2" y="472"/>
                    <a:pt x="2" y="473"/>
                  </a:cubicBezTo>
                  <a:cubicBezTo>
                    <a:pt x="2" y="473"/>
                    <a:pt x="1" y="474"/>
                    <a:pt x="1" y="474"/>
                  </a:cubicBezTo>
                  <a:cubicBezTo>
                    <a:pt x="1" y="474"/>
                    <a:pt x="1" y="475"/>
                    <a:pt x="1" y="475"/>
                  </a:cubicBezTo>
                  <a:cubicBezTo>
                    <a:pt x="1" y="476"/>
                    <a:pt x="1" y="476"/>
                    <a:pt x="1" y="476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1" y="477"/>
                    <a:pt x="1" y="477"/>
                    <a:pt x="1" y="477"/>
                  </a:cubicBezTo>
                  <a:cubicBezTo>
                    <a:pt x="0" y="478"/>
                    <a:pt x="1" y="478"/>
                    <a:pt x="1" y="479"/>
                  </a:cubicBezTo>
                  <a:cubicBezTo>
                    <a:pt x="1" y="479"/>
                    <a:pt x="1" y="480"/>
                    <a:pt x="1" y="480"/>
                  </a:cubicBezTo>
                  <a:cubicBezTo>
                    <a:pt x="1" y="480"/>
                    <a:pt x="1" y="481"/>
                    <a:pt x="1" y="481"/>
                  </a:cubicBezTo>
                  <a:cubicBezTo>
                    <a:pt x="1" y="482"/>
                    <a:pt x="1" y="482"/>
                    <a:pt x="1" y="482"/>
                  </a:cubicBezTo>
                  <a:cubicBezTo>
                    <a:pt x="1" y="483"/>
                    <a:pt x="1" y="483"/>
                    <a:pt x="2" y="483"/>
                  </a:cubicBezTo>
                  <a:cubicBezTo>
                    <a:pt x="2" y="484"/>
                    <a:pt x="2" y="484"/>
                    <a:pt x="2" y="485"/>
                  </a:cubicBezTo>
                  <a:cubicBezTo>
                    <a:pt x="2" y="485"/>
                    <a:pt x="3" y="485"/>
                    <a:pt x="3" y="486"/>
                  </a:cubicBezTo>
                  <a:cubicBezTo>
                    <a:pt x="3" y="486"/>
                    <a:pt x="3" y="486"/>
                    <a:pt x="4" y="486"/>
                  </a:cubicBezTo>
                  <a:cubicBezTo>
                    <a:pt x="4" y="487"/>
                    <a:pt x="4" y="487"/>
                    <a:pt x="4" y="487"/>
                  </a:cubicBezTo>
                  <a:cubicBezTo>
                    <a:pt x="5" y="488"/>
                    <a:pt x="5" y="488"/>
                    <a:pt x="5" y="488"/>
                  </a:cubicBezTo>
                  <a:cubicBezTo>
                    <a:pt x="6" y="488"/>
                    <a:pt x="6" y="488"/>
                    <a:pt x="6" y="488"/>
                  </a:cubicBezTo>
                  <a:cubicBezTo>
                    <a:pt x="6" y="489"/>
                    <a:pt x="6" y="489"/>
                    <a:pt x="7" y="489"/>
                  </a:cubicBezTo>
                  <a:cubicBezTo>
                    <a:pt x="7" y="489"/>
                    <a:pt x="7" y="489"/>
                    <a:pt x="7" y="489"/>
                  </a:cubicBezTo>
                  <a:cubicBezTo>
                    <a:pt x="8" y="490"/>
                    <a:pt x="9" y="490"/>
                    <a:pt x="9" y="490"/>
                  </a:cubicBezTo>
                  <a:cubicBezTo>
                    <a:pt x="9" y="490"/>
                    <a:pt x="9" y="490"/>
                    <a:pt x="9" y="490"/>
                  </a:cubicBezTo>
                  <a:cubicBezTo>
                    <a:pt x="10" y="490"/>
                    <a:pt x="11" y="491"/>
                    <a:pt x="12" y="491"/>
                  </a:cubicBezTo>
                  <a:cubicBezTo>
                    <a:pt x="12" y="491"/>
                    <a:pt x="12" y="491"/>
                    <a:pt x="12" y="491"/>
                  </a:cubicBezTo>
                  <a:cubicBezTo>
                    <a:pt x="315" y="520"/>
                    <a:pt x="315" y="520"/>
                    <a:pt x="315" y="520"/>
                  </a:cubicBezTo>
                  <a:cubicBezTo>
                    <a:pt x="315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6" y="520"/>
                    <a:pt x="316" y="520"/>
                    <a:pt x="316" y="520"/>
                  </a:cubicBezTo>
                  <a:cubicBezTo>
                    <a:pt x="317" y="520"/>
                    <a:pt x="318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19" y="520"/>
                  </a:cubicBezTo>
                  <a:cubicBezTo>
                    <a:pt x="319" y="520"/>
                    <a:pt x="319" y="520"/>
                    <a:pt x="320" y="520"/>
                  </a:cubicBezTo>
                  <a:cubicBezTo>
                    <a:pt x="320" y="520"/>
                    <a:pt x="320" y="520"/>
                    <a:pt x="321" y="519"/>
                  </a:cubicBezTo>
                  <a:cubicBezTo>
                    <a:pt x="321" y="519"/>
                    <a:pt x="321" y="519"/>
                    <a:pt x="321" y="519"/>
                  </a:cubicBezTo>
                  <a:cubicBezTo>
                    <a:pt x="321" y="519"/>
                    <a:pt x="322" y="519"/>
                    <a:pt x="322" y="519"/>
                  </a:cubicBezTo>
                  <a:cubicBezTo>
                    <a:pt x="322" y="519"/>
                    <a:pt x="323" y="519"/>
                    <a:pt x="323" y="518"/>
                  </a:cubicBezTo>
                  <a:cubicBezTo>
                    <a:pt x="323" y="518"/>
                    <a:pt x="323" y="518"/>
                    <a:pt x="323" y="518"/>
                  </a:cubicBezTo>
                  <a:cubicBezTo>
                    <a:pt x="324" y="518"/>
                    <a:pt x="324" y="518"/>
                    <a:pt x="324" y="518"/>
                  </a:cubicBezTo>
                  <a:cubicBezTo>
                    <a:pt x="324" y="517"/>
                    <a:pt x="325" y="517"/>
                    <a:pt x="325" y="517"/>
                  </a:cubicBezTo>
                  <a:cubicBezTo>
                    <a:pt x="325" y="517"/>
                    <a:pt x="325" y="517"/>
                    <a:pt x="325" y="516"/>
                  </a:cubicBezTo>
                  <a:cubicBezTo>
                    <a:pt x="325" y="516"/>
                    <a:pt x="325" y="516"/>
                    <a:pt x="325" y="516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32" y="320"/>
                    <a:pt x="632" y="320"/>
                    <a:pt x="632" y="320"/>
                  </a:cubicBezTo>
                  <a:cubicBezTo>
                    <a:pt x="632" y="320"/>
                    <a:pt x="632" y="320"/>
                    <a:pt x="632" y="321"/>
                  </a:cubicBezTo>
                  <a:cubicBezTo>
                    <a:pt x="634" y="325"/>
                    <a:pt x="662" y="425"/>
                    <a:pt x="726" y="487"/>
                  </a:cubicBezTo>
                  <a:cubicBezTo>
                    <a:pt x="729" y="490"/>
                    <a:pt x="732" y="491"/>
                    <a:pt x="735" y="491"/>
                  </a:cubicBezTo>
                  <a:cubicBezTo>
                    <a:pt x="738" y="491"/>
                    <a:pt x="742" y="489"/>
                    <a:pt x="744" y="487"/>
                  </a:cubicBezTo>
                  <a:cubicBezTo>
                    <a:pt x="749" y="482"/>
                    <a:pt x="749" y="474"/>
                    <a:pt x="744" y="469"/>
                  </a:cubicBezTo>
                  <a:close/>
                </a:path>
              </a:pathLst>
            </a:custGeom>
            <a:solidFill>
              <a:srgbClr val="3B3E9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CA80894-7178-403A-9288-DE955354A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2433638"/>
              <a:ext cx="608013" cy="573088"/>
            </a:xfrm>
            <a:custGeom>
              <a:avLst/>
              <a:gdLst>
                <a:gd name="T0" fmla="*/ 64 w 161"/>
                <a:gd name="T1" fmla="*/ 152 h 152"/>
                <a:gd name="T2" fmla="*/ 40 w 161"/>
                <a:gd name="T3" fmla="*/ 151 h 152"/>
                <a:gd name="T4" fmla="*/ 26 w 161"/>
                <a:gd name="T5" fmla="*/ 133 h 152"/>
                <a:gd name="T6" fmla="*/ 44 w 161"/>
                <a:gd name="T7" fmla="*/ 120 h 152"/>
                <a:gd name="T8" fmla="*/ 119 w 161"/>
                <a:gd name="T9" fmla="*/ 106 h 152"/>
                <a:gd name="T10" fmla="*/ 129 w 161"/>
                <a:gd name="T11" fmla="*/ 81 h 152"/>
                <a:gd name="T12" fmla="*/ 117 w 161"/>
                <a:gd name="T13" fmla="*/ 50 h 152"/>
                <a:gd name="T14" fmla="*/ 58 w 161"/>
                <a:gd name="T15" fmla="*/ 32 h 152"/>
                <a:gd name="T16" fmla="*/ 58 w 161"/>
                <a:gd name="T17" fmla="*/ 32 h 152"/>
                <a:gd name="T18" fmla="*/ 15 w 161"/>
                <a:gd name="T19" fmla="*/ 32 h 152"/>
                <a:gd name="T20" fmla="*/ 0 w 161"/>
                <a:gd name="T21" fmla="*/ 17 h 152"/>
                <a:gd name="T22" fmla="*/ 15 w 161"/>
                <a:gd name="T23" fmla="*/ 1 h 152"/>
                <a:gd name="T24" fmla="*/ 57 w 161"/>
                <a:gd name="T25" fmla="*/ 1 h 152"/>
                <a:gd name="T26" fmla="*/ 139 w 161"/>
                <a:gd name="T27" fmla="*/ 27 h 152"/>
                <a:gd name="T28" fmla="*/ 161 w 161"/>
                <a:gd name="T29" fmla="*/ 81 h 152"/>
                <a:gd name="T30" fmla="*/ 139 w 161"/>
                <a:gd name="T31" fmla="*/ 130 h 152"/>
                <a:gd name="T32" fmla="*/ 64 w 161"/>
                <a:gd name="T33" fmla="*/ 152 h 152"/>
                <a:gd name="T34" fmla="*/ 64 w 161"/>
                <a:gd name="T3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52">
                  <a:moveTo>
                    <a:pt x="64" y="152"/>
                  </a:moveTo>
                  <a:cubicBezTo>
                    <a:pt x="51" y="152"/>
                    <a:pt x="42" y="151"/>
                    <a:pt x="40" y="151"/>
                  </a:cubicBezTo>
                  <a:cubicBezTo>
                    <a:pt x="31" y="150"/>
                    <a:pt x="25" y="142"/>
                    <a:pt x="26" y="133"/>
                  </a:cubicBezTo>
                  <a:cubicBezTo>
                    <a:pt x="28" y="125"/>
                    <a:pt x="36" y="119"/>
                    <a:pt x="44" y="120"/>
                  </a:cubicBezTo>
                  <a:cubicBezTo>
                    <a:pt x="58" y="122"/>
                    <a:pt x="100" y="123"/>
                    <a:pt x="119" y="106"/>
                  </a:cubicBezTo>
                  <a:cubicBezTo>
                    <a:pt x="126" y="100"/>
                    <a:pt x="129" y="92"/>
                    <a:pt x="129" y="81"/>
                  </a:cubicBezTo>
                  <a:cubicBezTo>
                    <a:pt x="129" y="68"/>
                    <a:pt x="126" y="57"/>
                    <a:pt x="117" y="50"/>
                  </a:cubicBezTo>
                  <a:cubicBezTo>
                    <a:pt x="97" y="31"/>
                    <a:pt x="59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7" y="32"/>
                    <a:pt x="0" y="25"/>
                    <a:pt x="0" y="17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3" y="1"/>
                    <a:pt x="110" y="0"/>
                    <a:pt x="139" y="27"/>
                  </a:cubicBezTo>
                  <a:cubicBezTo>
                    <a:pt x="153" y="41"/>
                    <a:pt x="161" y="59"/>
                    <a:pt x="161" y="81"/>
                  </a:cubicBezTo>
                  <a:cubicBezTo>
                    <a:pt x="161" y="101"/>
                    <a:pt x="153" y="118"/>
                    <a:pt x="139" y="130"/>
                  </a:cubicBezTo>
                  <a:cubicBezTo>
                    <a:pt x="118" y="149"/>
                    <a:pt x="86" y="152"/>
                    <a:pt x="64" y="152"/>
                  </a:cubicBezTo>
                  <a:cubicBezTo>
                    <a:pt x="64" y="152"/>
                    <a:pt x="64" y="152"/>
                    <a:pt x="64" y="15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D45C3AAA-D8E9-443F-AA6C-F696B9AEA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826" y="2263775"/>
              <a:ext cx="731838" cy="241300"/>
            </a:xfrm>
            <a:custGeom>
              <a:avLst/>
              <a:gdLst>
                <a:gd name="T0" fmla="*/ 178 w 194"/>
                <a:gd name="T1" fmla="*/ 64 h 64"/>
                <a:gd name="T2" fmla="*/ 73 w 194"/>
                <a:gd name="T3" fmla="*/ 64 h 64"/>
                <a:gd name="T4" fmla="*/ 5 w 194"/>
                <a:gd name="T5" fmla="*/ 26 h 64"/>
                <a:gd name="T6" fmla="*/ 9 w 194"/>
                <a:gd name="T7" fmla="*/ 4 h 64"/>
                <a:gd name="T8" fmla="*/ 31 w 194"/>
                <a:gd name="T9" fmla="*/ 9 h 64"/>
                <a:gd name="T10" fmla="*/ 73 w 194"/>
                <a:gd name="T11" fmla="*/ 33 h 64"/>
                <a:gd name="T12" fmla="*/ 178 w 194"/>
                <a:gd name="T13" fmla="*/ 33 h 64"/>
                <a:gd name="T14" fmla="*/ 194 w 194"/>
                <a:gd name="T15" fmla="*/ 49 h 64"/>
                <a:gd name="T16" fmla="*/ 178 w 194"/>
                <a:gd name="T17" fmla="*/ 64 h 64"/>
                <a:gd name="T18" fmla="*/ 178 w 194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4" h="64">
                  <a:moveTo>
                    <a:pt x="178" y="64"/>
                  </a:moveTo>
                  <a:cubicBezTo>
                    <a:pt x="73" y="64"/>
                    <a:pt x="73" y="64"/>
                    <a:pt x="73" y="64"/>
                  </a:cubicBezTo>
                  <a:cubicBezTo>
                    <a:pt x="32" y="64"/>
                    <a:pt x="6" y="28"/>
                    <a:pt x="5" y="26"/>
                  </a:cubicBezTo>
                  <a:cubicBezTo>
                    <a:pt x="0" y="19"/>
                    <a:pt x="2" y="9"/>
                    <a:pt x="9" y="4"/>
                  </a:cubicBezTo>
                  <a:cubicBezTo>
                    <a:pt x="17" y="0"/>
                    <a:pt x="26" y="1"/>
                    <a:pt x="31" y="9"/>
                  </a:cubicBezTo>
                  <a:cubicBezTo>
                    <a:pt x="31" y="9"/>
                    <a:pt x="49" y="33"/>
                    <a:pt x="73" y="33"/>
                  </a:cubicBezTo>
                  <a:cubicBezTo>
                    <a:pt x="178" y="33"/>
                    <a:pt x="178" y="33"/>
                    <a:pt x="178" y="33"/>
                  </a:cubicBezTo>
                  <a:cubicBezTo>
                    <a:pt x="187" y="33"/>
                    <a:pt x="194" y="40"/>
                    <a:pt x="194" y="49"/>
                  </a:cubicBezTo>
                  <a:cubicBezTo>
                    <a:pt x="194" y="57"/>
                    <a:pt x="187" y="64"/>
                    <a:pt x="178" y="64"/>
                  </a:cubicBezTo>
                  <a:cubicBezTo>
                    <a:pt x="178" y="64"/>
                    <a:pt x="178" y="64"/>
                    <a:pt x="178" y="64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624C129-3417-4746-8A48-296F86079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3188" y="3913188"/>
              <a:ext cx="328613" cy="868363"/>
            </a:xfrm>
            <a:custGeom>
              <a:avLst/>
              <a:gdLst>
                <a:gd name="T0" fmla="*/ 62 w 87"/>
                <a:gd name="T1" fmla="*/ 86 h 230"/>
                <a:gd name="T2" fmla="*/ 87 w 87"/>
                <a:gd name="T3" fmla="*/ 5 h 230"/>
                <a:gd name="T4" fmla="*/ 69 w 87"/>
                <a:gd name="T5" fmla="*/ 0 h 230"/>
                <a:gd name="T6" fmla="*/ 44 w 87"/>
                <a:gd name="T7" fmla="*/ 80 h 230"/>
                <a:gd name="T8" fmla="*/ 43 w 87"/>
                <a:gd name="T9" fmla="*/ 80 h 230"/>
                <a:gd name="T10" fmla="*/ 9 w 87"/>
                <a:gd name="T11" fmla="*/ 115 h 230"/>
                <a:gd name="T12" fmla="*/ 24 w 87"/>
                <a:gd name="T13" fmla="*/ 144 h 230"/>
                <a:gd name="T14" fmla="*/ 0 w 87"/>
                <a:gd name="T15" fmla="*/ 225 h 230"/>
                <a:gd name="T16" fmla="*/ 18 w 87"/>
                <a:gd name="T17" fmla="*/ 230 h 230"/>
                <a:gd name="T18" fmla="*/ 42 w 87"/>
                <a:gd name="T19" fmla="*/ 149 h 230"/>
                <a:gd name="T20" fmla="*/ 43 w 87"/>
                <a:gd name="T21" fmla="*/ 149 h 230"/>
                <a:gd name="T22" fmla="*/ 78 w 87"/>
                <a:gd name="T23" fmla="*/ 115 h 230"/>
                <a:gd name="T24" fmla="*/ 62 w 87"/>
                <a:gd name="T25" fmla="*/ 8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230">
                  <a:moveTo>
                    <a:pt x="62" y="86"/>
                  </a:moveTo>
                  <a:cubicBezTo>
                    <a:pt x="87" y="5"/>
                    <a:pt x="87" y="5"/>
                    <a:pt x="87" y="5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3" y="80"/>
                    <a:pt x="43" y="80"/>
                  </a:cubicBezTo>
                  <a:cubicBezTo>
                    <a:pt x="24" y="80"/>
                    <a:pt x="9" y="96"/>
                    <a:pt x="9" y="115"/>
                  </a:cubicBezTo>
                  <a:cubicBezTo>
                    <a:pt x="9" y="127"/>
                    <a:pt x="15" y="138"/>
                    <a:pt x="24" y="144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18" y="230"/>
                    <a:pt x="18" y="230"/>
                    <a:pt x="18" y="230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2" y="149"/>
                    <a:pt x="78" y="134"/>
                    <a:pt x="78" y="115"/>
                  </a:cubicBezTo>
                  <a:cubicBezTo>
                    <a:pt x="78" y="103"/>
                    <a:pt x="71" y="92"/>
                    <a:pt x="62" y="86"/>
                  </a:cubicBezTo>
                  <a:close/>
                </a:path>
              </a:pathLst>
            </a:cu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42CF7327-246A-4439-98A3-2518B01D3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9713" y="3879850"/>
              <a:ext cx="315913" cy="82550"/>
            </a:xfrm>
            <a:custGeom>
              <a:avLst/>
              <a:gdLst>
                <a:gd name="T0" fmla="*/ 73 w 84"/>
                <a:gd name="T1" fmla="*/ 22 h 22"/>
                <a:gd name="T2" fmla="*/ 11 w 84"/>
                <a:gd name="T3" fmla="*/ 22 h 22"/>
                <a:gd name="T4" fmla="*/ 0 w 84"/>
                <a:gd name="T5" fmla="*/ 11 h 22"/>
                <a:gd name="T6" fmla="*/ 11 w 84"/>
                <a:gd name="T7" fmla="*/ 0 h 22"/>
                <a:gd name="T8" fmla="*/ 73 w 84"/>
                <a:gd name="T9" fmla="*/ 0 h 22"/>
                <a:gd name="T10" fmla="*/ 84 w 84"/>
                <a:gd name="T11" fmla="*/ 11 h 22"/>
                <a:gd name="T12" fmla="*/ 73 w 84"/>
                <a:gd name="T13" fmla="*/ 22 h 22"/>
                <a:gd name="T14" fmla="*/ 73 w 8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2">
                  <a:moveTo>
                    <a:pt x="73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5"/>
                    <a:pt x="84" y="11"/>
                  </a:cubicBezTo>
                  <a:cubicBezTo>
                    <a:pt x="84" y="17"/>
                    <a:pt x="79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D4B108AC-76F0-49A5-A766-5C72E3210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363" y="4732338"/>
              <a:ext cx="315913" cy="79375"/>
            </a:xfrm>
            <a:custGeom>
              <a:avLst/>
              <a:gdLst>
                <a:gd name="T0" fmla="*/ 73 w 84"/>
                <a:gd name="T1" fmla="*/ 21 h 21"/>
                <a:gd name="T2" fmla="*/ 11 w 84"/>
                <a:gd name="T3" fmla="*/ 21 h 21"/>
                <a:gd name="T4" fmla="*/ 0 w 84"/>
                <a:gd name="T5" fmla="*/ 10 h 21"/>
                <a:gd name="T6" fmla="*/ 11 w 84"/>
                <a:gd name="T7" fmla="*/ 0 h 21"/>
                <a:gd name="T8" fmla="*/ 73 w 84"/>
                <a:gd name="T9" fmla="*/ 0 h 21"/>
                <a:gd name="T10" fmla="*/ 84 w 84"/>
                <a:gd name="T11" fmla="*/ 10 h 21"/>
                <a:gd name="T12" fmla="*/ 73 w 84"/>
                <a:gd name="T13" fmla="*/ 21 h 21"/>
                <a:gd name="T14" fmla="*/ 73 w 8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21">
                  <a:moveTo>
                    <a:pt x="73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4" y="21"/>
                    <a:pt x="0" y="17"/>
                    <a:pt x="0" y="10"/>
                  </a:cubicBezTo>
                  <a:cubicBezTo>
                    <a:pt x="0" y="4"/>
                    <a:pt x="4" y="0"/>
                    <a:pt x="1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9" y="0"/>
                    <a:pt x="84" y="4"/>
                    <a:pt x="84" y="10"/>
                  </a:cubicBezTo>
                  <a:cubicBezTo>
                    <a:pt x="84" y="17"/>
                    <a:pt x="79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7DFE14C0-C03B-4CB0-ABC6-255F9BC3F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1588" y="4083050"/>
              <a:ext cx="531813" cy="528638"/>
            </a:xfrm>
            <a:custGeom>
              <a:avLst/>
              <a:gdLst>
                <a:gd name="T0" fmla="*/ 70 w 141"/>
                <a:gd name="T1" fmla="*/ 9 h 140"/>
                <a:gd name="T2" fmla="*/ 9 w 141"/>
                <a:gd name="T3" fmla="*/ 70 h 140"/>
                <a:gd name="T4" fmla="*/ 70 w 141"/>
                <a:gd name="T5" fmla="*/ 131 h 140"/>
                <a:gd name="T6" fmla="*/ 131 w 141"/>
                <a:gd name="T7" fmla="*/ 70 h 140"/>
                <a:gd name="T8" fmla="*/ 70 w 141"/>
                <a:gd name="T9" fmla="*/ 9 h 140"/>
                <a:gd name="T10" fmla="*/ 70 w 141"/>
                <a:gd name="T11" fmla="*/ 9 h 140"/>
                <a:gd name="T12" fmla="*/ 70 w 141"/>
                <a:gd name="T13" fmla="*/ 140 h 140"/>
                <a:gd name="T14" fmla="*/ 0 w 141"/>
                <a:gd name="T15" fmla="*/ 70 h 140"/>
                <a:gd name="T16" fmla="*/ 70 w 141"/>
                <a:gd name="T17" fmla="*/ 0 h 140"/>
                <a:gd name="T18" fmla="*/ 141 w 141"/>
                <a:gd name="T19" fmla="*/ 70 h 140"/>
                <a:gd name="T20" fmla="*/ 70 w 141"/>
                <a:gd name="T21" fmla="*/ 140 h 140"/>
                <a:gd name="T22" fmla="*/ 70 w 141"/>
                <a:gd name="T2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" h="140">
                  <a:moveTo>
                    <a:pt x="70" y="9"/>
                  </a:moveTo>
                  <a:cubicBezTo>
                    <a:pt x="37" y="9"/>
                    <a:pt x="9" y="36"/>
                    <a:pt x="9" y="70"/>
                  </a:cubicBezTo>
                  <a:cubicBezTo>
                    <a:pt x="9" y="104"/>
                    <a:pt x="37" y="131"/>
                    <a:pt x="70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6"/>
                    <a:pt x="104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lose/>
                  <a:moveTo>
                    <a:pt x="70" y="140"/>
                  </a:moveTo>
                  <a:cubicBezTo>
                    <a:pt x="31" y="140"/>
                    <a:pt x="0" y="109"/>
                    <a:pt x="0" y="70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9" y="0"/>
                    <a:pt x="141" y="31"/>
                    <a:pt x="141" y="70"/>
                  </a:cubicBezTo>
                  <a:cubicBezTo>
                    <a:pt x="141" y="109"/>
                    <a:pt x="109" y="140"/>
                    <a:pt x="70" y="140"/>
                  </a:cubicBezTo>
                  <a:cubicBezTo>
                    <a:pt x="70" y="140"/>
                    <a:pt x="70" y="140"/>
                    <a:pt x="70" y="14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D4D00511-82D3-442E-84C4-6AF197FE1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6" y="4083050"/>
              <a:ext cx="1157288" cy="38100"/>
            </a:xfrm>
            <a:custGeom>
              <a:avLst/>
              <a:gdLst>
                <a:gd name="T0" fmla="*/ 4 w 307"/>
                <a:gd name="T1" fmla="*/ 10 h 10"/>
                <a:gd name="T2" fmla="*/ 0 w 307"/>
                <a:gd name="T3" fmla="*/ 6 h 10"/>
                <a:gd name="T4" fmla="*/ 4 w 307"/>
                <a:gd name="T5" fmla="*/ 1 h 10"/>
                <a:gd name="T6" fmla="*/ 302 w 307"/>
                <a:gd name="T7" fmla="*/ 0 h 10"/>
                <a:gd name="T8" fmla="*/ 302 w 307"/>
                <a:gd name="T9" fmla="*/ 0 h 10"/>
                <a:gd name="T10" fmla="*/ 307 w 307"/>
                <a:gd name="T11" fmla="*/ 4 h 10"/>
                <a:gd name="T12" fmla="*/ 302 w 307"/>
                <a:gd name="T13" fmla="*/ 9 h 10"/>
                <a:gd name="T14" fmla="*/ 4 w 307"/>
                <a:gd name="T15" fmla="*/ 10 h 10"/>
                <a:gd name="T16" fmla="*/ 4 w 307"/>
                <a:gd name="T17" fmla="*/ 10 h 10"/>
                <a:gd name="T18" fmla="*/ 4 w 30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10">
                  <a:moveTo>
                    <a:pt x="4" y="10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5" y="0"/>
                    <a:pt x="307" y="2"/>
                    <a:pt x="307" y="4"/>
                  </a:cubicBezTo>
                  <a:cubicBezTo>
                    <a:pt x="307" y="7"/>
                    <a:pt x="305" y="9"/>
                    <a:pt x="302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B9D9F72A-F995-45DB-B0BB-4F2E6003E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51" y="4310063"/>
              <a:ext cx="1120775" cy="290513"/>
            </a:xfrm>
            <a:custGeom>
              <a:avLst/>
              <a:gdLst>
                <a:gd name="T0" fmla="*/ 292 w 297"/>
                <a:gd name="T1" fmla="*/ 77 h 77"/>
                <a:gd name="T2" fmla="*/ 291 w 297"/>
                <a:gd name="T3" fmla="*/ 77 h 77"/>
                <a:gd name="T4" fmla="*/ 4 w 297"/>
                <a:gd name="T5" fmla="*/ 9 h 77"/>
                <a:gd name="T6" fmla="*/ 1 w 297"/>
                <a:gd name="T7" fmla="*/ 4 h 77"/>
                <a:gd name="T8" fmla="*/ 6 w 297"/>
                <a:gd name="T9" fmla="*/ 0 h 77"/>
                <a:gd name="T10" fmla="*/ 293 w 297"/>
                <a:gd name="T11" fmla="*/ 68 h 77"/>
                <a:gd name="T12" fmla="*/ 296 w 297"/>
                <a:gd name="T13" fmla="*/ 74 h 77"/>
                <a:gd name="T14" fmla="*/ 292 w 297"/>
                <a:gd name="T15" fmla="*/ 77 h 77"/>
                <a:gd name="T16" fmla="*/ 292 w 297"/>
                <a:gd name="T1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7" h="77">
                  <a:moveTo>
                    <a:pt x="292" y="77"/>
                  </a:moveTo>
                  <a:cubicBezTo>
                    <a:pt x="292" y="77"/>
                    <a:pt x="291" y="77"/>
                    <a:pt x="291" y="7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1" y="1"/>
                    <a:pt x="4" y="0"/>
                    <a:pt x="6" y="0"/>
                  </a:cubicBezTo>
                  <a:cubicBezTo>
                    <a:pt x="293" y="68"/>
                    <a:pt x="293" y="68"/>
                    <a:pt x="293" y="68"/>
                  </a:cubicBezTo>
                  <a:cubicBezTo>
                    <a:pt x="296" y="69"/>
                    <a:pt x="297" y="71"/>
                    <a:pt x="296" y="74"/>
                  </a:cubicBezTo>
                  <a:cubicBezTo>
                    <a:pt x="296" y="76"/>
                    <a:pt x="294" y="77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lose/>
                </a:path>
              </a:pathLst>
            </a:custGeom>
            <a:solidFill>
              <a:srgbClr val="F1604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0">
              <a:extLst>
                <a:ext uri="{FF2B5EF4-FFF2-40B4-BE49-F238E27FC236}">
                  <a16:creationId xmlns:a16="http://schemas.microsoft.com/office/drawing/2014/main" id="{369D0E3D-CDB5-4A80-B41F-63D78CF596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226" y="4087813"/>
              <a:ext cx="260350" cy="260350"/>
            </a:xfrm>
            <a:prstGeom prst="ellipse">
              <a:avLst/>
            </a:prstGeom>
            <a:solidFill>
              <a:srgbClr val="15163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718F18F9-A0D7-43D0-A395-7875E4E241A8}"/>
              </a:ext>
            </a:extLst>
          </p:cNvPr>
          <p:cNvGrpSpPr/>
          <p:nvPr/>
        </p:nvGrpSpPr>
        <p:grpSpPr>
          <a:xfrm>
            <a:off x="6287519" y="1799224"/>
            <a:ext cx="299132" cy="299132"/>
            <a:chOff x="3390900" y="1803400"/>
            <a:chExt cx="361950" cy="361950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1" name="Freeform 30">
              <a:extLst>
                <a:ext uri="{FF2B5EF4-FFF2-40B4-BE49-F238E27FC236}">
                  <a16:creationId xmlns:a16="http://schemas.microsoft.com/office/drawing/2014/main" id="{31A23FF9-0E47-45EA-9178-F287ECC42A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2" name="Freeform 31">
              <a:extLst>
                <a:ext uri="{FF2B5EF4-FFF2-40B4-BE49-F238E27FC236}">
                  <a16:creationId xmlns:a16="http://schemas.microsoft.com/office/drawing/2014/main" id="{415730EB-0EC6-4647-A8C7-689853E9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9 w 76"/>
                <a:gd name="T27" fmla="*/ 8 h 36"/>
                <a:gd name="T28" fmla="*/ 28 w 76"/>
                <a:gd name="T29" fmla="*/ 8 h 36"/>
                <a:gd name="T30" fmla="*/ 27 w 76"/>
                <a:gd name="T31" fmla="*/ 7 h 36"/>
                <a:gd name="T32" fmla="*/ 10 w 76"/>
                <a:gd name="T33" fmla="*/ 0 h 36"/>
                <a:gd name="T34" fmla="*/ 2 w 76"/>
                <a:gd name="T35" fmla="*/ 0 h 36"/>
                <a:gd name="T36" fmla="*/ 0 w 76"/>
                <a:gd name="T37" fmla="*/ 2 h 36"/>
                <a:gd name="T38" fmla="*/ 0 w 76"/>
                <a:gd name="T39" fmla="*/ 24 h 36"/>
                <a:gd name="T40" fmla="*/ 1 w 76"/>
                <a:gd name="T41" fmla="*/ 26 h 36"/>
                <a:gd name="T42" fmla="*/ 17 w 76"/>
                <a:gd name="T43" fmla="*/ 31 h 36"/>
                <a:gd name="T44" fmla="*/ 33 w 76"/>
                <a:gd name="T45" fmla="*/ 36 h 36"/>
                <a:gd name="T46" fmla="*/ 51 w 76"/>
                <a:gd name="T47" fmla="*/ 29 h 36"/>
                <a:gd name="T48" fmla="*/ 75 w 76"/>
                <a:gd name="T49" fmla="*/ 16 h 36"/>
                <a:gd name="T50" fmla="*/ 76 w 76"/>
                <a:gd name="T51" fmla="*/ 14 h 36"/>
                <a:gd name="T52" fmla="*/ 75 w 76"/>
                <a:gd name="T53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3" name="Freeform 32">
              <a:extLst>
                <a:ext uri="{FF2B5EF4-FFF2-40B4-BE49-F238E27FC236}">
                  <a16:creationId xmlns:a16="http://schemas.microsoft.com/office/drawing/2014/main" id="{0A62A17B-2909-4F8F-990A-2CF6F7AF6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4875" y="1803400"/>
              <a:ext cx="273050" cy="233363"/>
            </a:xfrm>
            <a:custGeom>
              <a:avLst/>
              <a:gdLst>
                <a:gd name="T0" fmla="*/ 21 w 73"/>
                <a:gd name="T1" fmla="*/ 45 h 62"/>
                <a:gd name="T2" fmla="*/ 29 w 73"/>
                <a:gd name="T3" fmla="*/ 40 h 62"/>
                <a:gd name="T4" fmla="*/ 36 w 73"/>
                <a:gd name="T5" fmla="*/ 59 h 62"/>
                <a:gd name="T6" fmla="*/ 40 w 73"/>
                <a:gd name="T7" fmla="*/ 62 h 62"/>
                <a:gd name="T8" fmla="*/ 44 w 73"/>
                <a:gd name="T9" fmla="*/ 59 h 62"/>
                <a:gd name="T10" fmla="*/ 49 w 73"/>
                <a:gd name="T11" fmla="*/ 49 h 62"/>
                <a:gd name="T12" fmla="*/ 56 w 73"/>
                <a:gd name="T13" fmla="*/ 53 h 62"/>
                <a:gd name="T14" fmla="*/ 56 w 73"/>
                <a:gd name="T15" fmla="*/ 53 h 62"/>
                <a:gd name="T16" fmla="*/ 65 w 73"/>
                <a:gd name="T17" fmla="*/ 48 h 62"/>
                <a:gd name="T18" fmla="*/ 69 w 73"/>
                <a:gd name="T19" fmla="*/ 21 h 62"/>
                <a:gd name="T20" fmla="*/ 68 w 73"/>
                <a:gd name="T21" fmla="*/ 20 h 62"/>
                <a:gd name="T22" fmla="*/ 66 w 73"/>
                <a:gd name="T23" fmla="*/ 20 h 62"/>
                <a:gd name="T24" fmla="*/ 56 w 73"/>
                <a:gd name="T25" fmla="*/ 24 h 62"/>
                <a:gd name="T26" fmla="*/ 47 w 73"/>
                <a:gd name="T27" fmla="*/ 28 h 62"/>
                <a:gd name="T28" fmla="*/ 41 w 73"/>
                <a:gd name="T29" fmla="*/ 37 h 62"/>
                <a:gd name="T30" fmla="*/ 44 w 73"/>
                <a:gd name="T31" fmla="*/ 43 h 62"/>
                <a:gd name="T32" fmla="*/ 41 w 73"/>
                <a:gd name="T33" fmla="*/ 47 h 62"/>
                <a:gd name="T34" fmla="*/ 35 w 73"/>
                <a:gd name="T35" fmla="*/ 35 h 62"/>
                <a:gd name="T36" fmla="*/ 40 w 73"/>
                <a:gd name="T37" fmla="*/ 27 h 62"/>
                <a:gd name="T38" fmla="*/ 36 w 73"/>
                <a:gd name="T39" fmla="*/ 14 h 62"/>
                <a:gd name="T40" fmla="*/ 22 w 73"/>
                <a:gd name="T41" fmla="*/ 7 h 62"/>
                <a:gd name="T42" fmla="*/ 8 w 73"/>
                <a:gd name="T43" fmla="*/ 0 h 62"/>
                <a:gd name="T44" fmla="*/ 6 w 73"/>
                <a:gd name="T45" fmla="*/ 0 h 62"/>
                <a:gd name="T46" fmla="*/ 5 w 73"/>
                <a:gd name="T47" fmla="*/ 1 h 62"/>
                <a:gd name="T48" fmla="*/ 8 w 73"/>
                <a:gd name="T49" fmla="*/ 38 h 62"/>
                <a:gd name="T50" fmla="*/ 21 w 73"/>
                <a:gd name="T51" fmla="*/ 45 h 62"/>
                <a:gd name="T52" fmla="*/ 14 w 73"/>
                <a:gd name="T53" fmla="*/ 15 h 62"/>
                <a:gd name="T54" fmla="*/ 17 w 73"/>
                <a:gd name="T55" fmla="*/ 15 h 62"/>
                <a:gd name="T56" fmla="*/ 33 w 73"/>
                <a:gd name="T57" fmla="*/ 36 h 62"/>
                <a:gd name="T58" fmla="*/ 33 w 73"/>
                <a:gd name="T59" fmla="*/ 36 h 62"/>
                <a:gd name="T60" fmla="*/ 40 w 73"/>
                <a:gd name="T61" fmla="*/ 52 h 62"/>
                <a:gd name="T62" fmla="*/ 57 w 73"/>
                <a:gd name="T63" fmla="*/ 34 h 62"/>
                <a:gd name="T64" fmla="*/ 60 w 73"/>
                <a:gd name="T65" fmla="*/ 35 h 62"/>
                <a:gd name="T66" fmla="*/ 59 w 73"/>
                <a:gd name="T67" fmla="*/ 38 h 62"/>
                <a:gd name="T68" fmla="*/ 42 w 73"/>
                <a:gd name="T69" fmla="*/ 58 h 62"/>
                <a:gd name="T70" fmla="*/ 42 w 73"/>
                <a:gd name="T71" fmla="*/ 58 h 62"/>
                <a:gd name="T72" fmla="*/ 38 w 73"/>
                <a:gd name="T73" fmla="*/ 58 h 62"/>
                <a:gd name="T74" fmla="*/ 30 w 73"/>
                <a:gd name="T75" fmla="*/ 39 h 62"/>
                <a:gd name="T76" fmla="*/ 30 w 73"/>
                <a:gd name="T77" fmla="*/ 39 h 62"/>
                <a:gd name="T78" fmla="*/ 14 w 73"/>
                <a:gd name="T79" fmla="*/ 18 h 62"/>
                <a:gd name="T80" fmla="*/ 14 w 73"/>
                <a:gd name="T81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" h="62">
                  <a:moveTo>
                    <a:pt x="21" y="45"/>
                  </a:moveTo>
                  <a:cubicBezTo>
                    <a:pt x="24" y="45"/>
                    <a:pt x="27" y="43"/>
                    <a:pt x="29" y="40"/>
                  </a:cubicBezTo>
                  <a:cubicBezTo>
                    <a:pt x="34" y="50"/>
                    <a:pt x="36" y="58"/>
                    <a:pt x="36" y="59"/>
                  </a:cubicBezTo>
                  <a:cubicBezTo>
                    <a:pt x="36" y="60"/>
                    <a:pt x="38" y="62"/>
                    <a:pt x="40" y="62"/>
                  </a:cubicBezTo>
                  <a:cubicBezTo>
                    <a:pt x="42" y="62"/>
                    <a:pt x="43" y="61"/>
                    <a:pt x="44" y="59"/>
                  </a:cubicBezTo>
                  <a:cubicBezTo>
                    <a:pt x="44" y="59"/>
                    <a:pt x="46" y="54"/>
                    <a:pt x="49" y="49"/>
                  </a:cubicBezTo>
                  <a:cubicBezTo>
                    <a:pt x="51" y="52"/>
                    <a:pt x="54" y="53"/>
                    <a:pt x="5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9" y="53"/>
                    <a:pt x="62" y="51"/>
                    <a:pt x="65" y="48"/>
                  </a:cubicBezTo>
                  <a:cubicBezTo>
                    <a:pt x="70" y="43"/>
                    <a:pt x="73" y="29"/>
                    <a:pt x="69" y="21"/>
                  </a:cubicBezTo>
                  <a:cubicBezTo>
                    <a:pt x="69" y="20"/>
                    <a:pt x="68" y="20"/>
                    <a:pt x="68" y="20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3" y="23"/>
                    <a:pt x="59" y="24"/>
                    <a:pt x="56" y="24"/>
                  </a:cubicBezTo>
                  <a:cubicBezTo>
                    <a:pt x="53" y="25"/>
                    <a:pt x="50" y="26"/>
                    <a:pt x="47" y="28"/>
                  </a:cubicBezTo>
                  <a:cubicBezTo>
                    <a:pt x="43" y="30"/>
                    <a:pt x="41" y="34"/>
                    <a:pt x="41" y="37"/>
                  </a:cubicBezTo>
                  <a:cubicBezTo>
                    <a:pt x="41" y="38"/>
                    <a:pt x="42" y="41"/>
                    <a:pt x="44" y="43"/>
                  </a:cubicBezTo>
                  <a:cubicBezTo>
                    <a:pt x="43" y="44"/>
                    <a:pt x="42" y="46"/>
                    <a:pt x="41" y="47"/>
                  </a:cubicBezTo>
                  <a:cubicBezTo>
                    <a:pt x="39" y="43"/>
                    <a:pt x="37" y="39"/>
                    <a:pt x="35" y="35"/>
                  </a:cubicBezTo>
                  <a:cubicBezTo>
                    <a:pt x="38" y="33"/>
                    <a:pt x="40" y="30"/>
                    <a:pt x="40" y="27"/>
                  </a:cubicBezTo>
                  <a:cubicBezTo>
                    <a:pt x="41" y="23"/>
                    <a:pt x="40" y="19"/>
                    <a:pt x="36" y="14"/>
                  </a:cubicBezTo>
                  <a:cubicBezTo>
                    <a:pt x="32" y="10"/>
                    <a:pt x="27" y="8"/>
                    <a:pt x="22" y="7"/>
                  </a:cubicBezTo>
                  <a:cubicBezTo>
                    <a:pt x="17" y="5"/>
                    <a:pt x="12" y="4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0" y="12"/>
                    <a:pt x="2" y="30"/>
                    <a:pt x="8" y="38"/>
                  </a:cubicBezTo>
                  <a:cubicBezTo>
                    <a:pt x="11" y="41"/>
                    <a:pt x="16" y="45"/>
                    <a:pt x="21" y="45"/>
                  </a:cubicBezTo>
                  <a:close/>
                  <a:moveTo>
                    <a:pt x="14" y="15"/>
                  </a:moveTo>
                  <a:cubicBezTo>
                    <a:pt x="14" y="14"/>
                    <a:pt x="15" y="14"/>
                    <a:pt x="17" y="15"/>
                  </a:cubicBezTo>
                  <a:cubicBezTo>
                    <a:pt x="23" y="21"/>
                    <a:pt x="29" y="28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7" y="42"/>
                    <a:pt x="39" y="47"/>
                    <a:pt x="40" y="52"/>
                  </a:cubicBezTo>
                  <a:cubicBezTo>
                    <a:pt x="45" y="45"/>
                    <a:pt x="50" y="38"/>
                    <a:pt x="57" y="34"/>
                  </a:cubicBezTo>
                  <a:cubicBezTo>
                    <a:pt x="58" y="33"/>
                    <a:pt x="59" y="34"/>
                    <a:pt x="60" y="35"/>
                  </a:cubicBezTo>
                  <a:cubicBezTo>
                    <a:pt x="60" y="36"/>
                    <a:pt x="60" y="37"/>
                    <a:pt x="59" y="38"/>
                  </a:cubicBezTo>
                  <a:cubicBezTo>
                    <a:pt x="50" y="42"/>
                    <a:pt x="44" y="53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60"/>
                    <a:pt x="39" y="60"/>
                    <a:pt x="38" y="58"/>
                  </a:cubicBezTo>
                  <a:cubicBezTo>
                    <a:pt x="37" y="54"/>
                    <a:pt x="36" y="4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6" y="32"/>
                    <a:pt x="21" y="24"/>
                    <a:pt x="14" y="18"/>
                  </a:cubicBezTo>
                  <a:cubicBezTo>
                    <a:pt x="13" y="17"/>
                    <a:pt x="13" y="16"/>
                    <a:pt x="1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23A6693E-A12F-4DEF-861F-5BCC3E67249A}"/>
              </a:ext>
            </a:extLst>
          </p:cNvPr>
          <p:cNvGrpSpPr/>
          <p:nvPr/>
        </p:nvGrpSpPr>
        <p:grpSpPr>
          <a:xfrm>
            <a:off x="6288175" y="3133927"/>
            <a:ext cx="297821" cy="274205"/>
            <a:chOff x="6680200" y="6508750"/>
            <a:chExt cx="360363" cy="331788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5" name="Freeform 5">
              <a:extLst>
                <a:ext uri="{FF2B5EF4-FFF2-40B4-BE49-F238E27FC236}">
                  <a16:creationId xmlns:a16="http://schemas.microsoft.com/office/drawing/2014/main" id="{283B7E35-7167-4855-9917-6159F8D17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508750"/>
              <a:ext cx="360363" cy="331788"/>
            </a:xfrm>
            <a:custGeom>
              <a:avLst/>
              <a:gdLst>
                <a:gd name="T0" fmla="*/ 95 w 96"/>
                <a:gd name="T1" fmla="*/ 36 h 88"/>
                <a:gd name="T2" fmla="*/ 95 w 96"/>
                <a:gd name="T3" fmla="*/ 33 h 88"/>
                <a:gd name="T4" fmla="*/ 93 w 96"/>
                <a:gd name="T5" fmla="*/ 33 h 88"/>
                <a:gd name="T6" fmla="*/ 80 w 96"/>
                <a:gd name="T7" fmla="*/ 48 h 88"/>
                <a:gd name="T8" fmla="*/ 80 w 96"/>
                <a:gd name="T9" fmla="*/ 54 h 88"/>
                <a:gd name="T10" fmla="*/ 80 w 96"/>
                <a:gd name="T11" fmla="*/ 66 h 88"/>
                <a:gd name="T12" fmla="*/ 80 w 96"/>
                <a:gd name="T13" fmla="*/ 78 h 88"/>
                <a:gd name="T14" fmla="*/ 74 w 96"/>
                <a:gd name="T15" fmla="*/ 84 h 88"/>
                <a:gd name="T16" fmla="*/ 68 w 96"/>
                <a:gd name="T17" fmla="*/ 78 h 88"/>
                <a:gd name="T18" fmla="*/ 68 w 96"/>
                <a:gd name="T19" fmla="*/ 24 h 88"/>
                <a:gd name="T20" fmla="*/ 60 w 96"/>
                <a:gd name="T21" fmla="*/ 16 h 88"/>
                <a:gd name="T22" fmla="*/ 56 w 96"/>
                <a:gd name="T23" fmla="*/ 16 h 88"/>
                <a:gd name="T24" fmla="*/ 56 w 96"/>
                <a:gd name="T25" fmla="*/ 2 h 88"/>
                <a:gd name="T26" fmla="*/ 54 w 96"/>
                <a:gd name="T27" fmla="*/ 0 h 88"/>
                <a:gd name="T28" fmla="*/ 2 w 96"/>
                <a:gd name="T29" fmla="*/ 0 h 88"/>
                <a:gd name="T30" fmla="*/ 0 w 96"/>
                <a:gd name="T31" fmla="*/ 2 h 88"/>
                <a:gd name="T32" fmla="*/ 0 w 96"/>
                <a:gd name="T33" fmla="*/ 32 h 88"/>
                <a:gd name="T34" fmla="*/ 56 w 96"/>
                <a:gd name="T35" fmla="*/ 32 h 88"/>
                <a:gd name="T36" fmla="*/ 56 w 96"/>
                <a:gd name="T37" fmla="*/ 20 h 88"/>
                <a:gd name="T38" fmla="*/ 60 w 96"/>
                <a:gd name="T39" fmla="*/ 20 h 88"/>
                <a:gd name="T40" fmla="*/ 64 w 96"/>
                <a:gd name="T41" fmla="*/ 24 h 88"/>
                <a:gd name="T42" fmla="*/ 64 w 96"/>
                <a:gd name="T43" fmla="*/ 78 h 88"/>
                <a:gd name="T44" fmla="*/ 74 w 96"/>
                <a:gd name="T45" fmla="*/ 88 h 88"/>
                <a:gd name="T46" fmla="*/ 84 w 96"/>
                <a:gd name="T47" fmla="*/ 78 h 88"/>
                <a:gd name="T48" fmla="*/ 84 w 96"/>
                <a:gd name="T49" fmla="*/ 67 h 88"/>
                <a:gd name="T50" fmla="*/ 91 w 96"/>
                <a:gd name="T51" fmla="*/ 64 h 88"/>
                <a:gd name="T52" fmla="*/ 92 w 96"/>
                <a:gd name="T53" fmla="*/ 62 h 88"/>
                <a:gd name="T54" fmla="*/ 92 w 96"/>
                <a:gd name="T55" fmla="*/ 54 h 88"/>
                <a:gd name="T56" fmla="*/ 90 w 96"/>
                <a:gd name="T57" fmla="*/ 52 h 88"/>
                <a:gd name="T58" fmla="*/ 84 w 96"/>
                <a:gd name="T59" fmla="*/ 52 h 88"/>
                <a:gd name="T60" fmla="*/ 84 w 96"/>
                <a:gd name="T61" fmla="*/ 48 h 88"/>
                <a:gd name="T62" fmla="*/ 95 w 96"/>
                <a:gd name="T63" fmla="*/ 36 h 88"/>
                <a:gd name="T64" fmla="*/ 48 w 96"/>
                <a:gd name="T65" fmla="*/ 26 h 88"/>
                <a:gd name="T66" fmla="*/ 46 w 96"/>
                <a:gd name="T67" fmla="*/ 28 h 88"/>
                <a:gd name="T68" fmla="*/ 10 w 96"/>
                <a:gd name="T69" fmla="*/ 28 h 88"/>
                <a:gd name="T70" fmla="*/ 8 w 96"/>
                <a:gd name="T71" fmla="*/ 26 h 88"/>
                <a:gd name="T72" fmla="*/ 8 w 96"/>
                <a:gd name="T73" fmla="*/ 10 h 88"/>
                <a:gd name="T74" fmla="*/ 10 w 96"/>
                <a:gd name="T75" fmla="*/ 8 h 88"/>
                <a:gd name="T76" fmla="*/ 46 w 96"/>
                <a:gd name="T77" fmla="*/ 8 h 88"/>
                <a:gd name="T78" fmla="*/ 48 w 96"/>
                <a:gd name="T79" fmla="*/ 10 h 88"/>
                <a:gd name="T80" fmla="*/ 48 w 96"/>
                <a:gd name="T81" fmla="*/ 2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6" h="88">
                  <a:moveTo>
                    <a:pt x="95" y="36"/>
                  </a:moveTo>
                  <a:cubicBezTo>
                    <a:pt x="96" y="35"/>
                    <a:pt x="96" y="34"/>
                    <a:pt x="95" y="33"/>
                  </a:cubicBezTo>
                  <a:cubicBezTo>
                    <a:pt x="95" y="32"/>
                    <a:pt x="93" y="32"/>
                    <a:pt x="93" y="33"/>
                  </a:cubicBezTo>
                  <a:cubicBezTo>
                    <a:pt x="88" y="37"/>
                    <a:pt x="80" y="44"/>
                    <a:pt x="80" y="48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0" y="81"/>
                    <a:pt x="77" y="84"/>
                    <a:pt x="74" y="84"/>
                  </a:cubicBezTo>
                  <a:cubicBezTo>
                    <a:pt x="71" y="84"/>
                    <a:pt x="68" y="81"/>
                    <a:pt x="68" y="78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0"/>
                    <a:pt x="64" y="16"/>
                    <a:pt x="60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5" y="0"/>
                    <a:pt x="5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2" y="20"/>
                    <a:pt x="64" y="22"/>
                    <a:pt x="64" y="24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84"/>
                    <a:pt x="68" y="88"/>
                    <a:pt x="74" y="88"/>
                  </a:cubicBezTo>
                  <a:cubicBezTo>
                    <a:pt x="80" y="88"/>
                    <a:pt x="84" y="84"/>
                    <a:pt x="84" y="78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2" y="63"/>
                    <a:pt x="92" y="63"/>
                    <a:pt x="92" y="62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3"/>
                    <a:pt x="91" y="52"/>
                    <a:pt x="90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6"/>
                    <a:pt x="90" y="40"/>
                    <a:pt x="95" y="36"/>
                  </a:cubicBezTo>
                  <a:close/>
                  <a:moveTo>
                    <a:pt x="48" y="26"/>
                  </a:moveTo>
                  <a:cubicBezTo>
                    <a:pt x="48" y="27"/>
                    <a:pt x="47" y="28"/>
                    <a:pt x="46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7"/>
                    <a:pt x="8" y="26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8"/>
                    <a:pt x="48" y="9"/>
                    <a:pt x="48" y="10"/>
                  </a:cubicBezTo>
                  <a:lnTo>
                    <a:pt x="48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6" name="Freeform 6">
              <a:extLst>
                <a:ext uri="{FF2B5EF4-FFF2-40B4-BE49-F238E27FC236}">
                  <a16:creationId xmlns:a16="http://schemas.microsoft.com/office/drawing/2014/main" id="{263443A7-EF4B-4B84-A373-3DA3DFC11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200" y="6645275"/>
              <a:ext cx="211138" cy="195263"/>
            </a:xfrm>
            <a:custGeom>
              <a:avLst/>
              <a:gdLst>
                <a:gd name="T0" fmla="*/ 0 w 56"/>
                <a:gd name="T1" fmla="*/ 50 h 52"/>
                <a:gd name="T2" fmla="*/ 2 w 56"/>
                <a:gd name="T3" fmla="*/ 52 h 52"/>
                <a:gd name="T4" fmla="*/ 54 w 56"/>
                <a:gd name="T5" fmla="*/ 52 h 52"/>
                <a:gd name="T6" fmla="*/ 56 w 56"/>
                <a:gd name="T7" fmla="*/ 50 h 52"/>
                <a:gd name="T8" fmla="*/ 56 w 56"/>
                <a:gd name="T9" fmla="*/ 0 h 52"/>
                <a:gd name="T10" fmla="*/ 0 w 56"/>
                <a:gd name="T11" fmla="*/ 0 h 52"/>
                <a:gd name="T12" fmla="*/ 0 w 56"/>
                <a:gd name="T13" fmla="*/ 50 h 52"/>
                <a:gd name="T14" fmla="*/ 32 w 56"/>
                <a:gd name="T15" fmla="*/ 14 h 52"/>
                <a:gd name="T16" fmla="*/ 34 w 56"/>
                <a:gd name="T17" fmla="*/ 12 h 52"/>
                <a:gd name="T18" fmla="*/ 42 w 56"/>
                <a:gd name="T19" fmla="*/ 12 h 52"/>
                <a:gd name="T20" fmla="*/ 44 w 56"/>
                <a:gd name="T21" fmla="*/ 14 h 52"/>
                <a:gd name="T22" fmla="*/ 44 w 56"/>
                <a:gd name="T23" fmla="*/ 30 h 52"/>
                <a:gd name="T24" fmla="*/ 42 w 56"/>
                <a:gd name="T25" fmla="*/ 32 h 52"/>
                <a:gd name="T26" fmla="*/ 34 w 56"/>
                <a:gd name="T27" fmla="*/ 32 h 52"/>
                <a:gd name="T28" fmla="*/ 32 w 56"/>
                <a:gd name="T29" fmla="*/ 30 h 52"/>
                <a:gd name="T30" fmla="*/ 32 w 56"/>
                <a:gd name="T31" fmla="*/ 14 h 52"/>
                <a:gd name="T32" fmla="*/ 34 w 56"/>
                <a:gd name="T33" fmla="*/ 36 h 52"/>
                <a:gd name="T34" fmla="*/ 42 w 56"/>
                <a:gd name="T35" fmla="*/ 36 h 52"/>
                <a:gd name="T36" fmla="*/ 44 w 56"/>
                <a:gd name="T37" fmla="*/ 38 h 52"/>
                <a:gd name="T38" fmla="*/ 42 w 56"/>
                <a:gd name="T39" fmla="*/ 40 h 52"/>
                <a:gd name="T40" fmla="*/ 34 w 56"/>
                <a:gd name="T41" fmla="*/ 40 h 52"/>
                <a:gd name="T42" fmla="*/ 32 w 56"/>
                <a:gd name="T43" fmla="*/ 38 h 52"/>
                <a:gd name="T44" fmla="*/ 34 w 56"/>
                <a:gd name="T45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52">
                  <a:moveTo>
                    <a:pt x="0" y="50"/>
                  </a:moveTo>
                  <a:cubicBezTo>
                    <a:pt x="0" y="51"/>
                    <a:pt x="1" y="52"/>
                    <a:pt x="2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1"/>
                    <a:pt x="56" y="5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0"/>
                  </a:lnTo>
                  <a:close/>
                  <a:moveTo>
                    <a:pt x="32" y="14"/>
                  </a:moveTo>
                  <a:cubicBezTo>
                    <a:pt x="32" y="13"/>
                    <a:pt x="33" y="12"/>
                    <a:pt x="34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3" y="12"/>
                    <a:pt x="44" y="13"/>
                    <a:pt x="44" y="14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1"/>
                    <a:pt x="43" y="32"/>
                    <a:pt x="42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2" y="31"/>
                    <a:pt x="32" y="30"/>
                  </a:cubicBezTo>
                  <a:lnTo>
                    <a:pt x="32" y="14"/>
                  </a:lnTo>
                  <a:close/>
                  <a:moveTo>
                    <a:pt x="34" y="36"/>
                  </a:moveTo>
                  <a:cubicBezTo>
                    <a:pt x="42" y="36"/>
                    <a:pt x="42" y="36"/>
                    <a:pt x="42" y="36"/>
                  </a:cubicBezTo>
                  <a:cubicBezTo>
                    <a:pt x="43" y="36"/>
                    <a:pt x="44" y="37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2" y="39"/>
                    <a:pt x="32" y="38"/>
                  </a:cubicBezTo>
                  <a:cubicBezTo>
                    <a:pt x="32" y="37"/>
                    <a:pt x="33" y="36"/>
                    <a:pt x="3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7E0F361E-BB7E-44A3-B559-633136368F24}"/>
              </a:ext>
            </a:extLst>
          </p:cNvPr>
          <p:cNvGrpSpPr/>
          <p:nvPr/>
        </p:nvGrpSpPr>
        <p:grpSpPr>
          <a:xfrm>
            <a:off x="6288175" y="5772502"/>
            <a:ext cx="297821" cy="286013"/>
            <a:chOff x="8445500" y="1847850"/>
            <a:chExt cx="360363" cy="346075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grpSpPr>
        <p:sp>
          <p:nvSpPr>
            <p:cNvPr id="388" name="Freeform 26">
              <a:extLst>
                <a:ext uri="{FF2B5EF4-FFF2-40B4-BE49-F238E27FC236}">
                  <a16:creationId xmlns:a16="http://schemas.microsoft.com/office/drawing/2014/main" id="{4947256B-AEFC-42CD-BD7A-2287BBCA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2054225"/>
              <a:ext cx="241300" cy="139700"/>
            </a:xfrm>
            <a:custGeom>
              <a:avLst/>
              <a:gdLst>
                <a:gd name="T0" fmla="*/ 48 w 64"/>
                <a:gd name="T1" fmla="*/ 14 h 37"/>
                <a:gd name="T2" fmla="*/ 43 w 64"/>
                <a:gd name="T3" fmla="*/ 17 h 37"/>
                <a:gd name="T4" fmla="*/ 37 w 64"/>
                <a:gd name="T5" fmla="*/ 13 h 37"/>
                <a:gd name="T6" fmla="*/ 33 w 64"/>
                <a:gd name="T7" fmla="*/ 0 h 37"/>
                <a:gd name="T8" fmla="*/ 30 w 64"/>
                <a:gd name="T9" fmla="*/ 6 h 37"/>
                <a:gd name="T10" fmla="*/ 25 w 64"/>
                <a:gd name="T11" fmla="*/ 9 h 37"/>
                <a:gd name="T12" fmla="*/ 20 w 64"/>
                <a:gd name="T13" fmla="*/ 6 h 37"/>
                <a:gd name="T14" fmla="*/ 17 w 64"/>
                <a:gd name="T15" fmla="*/ 1 h 37"/>
                <a:gd name="T16" fmla="*/ 16 w 64"/>
                <a:gd name="T17" fmla="*/ 3 h 37"/>
                <a:gd name="T18" fmla="*/ 11 w 64"/>
                <a:gd name="T19" fmla="*/ 5 h 37"/>
                <a:gd name="T20" fmla="*/ 0 w 64"/>
                <a:gd name="T21" fmla="*/ 5 h 37"/>
                <a:gd name="T22" fmla="*/ 32 w 64"/>
                <a:gd name="T23" fmla="*/ 36 h 37"/>
                <a:gd name="T24" fmla="*/ 33 w 64"/>
                <a:gd name="T25" fmla="*/ 37 h 37"/>
                <a:gd name="T26" fmla="*/ 34 w 64"/>
                <a:gd name="T27" fmla="*/ 36 h 37"/>
                <a:gd name="T28" fmla="*/ 64 w 64"/>
                <a:gd name="T29" fmla="*/ 5 h 37"/>
                <a:gd name="T30" fmla="*/ 53 w 64"/>
                <a:gd name="T31" fmla="*/ 5 h 37"/>
                <a:gd name="T32" fmla="*/ 48 w 64"/>
                <a:gd name="T3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" h="37">
                  <a:moveTo>
                    <a:pt x="48" y="14"/>
                  </a:moveTo>
                  <a:cubicBezTo>
                    <a:pt x="47" y="16"/>
                    <a:pt x="45" y="17"/>
                    <a:pt x="43" y="17"/>
                  </a:cubicBezTo>
                  <a:cubicBezTo>
                    <a:pt x="40" y="17"/>
                    <a:pt x="38" y="15"/>
                    <a:pt x="37" y="1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8"/>
                    <a:pt x="28" y="9"/>
                    <a:pt x="25" y="9"/>
                  </a:cubicBezTo>
                  <a:cubicBezTo>
                    <a:pt x="23" y="9"/>
                    <a:pt x="21" y="8"/>
                    <a:pt x="20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3" y="5"/>
                    <a:pt x="1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7" y="16"/>
                    <a:pt x="22" y="30"/>
                    <a:pt x="32" y="36"/>
                  </a:cubicBezTo>
                  <a:cubicBezTo>
                    <a:pt x="32" y="36"/>
                    <a:pt x="33" y="37"/>
                    <a:pt x="33" y="37"/>
                  </a:cubicBezTo>
                  <a:cubicBezTo>
                    <a:pt x="33" y="37"/>
                    <a:pt x="34" y="36"/>
                    <a:pt x="34" y="36"/>
                  </a:cubicBezTo>
                  <a:cubicBezTo>
                    <a:pt x="43" y="29"/>
                    <a:pt x="57" y="15"/>
                    <a:pt x="64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4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9" name="Freeform 27">
              <a:extLst>
                <a:ext uri="{FF2B5EF4-FFF2-40B4-BE49-F238E27FC236}">
                  <a16:creationId xmlns:a16="http://schemas.microsoft.com/office/drawing/2014/main" id="{D44AB5B2-210C-4C6E-9290-2A5FAF73D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1847850"/>
              <a:ext cx="330200" cy="187325"/>
            </a:xfrm>
            <a:custGeom>
              <a:avLst/>
              <a:gdLst>
                <a:gd name="T0" fmla="*/ 4 w 88"/>
                <a:gd name="T1" fmla="*/ 48 h 50"/>
                <a:gd name="T2" fmla="*/ 19 w 88"/>
                <a:gd name="T3" fmla="*/ 48 h 50"/>
                <a:gd name="T4" fmla="*/ 23 w 88"/>
                <a:gd name="T5" fmla="*/ 42 h 50"/>
                <a:gd name="T6" fmla="*/ 28 w 88"/>
                <a:gd name="T7" fmla="*/ 40 h 50"/>
                <a:gd name="T8" fmla="*/ 33 w 88"/>
                <a:gd name="T9" fmla="*/ 43 h 50"/>
                <a:gd name="T10" fmla="*/ 35 w 88"/>
                <a:gd name="T11" fmla="*/ 46 h 50"/>
                <a:gd name="T12" fmla="*/ 41 w 88"/>
                <a:gd name="T13" fmla="*/ 35 h 50"/>
                <a:gd name="T14" fmla="*/ 46 w 88"/>
                <a:gd name="T15" fmla="*/ 32 h 50"/>
                <a:gd name="T16" fmla="*/ 52 w 88"/>
                <a:gd name="T17" fmla="*/ 36 h 50"/>
                <a:gd name="T18" fmla="*/ 56 w 88"/>
                <a:gd name="T19" fmla="*/ 50 h 50"/>
                <a:gd name="T20" fmla="*/ 60 w 88"/>
                <a:gd name="T21" fmla="*/ 48 h 50"/>
                <a:gd name="T22" fmla="*/ 82 w 88"/>
                <a:gd name="T23" fmla="*/ 48 h 50"/>
                <a:gd name="T24" fmla="*/ 88 w 88"/>
                <a:gd name="T25" fmla="*/ 26 h 50"/>
                <a:gd name="T26" fmla="*/ 66 w 88"/>
                <a:gd name="T27" fmla="*/ 0 h 50"/>
                <a:gd name="T28" fmla="*/ 44 w 88"/>
                <a:gd name="T29" fmla="*/ 16 h 50"/>
                <a:gd name="T30" fmla="*/ 23 w 88"/>
                <a:gd name="T31" fmla="*/ 0 h 50"/>
                <a:gd name="T32" fmla="*/ 0 w 88"/>
                <a:gd name="T33" fmla="*/ 29 h 50"/>
                <a:gd name="T34" fmla="*/ 4 w 88"/>
                <a:gd name="T3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50">
                  <a:moveTo>
                    <a:pt x="4" y="48"/>
                  </a:moveTo>
                  <a:cubicBezTo>
                    <a:pt x="19" y="48"/>
                    <a:pt x="19" y="48"/>
                    <a:pt x="19" y="48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8" y="40"/>
                  </a:cubicBezTo>
                  <a:cubicBezTo>
                    <a:pt x="30" y="40"/>
                    <a:pt x="32" y="41"/>
                    <a:pt x="33" y="43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3"/>
                    <a:pt x="44" y="32"/>
                    <a:pt x="46" y="32"/>
                  </a:cubicBezTo>
                  <a:cubicBezTo>
                    <a:pt x="49" y="32"/>
                    <a:pt x="51" y="34"/>
                    <a:pt x="52" y="36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49"/>
                    <a:pt x="58" y="48"/>
                    <a:pt x="60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5" y="43"/>
                    <a:pt x="88" y="34"/>
                    <a:pt x="88" y="26"/>
                  </a:cubicBezTo>
                  <a:cubicBezTo>
                    <a:pt x="88" y="9"/>
                    <a:pt x="77" y="0"/>
                    <a:pt x="66" y="0"/>
                  </a:cubicBezTo>
                  <a:cubicBezTo>
                    <a:pt x="57" y="0"/>
                    <a:pt x="48" y="5"/>
                    <a:pt x="44" y="16"/>
                  </a:cubicBezTo>
                  <a:cubicBezTo>
                    <a:pt x="40" y="5"/>
                    <a:pt x="31" y="0"/>
                    <a:pt x="23" y="0"/>
                  </a:cubicBezTo>
                  <a:cubicBezTo>
                    <a:pt x="8" y="0"/>
                    <a:pt x="0" y="15"/>
                    <a:pt x="0" y="29"/>
                  </a:cubicBezTo>
                  <a:cubicBezTo>
                    <a:pt x="0" y="36"/>
                    <a:pt x="2" y="44"/>
                    <a:pt x="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0" name="Freeform 28">
              <a:extLst>
                <a:ext uri="{FF2B5EF4-FFF2-40B4-BE49-F238E27FC236}">
                  <a16:creationId xmlns:a16="http://schemas.microsoft.com/office/drawing/2014/main" id="{D1C6183F-A546-4926-89F0-FB9FB3052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0" y="1982788"/>
              <a:ext cx="360363" cy="120650"/>
            </a:xfrm>
            <a:custGeom>
              <a:avLst/>
              <a:gdLst>
                <a:gd name="T0" fmla="*/ 94 w 96"/>
                <a:gd name="T1" fmla="*/ 16 h 32"/>
                <a:gd name="T2" fmla="*/ 64 w 96"/>
                <a:gd name="T3" fmla="*/ 16 h 32"/>
                <a:gd name="T4" fmla="*/ 62 w 96"/>
                <a:gd name="T5" fmla="*/ 17 h 32"/>
                <a:gd name="T6" fmla="*/ 59 w 96"/>
                <a:gd name="T7" fmla="*/ 25 h 32"/>
                <a:gd name="T8" fmla="*/ 52 w 96"/>
                <a:gd name="T9" fmla="*/ 1 h 32"/>
                <a:gd name="T10" fmla="*/ 50 w 96"/>
                <a:gd name="T11" fmla="*/ 0 h 32"/>
                <a:gd name="T12" fmla="*/ 48 w 96"/>
                <a:gd name="T13" fmla="*/ 1 h 32"/>
                <a:gd name="T14" fmla="*/ 40 w 96"/>
                <a:gd name="T15" fmla="*/ 18 h 32"/>
                <a:gd name="T16" fmla="*/ 34 w 96"/>
                <a:gd name="T17" fmla="*/ 9 h 32"/>
                <a:gd name="T18" fmla="*/ 32 w 96"/>
                <a:gd name="T19" fmla="*/ 8 h 32"/>
                <a:gd name="T20" fmla="*/ 30 w 96"/>
                <a:gd name="T21" fmla="*/ 9 h 32"/>
                <a:gd name="T22" fmla="*/ 25 w 96"/>
                <a:gd name="T23" fmla="*/ 16 h 32"/>
                <a:gd name="T24" fmla="*/ 2 w 96"/>
                <a:gd name="T25" fmla="*/ 16 h 32"/>
                <a:gd name="T26" fmla="*/ 0 w 96"/>
                <a:gd name="T27" fmla="*/ 18 h 32"/>
                <a:gd name="T28" fmla="*/ 2 w 96"/>
                <a:gd name="T29" fmla="*/ 20 h 32"/>
                <a:gd name="T30" fmla="*/ 26 w 96"/>
                <a:gd name="T31" fmla="*/ 20 h 32"/>
                <a:gd name="T32" fmla="*/ 28 w 96"/>
                <a:gd name="T33" fmla="*/ 19 h 32"/>
                <a:gd name="T34" fmla="*/ 32 w 96"/>
                <a:gd name="T35" fmla="*/ 13 h 32"/>
                <a:gd name="T36" fmla="*/ 38 w 96"/>
                <a:gd name="T37" fmla="*/ 23 h 32"/>
                <a:gd name="T38" fmla="*/ 40 w 96"/>
                <a:gd name="T39" fmla="*/ 24 h 32"/>
                <a:gd name="T40" fmla="*/ 42 w 96"/>
                <a:gd name="T41" fmla="*/ 23 h 32"/>
                <a:gd name="T42" fmla="*/ 49 w 96"/>
                <a:gd name="T43" fmla="*/ 8 h 32"/>
                <a:gd name="T44" fmla="*/ 56 w 96"/>
                <a:gd name="T45" fmla="*/ 31 h 32"/>
                <a:gd name="T46" fmla="*/ 58 w 96"/>
                <a:gd name="T47" fmla="*/ 32 h 32"/>
                <a:gd name="T48" fmla="*/ 60 w 96"/>
                <a:gd name="T49" fmla="*/ 31 h 32"/>
                <a:gd name="T50" fmla="*/ 65 w 96"/>
                <a:gd name="T51" fmla="*/ 20 h 32"/>
                <a:gd name="T52" fmla="*/ 94 w 96"/>
                <a:gd name="T53" fmla="*/ 20 h 32"/>
                <a:gd name="T54" fmla="*/ 96 w 96"/>
                <a:gd name="T55" fmla="*/ 18 h 32"/>
                <a:gd name="T56" fmla="*/ 94 w 96"/>
                <a:gd name="T57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32">
                  <a:moveTo>
                    <a:pt x="94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3" y="16"/>
                    <a:pt x="63" y="16"/>
                    <a:pt x="62" y="1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1"/>
                    <a:pt x="51" y="0"/>
                    <a:pt x="50" y="0"/>
                  </a:cubicBezTo>
                  <a:cubicBezTo>
                    <a:pt x="49" y="0"/>
                    <a:pt x="49" y="0"/>
                    <a:pt x="48" y="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8"/>
                    <a:pt x="33" y="8"/>
                    <a:pt x="32" y="8"/>
                  </a:cubicBezTo>
                  <a:cubicBezTo>
                    <a:pt x="31" y="8"/>
                    <a:pt x="31" y="8"/>
                    <a:pt x="30" y="9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9"/>
                    <a:pt x="1" y="20"/>
                    <a:pt x="2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7" y="20"/>
                    <a:pt x="27" y="20"/>
                    <a:pt x="28" y="19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9" y="24"/>
                    <a:pt x="39" y="24"/>
                    <a:pt x="40" y="24"/>
                  </a:cubicBezTo>
                  <a:cubicBezTo>
                    <a:pt x="41" y="24"/>
                    <a:pt x="41" y="24"/>
                    <a:pt x="42" y="23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7" y="32"/>
                    <a:pt x="58" y="32"/>
                  </a:cubicBezTo>
                  <a:cubicBezTo>
                    <a:pt x="59" y="32"/>
                    <a:pt x="59" y="32"/>
                    <a:pt x="60" y="3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94" y="20"/>
                    <a:pt x="94" y="20"/>
                    <a:pt x="94" y="20"/>
                  </a:cubicBezTo>
                  <a:cubicBezTo>
                    <a:pt x="95" y="20"/>
                    <a:pt x="96" y="19"/>
                    <a:pt x="96" y="18"/>
                  </a:cubicBezTo>
                  <a:cubicBezTo>
                    <a:pt x="96" y="17"/>
                    <a:pt x="95" y="16"/>
                    <a:pt x="9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391" name="Freeform 200">
            <a:extLst>
              <a:ext uri="{FF2B5EF4-FFF2-40B4-BE49-F238E27FC236}">
                <a16:creationId xmlns:a16="http://schemas.microsoft.com/office/drawing/2014/main" id="{BFAD6A32-60AD-4389-93CD-0B530B4C5702}"/>
              </a:ext>
            </a:extLst>
          </p:cNvPr>
          <p:cNvSpPr>
            <a:spLocks noEditPoints="1"/>
          </p:cNvSpPr>
          <p:nvPr/>
        </p:nvSpPr>
        <p:spPr bwMode="auto">
          <a:xfrm>
            <a:off x="6298671" y="4465350"/>
            <a:ext cx="276829" cy="255837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93C031E0-0045-43E4-8C52-D8D00E61B4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69" t="4262" r="11423" b="7345"/>
          <a:stretch/>
        </p:blipFill>
        <p:spPr>
          <a:xfrm>
            <a:off x="11806455" y="0"/>
            <a:ext cx="375143" cy="383658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738259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Picture 99" descr="A picture containing sitting&#10;&#10;Description automatically generated">
            <a:extLst>
              <a:ext uri="{FF2B5EF4-FFF2-40B4-BE49-F238E27FC236}">
                <a16:creationId xmlns:a16="http://schemas.microsoft.com/office/drawing/2014/main" id="{2F18C653-7C32-4F37-B735-7895F7CFDF8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25"/>
          <a:stretch/>
        </p:blipFill>
        <p:spPr>
          <a:xfrm>
            <a:off x="-43365" y="452823"/>
            <a:ext cx="12173548" cy="5478414"/>
          </a:xfrm>
          <a:prstGeom prst="rect">
            <a:avLst/>
          </a:prstGeom>
        </p:spPr>
      </p:pic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20" name="Title 1">
            <a:extLst>
              <a:ext uri="{FF2B5EF4-FFF2-40B4-BE49-F238E27FC236}">
                <a16:creationId xmlns:a16="http://schemas.microsoft.com/office/drawing/2014/main" id="{EB5AF78C-BA08-44BA-877A-9DD9034786B7}"/>
              </a:ext>
            </a:extLst>
          </p:cNvPr>
          <p:cNvSpPr txBox="1">
            <a:spLocks/>
          </p:cNvSpPr>
          <p:nvPr/>
        </p:nvSpPr>
        <p:spPr>
          <a:xfrm>
            <a:off x="566057" y="365126"/>
            <a:ext cx="11059886" cy="8105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DATA EXPLORATION </a:t>
            </a:r>
          </a:p>
        </p:txBody>
      </p:sp>
      <p:grpSp>
        <p:nvGrpSpPr>
          <p:cNvPr id="492" name="Group 491">
            <a:extLst>
              <a:ext uri="{FF2B5EF4-FFF2-40B4-BE49-F238E27FC236}">
                <a16:creationId xmlns:a16="http://schemas.microsoft.com/office/drawing/2014/main" id="{AB7A946B-5E17-4759-A55A-0C3857774841}"/>
              </a:ext>
            </a:extLst>
          </p:cNvPr>
          <p:cNvGrpSpPr/>
          <p:nvPr/>
        </p:nvGrpSpPr>
        <p:grpSpPr>
          <a:xfrm>
            <a:off x="712167" y="1387968"/>
            <a:ext cx="6137542" cy="750888"/>
            <a:chOff x="364622" y="1814155"/>
            <a:chExt cx="6137542" cy="750888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3E2C6D16-FBB8-4D4F-82E7-2871CD027B5C}"/>
                </a:ext>
              </a:extLst>
            </p:cNvPr>
            <p:cNvSpPr/>
            <p:nvPr/>
          </p:nvSpPr>
          <p:spPr>
            <a:xfrm>
              <a:off x="5751276" y="1814155"/>
              <a:ext cx="750888" cy="750888"/>
            </a:xfrm>
            <a:prstGeom prst="ellipse">
              <a:avLst/>
            </a:prstGeom>
            <a:solidFill>
              <a:srgbClr val="AEE6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2" name="Rectangle: Top Corners Rounded 481">
              <a:extLst>
                <a:ext uri="{FF2B5EF4-FFF2-40B4-BE49-F238E27FC236}">
                  <a16:creationId xmlns:a16="http://schemas.microsoft.com/office/drawing/2014/main" id="{59D5A818-570F-4460-8D01-6E17CE2F6847}"/>
                </a:ext>
              </a:extLst>
            </p:cNvPr>
            <p:cNvSpPr/>
            <p:nvPr/>
          </p:nvSpPr>
          <p:spPr>
            <a:xfrm rot="5400000">
              <a:off x="3155034" y="-848997"/>
              <a:ext cx="488952" cy="6069776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FAC6E736-FF4C-41EE-AA8A-35E5A5B4C90B}"/>
                </a:ext>
              </a:extLst>
            </p:cNvPr>
            <p:cNvSpPr/>
            <p:nvPr/>
          </p:nvSpPr>
          <p:spPr>
            <a:xfrm>
              <a:off x="1966411" y="2042918"/>
              <a:ext cx="3591036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17,379 </a:t>
              </a:r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ows by </a:t>
              </a:r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12 </a:t>
              </a:r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Columns</a:t>
              </a:r>
              <a:endParaRPr lang="en-ID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6" name="Graphic 5" descr="Table">
              <a:extLst>
                <a:ext uri="{FF2B5EF4-FFF2-40B4-BE49-F238E27FC236}">
                  <a16:creationId xmlns:a16="http://schemas.microsoft.com/office/drawing/2014/main" id="{712C0E81-BED1-4924-8FE9-02A97C66E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827856" y="1889768"/>
              <a:ext cx="569573" cy="569573"/>
            </a:xfrm>
            <a:prstGeom prst="rect">
              <a:avLst/>
            </a:prstGeom>
          </p:spPr>
        </p:pic>
      </p:grpSp>
      <p:grpSp>
        <p:nvGrpSpPr>
          <p:cNvPr id="493" name="Group 492">
            <a:extLst>
              <a:ext uri="{FF2B5EF4-FFF2-40B4-BE49-F238E27FC236}">
                <a16:creationId xmlns:a16="http://schemas.microsoft.com/office/drawing/2014/main" id="{4B3A69ED-C50E-4275-8697-C6DBBC3965DE}"/>
              </a:ext>
            </a:extLst>
          </p:cNvPr>
          <p:cNvGrpSpPr/>
          <p:nvPr/>
        </p:nvGrpSpPr>
        <p:grpSpPr>
          <a:xfrm>
            <a:off x="1136029" y="2290176"/>
            <a:ext cx="5724225" cy="743417"/>
            <a:chOff x="788484" y="2716363"/>
            <a:chExt cx="5724225" cy="743417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73DCE616-F8A6-4D42-882C-D68D9C15C580}"/>
                </a:ext>
              </a:extLst>
            </p:cNvPr>
            <p:cNvSpPr/>
            <p:nvPr/>
          </p:nvSpPr>
          <p:spPr>
            <a:xfrm>
              <a:off x="5761821" y="2716363"/>
              <a:ext cx="750888" cy="743417"/>
            </a:xfrm>
            <a:prstGeom prst="ellipse">
              <a:avLst/>
            </a:prstGeom>
            <a:solidFill>
              <a:srgbClr val="F8AC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tangle: Top Corners Rounded 121">
              <a:extLst>
                <a:ext uri="{FF2B5EF4-FFF2-40B4-BE49-F238E27FC236}">
                  <a16:creationId xmlns:a16="http://schemas.microsoft.com/office/drawing/2014/main" id="{A84F8FD6-11BE-47A9-BB42-93A5BCB7C5D7}"/>
                </a:ext>
              </a:extLst>
            </p:cNvPr>
            <p:cNvSpPr/>
            <p:nvPr/>
          </p:nvSpPr>
          <p:spPr>
            <a:xfrm rot="5400000">
              <a:off x="3366965" y="267223"/>
              <a:ext cx="488952" cy="56459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56ED7F78-04E3-455E-B43E-3B39B91770E8}"/>
                </a:ext>
              </a:extLst>
            </p:cNvPr>
            <p:cNvSpPr/>
            <p:nvPr/>
          </p:nvSpPr>
          <p:spPr>
            <a:xfrm>
              <a:off x="2728410" y="2943097"/>
              <a:ext cx="2790937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Target Variable</a:t>
              </a:r>
              <a:r>
                <a:rPr lang="pt-BR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: </a:t>
              </a:r>
              <a:r>
                <a:rPr lang="pt-BR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</a:t>
              </a:r>
              <a:endParaRPr lang="en-ID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486" name="Graphic 485" descr="Cycling">
              <a:extLst>
                <a:ext uri="{FF2B5EF4-FFF2-40B4-BE49-F238E27FC236}">
                  <a16:creationId xmlns:a16="http://schemas.microsoft.com/office/drawing/2014/main" id="{00B09A2B-4748-4C95-B4A6-D8E8322B84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61709" y="2834591"/>
              <a:ext cx="517468" cy="517468"/>
            </a:xfrm>
            <a:prstGeom prst="rect">
              <a:avLst/>
            </a:prstGeom>
          </p:spPr>
        </p:pic>
      </p:grpSp>
      <p:grpSp>
        <p:nvGrpSpPr>
          <p:cNvPr id="494" name="Group 493">
            <a:extLst>
              <a:ext uri="{FF2B5EF4-FFF2-40B4-BE49-F238E27FC236}">
                <a16:creationId xmlns:a16="http://schemas.microsoft.com/office/drawing/2014/main" id="{30B34EC7-FFB9-470C-B38C-763A2EAFAEA0}"/>
              </a:ext>
            </a:extLst>
          </p:cNvPr>
          <p:cNvGrpSpPr/>
          <p:nvPr/>
        </p:nvGrpSpPr>
        <p:grpSpPr>
          <a:xfrm>
            <a:off x="2575510" y="3269626"/>
            <a:ext cx="4274199" cy="750888"/>
            <a:chOff x="2227965" y="3695813"/>
            <a:chExt cx="4274199" cy="750888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EA623B6D-D842-42F5-A7E5-9282C817ED69}"/>
                </a:ext>
              </a:extLst>
            </p:cNvPr>
            <p:cNvSpPr/>
            <p:nvPr/>
          </p:nvSpPr>
          <p:spPr>
            <a:xfrm>
              <a:off x="5751276" y="3695813"/>
              <a:ext cx="750888" cy="750888"/>
            </a:xfrm>
            <a:prstGeom prst="ellipse">
              <a:avLst/>
            </a:prstGeom>
            <a:solidFill>
              <a:srgbClr val="AEE6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tangle: Top Corners Rounded 123">
              <a:extLst>
                <a:ext uri="{FF2B5EF4-FFF2-40B4-BE49-F238E27FC236}">
                  <a16:creationId xmlns:a16="http://schemas.microsoft.com/office/drawing/2014/main" id="{A7B73376-CB0E-47E4-AC20-4883C6EBFC5D}"/>
                </a:ext>
              </a:extLst>
            </p:cNvPr>
            <p:cNvSpPr/>
            <p:nvPr/>
          </p:nvSpPr>
          <p:spPr>
            <a:xfrm rot="5400000">
              <a:off x="4088896" y="1986551"/>
              <a:ext cx="488952" cy="421081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F174CCFB-267E-433F-A882-42CDCB8252AA}"/>
                </a:ext>
              </a:extLst>
            </p:cNvPr>
            <p:cNvSpPr/>
            <p:nvPr/>
          </p:nvSpPr>
          <p:spPr>
            <a:xfrm>
              <a:off x="2766510" y="3953665"/>
              <a:ext cx="2790937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Index Variable</a:t>
              </a:r>
              <a:r>
                <a:rPr lang="pt-BR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: </a:t>
              </a:r>
              <a:r>
                <a:rPr lang="pt-BR" b="1">
                  <a:solidFill>
                    <a:schemeClr val="bg1"/>
                  </a:solidFill>
                  <a:latin typeface="Century Gothic" panose="020B0502020202020204" pitchFamily="34" charset="0"/>
                </a:rPr>
                <a:t>Instant</a:t>
              </a:r>
              <a:endParaRPr lang="en-ID" b="1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488" name="Graphic 487" descr="Stopwatch">
              <a:extLst>
                <a:ext uri="{FF2B5EF4-FFF2-40B4-BE49-F238E27FC236}">
                  <a16:creationId xmlns:a16="http://schemas.microsoft.com/office/drawing/2014/main" id="{0FDCD6A5-ADEB-4DD9-8587-71869B34E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849789" y="3838581"/>
              <a:ext cx="516780" cy="516780"/>
            </a:xfrm>
            <a:prstGeom prst="rect">
              <a:avLst/>
            </a:prstGeom>
          </p:spPr>
        </p:pic>
      </p:grpSp>
      <p:grpSp>
        <p:nvGrpSpPr>
          <p:cNvPr id="495" name="Group 494">
            <a:extLst>
              <a:ext uri="{FF2B5EF4-FFF2-40B4-BE49-F238E27FC236}">
                <a16:creationId xmlns:a16="http://schemas.microsoft.com/office/drawing/2014/main" id="{88E2E88C-8FFD-419E-B46E-A6D8623470BD}"/>
              </a:ext>
            </a:extLst>
          </p:cNvPr>
          <p:cNvGrpSpPr/>
          <p:nvPr/>
        </p:nvGrpSpPr>
        <p:grpSpPr>
          <a:xfrm>
            <a:off x="2185365" y="4288801"/>
            <a:ext cx="4664344" cy="750888"/>
            <a:chOff x="1837820" y="4714988"/>
            <a:chExt cx="4664344" cy="750888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873AB885-2294-4C02-9DEF-9526125C9801}"/>
                </a:ext>
              </a:extLst>
            </p:cNvPr>
            <p:cNvSpPr/>
            <p:nvPr/>
          </p:nvSpPr>
          <p:spPr>
            <a:xfrm>
              <a:off x="5751276" y="4714988"/>
              <a:ext cx="750888" cy="750888"/>
            </a:xfrm>
            <a:prstGeom prst="ellipse">
              <a:avLst/>
            </a:prstGeom>
            <a:solidFill>
              <a:srgbClr val="F8AC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: Top Corners Rounded 129">
              <a:extLst>
                <a:ext uri="{FF2B5EF4-FFF2-40B4-BE49-F238E27FC236}">
                  <a16:creationId xmlns:a16="http://schemas.microsoft.com/office/drawing/2014/main" id="{32AD5EE7-03FC-409D-9C5A-641B976E2656}"/>
                </a:ext>
              </a:extLst>
            </p:cNvPr>
            <p:cNvSpPr/>
            <p:nvPr/>
          </p:nvSpPr>
          <p:spPr>
            <a:xfrm rot="5400000">
              <a:off x="3891633" y="2795449"/>
              <a:ext cx="488952" cy="459657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28EF69AE-62F3-432B-8458-D2567446C838}"/>
                </a:ext>
              </a:extLst>
            </p:cNvPr>
            <p:cNvSpPr/>
            <p:nvPr/>
          </p:nvSpPr>
          <p:spPr>
            <a:xfrm>
              <a:off x="2872552" y="4944864"/>
              <a:ext cx="2790937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US" sz="16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No missing values</a:t>
              </a:r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, YAY!</a:t>
              </a:r>
            </a:p>
          </p:txBody>
        </p:sp>
        <p:pic>
          <p:nvPicPr>
            <p:cNvPr id="491" name="Graphic 490" descr="Magnifying glass">
              <a:extLst>
                <a:ext uri="{FF2B5EF4-FFF2-40B4-BE49-F238E27FC236}">
                  <a16:creationId xmlns:a16="http://schemas.microsoft.com/office/drawing/2014/main" id="{AAEA5728-634E-44EB-AE3E-3FA567DAB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70844" y="4848538"/>
              <a:ext cx="482328" cy="482328"/>
            </a:xfrm>
            <a:prstGeom prst="rect">
              <a:avLst/>
            </a:prstGeom>
          </p:spPr>
        </p:pic>
      </p:grpSp>
      <p:grpSp>
        <p:nvGrpSpPr>
          <p:cNvPr id="497" name="Group 496">
            <a:extLst>
              <a:ext uri="{FF2B5EF4-FFF2-40B4-BE49-F238E27FC236}">
                <a16:creationId xmlns:a16="http://schemas.microsoft.com/office/drawing/2014/main" id="{01FA0FEF-4707-47C7-9BB6-1691F344DE61}"/>
              </a:ext>
            </a:extLst>
          </p:cNvPr>
          <p:cNvGrpSpPr/>
          <p:nvPr/>
        </p:nvGrpSpPr>
        <p:grpSpPr>
          <a:xfrm>
            <a:off x="7391074" y="1515230"/>
            <a:ext cx="4798188" cy="1231909"/>
            <a:chOff x="7403749" y="1941417"/>
            <a:chExt cx="4798188" cy="1231909"/>
          </a:xfrm>
        </p:grpSpPr>
        <p:sp>
          <p:nvSpPr>
            <p:cNvPr id="126" name="Rectangle: Top Corners Rounded 125">
              <a:extLst>
                <a:ext uri="{FF2B5EF4-FFF2-40B4-BE49-F238E27FC236}">
                  <a16:creationId xmlns:a16="http://schemas.microsoft.com/office/drawing/2014/main" id="{281EAA3A-A5B0-4CBD-9A4A-73557EA58F3E}"/>
                </a:ext>
              </a:extLst>
            </p:cNvPr>
            <p:cNvSpPr/>
            <p:nvPr/>
          </p:nvSpPr>
          <p:spPr>
            <a:xfrm rot="16200000" flipH="1">
              <a:off x="9558366" y="-213200"/>
              <a:ext cx="488953" cy="479818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49100827-5607-4920-9D4C-8654B5448FC1}"/>
                </a:ext>
              </a:extLst>
            </p:cNvPr>
            <p:cNvSpPr/>
            <p:nvPr/>
          </p:nvSpPr>
          <p:spPr>
            <a:xfrm>
              <a:off x="7949185" y="2036054"/>
              <a:ext cx="366196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Categorical Variables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7D297840-D5A4-49AF-9B2A-42D07A0AA853}"/>
                </a:ext>
              </a:extLst>
            </p:cNvPr>
            <p:cNvSpPr/>
            <p:nvPr/>
          </p:nvSpPr>
          <p:spPr>
            <a:xfrm>
              <a:off x="7839366" y="2526995"/>
              <a:ext cx="3661968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Season, Month, Hou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Holiday, Weekday, Workda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Weather</a:t>
              </a:r>
            </a:p>
          </p:txBody>
        </p:sp>
      </p:grpSp>
      <p:grpSp>
        <p:nvGrpSpPr>
          <p:cNvPr id="498" name="Group 497">
            <a:extLst>
              <a:ext uri="{FF2B5EF4-FFF2-40B4-BE49-F238E27FC236}">
                <a16:creationId xmlns:a16="http://schemas.microsoft.com/office/drawing/2014/main" id="{57700113-1ABC-4C2A-8C97-E6EF635AAECD}"/>
              </a:ext>
            </a:extLst>
          </p:cNvPr>
          <p:cNvGrpSpPr/>
          <p:nvPr/>
        </p:nvGrpSpPr>
        <p:grpSpPr>
          <a:xfrm>
            <a:off x="7393812" y="3914942"/>
            <a:ext cx="4798188" cy="1191527"/>
            <a:chOff x="7406487" y="4341129"/>
            <a:chExt cx="4798188" cy="1191527"/>
          </a:xfrm>
        </p:grpSpPr>
        <p:sp>
          <p:nvSpPr>
            <p:cNvPr id="128" name="Rectangle: Top Corners Rounded 127">
              <a:extLst>
                <a:ext uri="{FF2B5EF4-FFF2-40B4-BE49-F238E27FC236}">
                  <a16:creationId xmlns:a16="http://schemas.microsoft.com/office/drawing/2014/main" id="{46D97566-034F-4C6B-ADB1-007E8D1EA0C9}"/>
                </a:ext>
              </a:extLst>
            </p:cNvPr>
            <p:cNvSpPr/>
            <p:nvPr/>
          </p:nvSpPr>
          <p:spPr>
            <a:xfrm rot="16200000" flipH="1">
              <a:off x="9581742" y="2165874"/>
              <a:ext cx="447678" cy="479818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160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AAAFF491-7EC6-4DF0-8BF0-17CADD6A895D}"/>
                </a:ext>
              </a:extLst>
            </p:cNvPr>
            <p:cNvSpPr/>
            <p:nvPr/>
          </p:nvSpPr>
          <p:spPr>
            <a:xfrm>
              <a:off x="7812952" y="4886325"/>
              <a:ext cx="3568405" cy="6463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Temperatur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Humid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rPr>
                <a:t>Wind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E8CDD4B7-2A73-47F6-8D71-841E0AAFD7CA}"/>
                </a:ext>
              </a:extLst>
            </p:cNvPr>
            <p:cNvSpPr/>
            <p:nvPr/>
          </p:nvSpPr>
          <p:spPr>
            <a:xfrm>
              <a:off x="7840621" y="4430048"/>
              <a:ext cx="3661968" cy="2769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  <a:latin typeface="Century Gothic" panose="020B0502020202020204" pitchFamily="34" charset="0"/>
                </a:rPr>
                <a:t>Numeric Variables</a:t>
              </a:r>
            </a:p>
          </p:txBody>
        </p:sp>
      </p:grpSp>
      <p:grpSp>
        <p:nvGrpSpPr>
          <p:cNvPr id="496" name="Group 495">
            <a:extLst>
              <a:ext uri="{FF2B5EF4-FFF2-40B4-BE49-F238E27FC236}">
                <a16:creationId xmlns:a16="http://schemas.microsoft.com/office/drawing/2014/main" id="{1FBCCCE0-67CE-4571-896F-F2F47DC2DDDB}"/>
              </a:ext>
            </a:extLst>
          </p:cNvPr>
          <p:cNvGrpSpPr/>
          <p:nvPr/>
        </p:nvGrpSpPr>
        <p:grpSpPr>
          <a:xfrm>
            <a:off x="-1247576" y="749471"/>
            <a:ext cx="4640392" cy="4587874"/>
            <a:chOff x="-1595121" y="1175658"/>
            <a:chExt cx="4640392" cy="4587874"/>
          </a:xfrm>
        </p:grpSpPr>
        <p:sp>
          <p:nvSpPr>
            <p:cNvPr id="483" name="Oval 482">
              <a:extLst>
                <a:ext uri="{FF2B5EF4-FFF2-40B4-BE49-F238E27FC236}">
                  <a16:creationId xmlns:a16="http://schemas.microsoft.com/office/drawing/2014/main" id="{1376E014-B6BC-4B8D-98DA-0483C97ABB06}"/>
                </a:ext>
              </a:extLst>
            </p:cNvPr>
            <p:cNvSpPr/>
            <p:nvPr/>
          </p:nvSpPr>
          <p:spPr>
            <a:xfrm>
              <a:off x="1319820" y="4024616"/>
              <a:ext cx="1673225" cy="16732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1" name="Group 480">
              <a:extLst>
                <a:ext uri="{FF2B5EF4-FFF2-40B4-BE49-F238E27FC236}">
                  <a16:creationId xmlns:a16="http://schemas.microsoft.com/office/drawing/2014/main" id="{CB205E7D-BE84-43AD-A479-B8F51BFC6415}"/>
                </a:ext>
              </a:extLst>
            </p:cNvPr>
            <p:cNvGrpSpPr/>
            <p:nvPr/>
          </p:nvGrpSpPr>
          <p:grpSpPr>
            <a:xfrm flipH="1">
              <a:off x="-1595121" y="1175658"/>
              <a:ext cx="4640392" cy="4587874"/>
              <a:chOff x="3222625" y="2130426"/>
              <a:chExt cx="5043488" cy="4587874"/>
            </a:xfrm>
          </p:grpSpPr>
          <p:sp>
            <p:nvSpPr>
              <p:cNvPr id="7" name="Freeform 5">
                <a:extLst>
                  <a:ext uri="{FF2B5EF4-FFF2-40B4-BE49-F238E27FC236}">
                    <a16:creationId xmlns:a16="http://schemas.microsoft.com/office/drawing/2014/main" id="{00478DA0-5F53-4BA2-B295-C43385FED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5975" y="2824163"/>
                <a:ext cx="1038225" cy="1355725"/>
              </a:xfrm>
              <a:custGeom>
                <a:avLst/>
                <a:gdLst>
                  <a:gd name="T0" fmla="*/ 110 w 425"/>
                  <a:gd name="T1" fmla="*/ 351 h 554"/>
                  <a:gd name="T2" fmla="*/ 27 w 425"/>
                  <a:gd name="T3" fmla="*/ 40 h 554"/>
                  <a:gd name="T4" fmla="*/ 156 w 425"/>
                  <a:gd name="T5" fmla="*/ 110 h 554"/>
                  <a:gd name="T6" fmla="*/ 202 w 425"/>
                  <a:gd name="T7" fmla="*/ 323 h 554"/>
                  <a:gd name="T8" fmla="*/ 425 w 425"/>
                  <a:gd name="T9" fmla="*/ 535 h 554"/>
                  <a:gd name="T10" fmla="*/ 396 w 425"/>
                  <a:gd name="T11" fmla="*/ 554 h 554"/>
                  <a:gd name="T12" fmla="*/ 110 w 425"/>
                  <a:gd name="T13" fmla="*/ 351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5" h="554">
                    <a:moveTo>
                      <a:pt x="110" y="351"/>
                    </a:moveTo>
                    <a:cubicBezTo>
                      <a:pt x="110" y="351"/>
                      <a:pt x="0" y="78"/>
                      <a:pt x="27" y="40"/>
                    </a:cubicBezTo>
                    <a:cubicBezTo>
                      <a:pt x="55" y="3"/>
                      <a:pt x="141" y="0"/>
                      <a:pt x="156" y="110"/>
                    </a:cubicBezTo>
                    <a:cubicBezTo>
                      <a:pt x="170" y="220"/>
                      <a:pt x="199" y="313"/>
                      <a:pt x="202" y="323"/>
                    </a:cubicBezTo>
                    <a:cubicBezTo>
                      <a:pt x="204" y="333"/>
                      <a:pt x="425" y="535"/>
                      <a:pt x="425" y="535"/>
                    </a:cubicBezTo>
                    <a:cubicBezTo>
                      <a:pt x="396" y="554"/>
                      <a:pt x="396" y="554"/>
                      <a:pt x="396" y="554"/>
                    </a:cubicBezTo>
                    <a:cubicBezTo>
                      <a:pt x="396" y="554"/>
                      <a:pt x="116" y="378"/>
                      <a:pt x="110" y="351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0A5C2A45-702E-4843-A793-1377EC06E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4350" y="4133850"/>
                <a:ext cx="222250" cy="241300"/>
              </a:xfrm>
              <a:custGeom>
                <a:avLst/>
                <a:gdLst>
                  <a:gd name="T0" fmla="*/ 29 w 91"/>
                  <a:gd name="T1" fmla="*/ 0 h 99"/>
                  <a:gd name="T2" fmla="*/ 77 w 91"/>
                  <a:gd name="T3" fmla="*/ 30 h 99"/>
                  <a:gd name="T4" fmla="*/ 85 w 91"/>
                  <a:gd name="T5" fmla="*/ 85 h 99"/>
                  <a:gd name="T6" fmla="*/ 24 w 91"/>
                  <a:gd name="T7" fmla="*/ 93 h 99"/>
                  <a:gd name="T8" fmla="*/ 21 w 91"/>
                  <a:gd name="T9" fmla="*/ 46 h 99"/>
                  <a:gd name="T10" fmla="*/ 0 w 91"/>
                  <a:gd name="T11" fmla="*/ 19 h 99"/>
                  <a:gd name="T12" fmla="*/ 29 w 91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99">
                    <a:moveTo>
                      <a:pt x="29" y="0"/>
                    </a:moveTo>
                    <a:cubicBezTo>
                      <a:pt x="29" y="0"/>
                      <a:pt x="73" y="20"/>
                      <a:pt x="77" y="30"/>
                    </a:cubicBezTo>
                    <a:cubicBezTo>
                      <a:pt x="81" y="40"/>
                      <a:pt x="91" y="78"/>
                      <a:pt x="85" y="85"/>
                    </a:cubicBezTo>
                    <a:cubicBezTo>
                      <a:pt x="78" y="91"/>
                      <a:pt x="37" y="99"/>
                      <a:pt x="24" y="93"/>
                    </a:cubicBezTo>
                    <a:cubicBezTo>
                      <a:pt x="11" y="87"/>
                      <a:pt x="23" y="47"/>
                      <a:pt x="21" y="46"/>
                    </a:cubicBezTo>
                    <a:cubicBezTo>
                      <a:pt x="19" y="44"/>
                      <a:pt x="0" y="19"/>
                      <a:pt x="0" y="19"/>
                    </a:cubicBezTo>
                    <a:cubicBezTo>
                      <a:pt x="29" y="0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2E0D808D-4C54-4B0C-BC30-16BA81FFA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1338" y="4157663"/>
                <a:ext cx="204788" cy="225425"/>
              </a:xfrm>
              <a:custGeom>
                <a:avLst/>
                <a:gdLst>
                  <a:gd name="T0" fmla="*/ 2 w 84"/>
                  <a:gd name="T1" fmla="*/ 26 h 92"/>
                  <a:gd name="T2" fmla="*/ 39 w 84"/>
                  <a:gd name="T3" fmla="*/ 0 h 92"/>
                  <a:gd name="T4" fmla="*/ 67 w 84"/>
                  <a:gd name="T5" fmla="*/ 19 h 92"/>
                  <a:gd name="T6" fmla="*/ 73 w 84"/>
                  <a:gd name="T7" fmla="*/ 79 h 92"/>
                  <a:gd name="T8" fmla="*/ 8 w 84"/>
                  <a:gd name="T9" fmla="*/ 81 h 92"/>
                  <a:gd name="T10" fmla="*/ 9 w 84"/>
                  <a:gd name="T11" fmla="*/ 38 h 92"/>
                  <a:gd name="T12" fmla="*/ 2 w 84"/>
                  <a:gd name="T13" fmla="*/ 2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92">
                    <a:moveTo>
                      <a:pt x="2" y="26"/>
                    </a:moveTo>
                    <a:cubicBezTo>
                      <a:pt x="2" y="26"/>
                      <a:pt x="32" y="15"/>
                      <a:pt x="39" y="0"/>
                    </a:cubicBezTo>
                    <a:cubicBezTo>
                      <a:pt x="39" y="0"/>
                      <a:pt x="64" y="9"/>
                      <a:pt x="67" y="19"/>
                    </a:cubicBezTo>
                    <a:cubicBezTo>
                      <a:pt x="70" y="28"/>
                      <a:pt x="84" y="71"/>
                      <a:pt x="73" y="79"/>
                    </a:cubicBezTo>
                    <a:cubicBezTo>
                      <a:pt x="62" y="87"/>
                      <a:pt x="16" y="92"/>
                      <a:pt x="8" y="81"/>
                    </a:cubicBezTo>
                    <a:cubicBezTo>
                      <a:pt x="0" y="69"/>
                      <a:pt x="9" y="40"/>
                      <a:pt x="9" y="38"/>
                    </a:cubicBezTo>
                    <a:cubicBezTo>
                      <a:pt x="8" y="35"/>
                      <a:pt x="2" y="26"/>
                      <a:pt x="2" y="26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1A318375-0C4D-4095-AACF-457F31056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300" y="5270500"/>
                <a:ext cx="119063" cy="452437"/>
              </a:xfrm>
              <a:custGeom>
                <a:avLst/>
                <a:gdLst>
                  <a:gd name="T0" fmla="*/ 30 w 75"/>
                  <a:gd name="T1" fmla="*/ 0 h 285"/>
                  <a:gd name="T2" fmla="*/ 75 w 75"/>
                  <a:gd name="T3" fmla="*/ 6 h 285"/>
                  <a:gd name="T4" fmla="*/ 44 w 75"/>
                  <a:gd name="T5" fmla="*/ 285 h 285"/>
                  <a:gd name="T6" fmla="*/ 0 w 75"/>
                  <a:gd name="T7" fmla="*/ 281 h 285"/>
                  <a:gd name="T8" fmla="*/ 30 w 75"/>
                  <a:gd name="T9" fmla="*/ 0 h 285"/>
                  <a:gd name="T10" fmla="*/ 30 w 75"/>
                  <a:gd name="T11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" h="285">
                    <a:moveTo>
                      <a:pt x="30" y="0"/>
                    </a:moveTo>
                    <a:lnTo>
                      <a:pt x="75" y="6"/>
                    </a:lnTo>
                    <a:lnTo>
                      <a:pt x="44" y="285"/>
                    </a:lnTo>
                    <a:lnTo>
                      <a:pt x="0" y="281"/>
                    </a:lnTo>
                    <a:lnTo>
                      <a:pt x="30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8989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07E0E795-0FC9-46BB-9E0C-AAC36C309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1300" y="5148263"/>
                <a:ext cx="430213" cy="169862"/>
              </a:xfrm>
              <a:custGeom>
                <a:avLst/>
                <a:gdLst>
                  <a:gd name="T0" fmla="*/ 1 w 176"/>
                  <a:gd name="T1" fmla="*/ 25 h 69"/>
                  <a:gd name="T2" fmla="*/ 32 w 176"/>
                  <a:gd name="T3" fmla="*/ 2 h 69"/>
                  <a:gd name="T4" fmla="*/ 150 w 176"/>
                  <a:gd name="T5" fmla="*/ 15 h 69"/>
                  <a:gd name="T6" fmla="*/ 174 w 176"/>
                  <a:gd name="T7" fmla="*/ 44 h 69"/>
                  <a:gd name="T8" fmla="*/ 144 w 176"/>
                  <a:gd name="T9" fmla="*/ 68 h 69"/>
                  <a:gd name="T10" fmla="*/ 26 w 176"/>
                  <a:gd name="T11" fmla="*/ 55 h 69"/>
                  <a:gd name="T12" fmla="*/ 1 w 176"/>
                  <a:gd name="T13" fmla="*/ 2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69">
                    <a:moveTo>
                      <a:pt x="1" y="25"/>
                    </a:moveTo>
                    <a:cubicBezTo>
                      <a:pt x="3" y="11"/>
                      <a:pt x="17" y="0"/>
                      <a:pt x="32" y="2"/>
                    </a:cubicBezTo>
                    <a:cubicBezTo>
                      <a:pt x="150" y="15"/>
                      <a:pt x="150" y="15"/>
                      <a:pt x="150" y="15"/>
                    </a:cubicBezTo>
                    <a:cubicBezTo>
                      <a:pt x="165" y="17"/>
                      <a:pt x="176" y="30"/>
                      <a:pt x="174" y="44"/>
                    </a:cubicBezTo>
                    <a:cubicBezTo>
                      <a:pt x="173" y="59"/>
                      <a:pt x="159" y="69"/>
                      <a:pt x="144" y="68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11" y="53"/>
                      <a:pt x="0" y="40"/>
                      <a:pt x="1" y="25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1F70064A-66F9-4820-9E8A-0D6EB4990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4497388"/>
                <a:ext cx="1768475" cy="93662"/>
              </a:xfrm>
              <a:custGeom>
                <a:avLst/>
                <a:gdLst>
                  <a:gd name="T0" fmla="*/ 0 w 1114"/>
                  <a:gd name="T1" fmla="*/ 59 h 59"/>
                  <a:gd name="T2" fmla="*/ 1114 w 1114"/>
                  <a:gd name="T3" fmla="*/ 59 h 59"/>
                  <a:gd name="T4" fmla="*/ 1114 w 1114"/>
                  <a:gd name="T5" fmla="*/ 0 h 59"/>
                  <a:gd name="T6" fmla="*/ 0 w 1114"/>
                  <a:gd name="T7" fmla="*/ 0 h 59"/>
                  <a:gd name="T8" fmla="*/ 0 w 1114"/>
                  <a:gd name="T9" fmla="*/ 59 h 59"/>
                  <a:gd name="T10" fmla="*/ 0 w 1114"/>
                  <a:gd name="T11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14" h="59">
                    <a:moveTo>
                      <a:pt x="0" y="59"/>
                    </a:moveTo>
                    <a:lnTo>
                      <a:pt x="1114" y="59"/>
                    </a:lnTo>
                    <a:lnTo>
                      <a:pt x="1114" y="0"/>
                    </a:lnTo>
                    <a:lnTo>
                      <a:pt x="0" y="0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B2EB0937-BE4F-46D6-8844-CC1E8523A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300" y="4635500"/>
                <a:ext cx="1479550" cy="1122362"/>
              </a:xfrm>
              <a:custGeom>
                <a:avLst/>
                <a:gdLst>
                  <a:gd name="T0" fmla="*/ 27 w 932"/>
                  <a:gd name="T1" fmla="*/ 707 h 707"/>
                  <a:gd name="T2" fmla="*/ 932 w 932"/>
                  <a:gd name="T3" fmla="*/ 52 h 707"/>
                  <a:gd name="T4" fmla="*/ 902 w 932"/>
                  <a:gd name="T5" fmla="*/ 0 h 707"/>
                  <a:gd name="T6" fmla="*/ 0 w 932"/>
                  <a:gd name="T7" fmla="*/ 655 h 707"/>
                  <a:gd name="T8" fmla="*/ 27 w 932"/>
                  <a:gd name="T9" fmla="*/ 707 h 707"/>
                  <a:gd name="T10" fmla="*/ 27 w 932"/>
                  <a:gd name="T11" fmla="*/ 707 h 7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2" h="707">
                    <a:moveTo>
                      <a:pt x="27" y="707"/>
                    </a:moveTo>
                    <a:lnTo>
                      <a:pt x="932" y="52"/>
                    </a:lnTo>
                    <a:lnTo>
                      <a:pt x="902" y="0"/>
                    </a:lnTo>
                    <a:lnTo>
                      <a:pt x="0" y="655"/>
                    </a:lnTo>
                    <a:lnTo>
                      <a:pt x="27" y="707"/>
                    </a:lnTo>
                    <a:lnTo>
                      <a:pt x="27" y="707"/>
                    </a:ln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2">
                <a:extLst>
                  <a:ext uri="{FF2B5EF4-FFF2-40B4-BE49-F238E27FC236}">
                    <a16:creationId xmlns:a16="http://schemas.microsoft.com/office/drawing/2014/main" id="{B3DA7728-1D54-4CD2-9971-E76864633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5375" y="4094163"/>
                <a:ext cx="630238" cy="1690687"/>
              </a:xfrm>
              <a:custGeom>
                <a:avLst/>
                <a:gdLst>
                  <a:gd name="T0" fmla="*/ 397 w 397"/>
                  <a:gd name="T1" fmla="*/ 1046 h 1065"/>
                  <a:gd name="T2" fmla="*/ 343 w 397"/>
                  <a:gd name="T3" fmla="*/ 1065 h 1065"/>
                  <a:gd name="T4" fmla="*/ 0 w 397"/>
                  <a:gd name="T5" fmla="*/ 0 h 1065"/>
                  <a:gd name="T6" fmla="*/ 64 w 397"/>
                  <a:gd name="T7" fmla="*/ 0 h 1065"/>
                  <a:gd name="T8" fmla="*/ 397 w 397"/>
                  <a:gd name="T9" fmla="*/ 1046 h 1065"/>
                  <a:gd name="T10" fmla="*/ 397 w 397"/>
                  <a:gd name="T11" fmla="*/ 1046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7" h="1065">
                    <a:moveTo>
                      <a:pt x="397" y="1046"/>
                    </a:moveTo>
                    <a:lnTo>
                      <a:pt x="343" y="1065"/>
                    </a:lnTo>
                    <a:lnTo>
                      <a:pt x="0" y="0"/>
                    </a:lnTo>
                    <a:lnTo>
                      <a:pt x="64" y="0"/>
                    </a:lnTo>
                    <a:lnTo>
                      <a:pt x="397" y="1046"/>
                    </a:lnTo>
                    <a:lnTo>
                      <a:pt x="397" y="1046"/>
                    </a:ln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3">
                <a:extLst>
                  <a:ext uri="{FF2B5EF4-FFF2-40B4-BE49-F238E27FC236}">
                    <a16:creationId xmlns:a16="http://schemas.microsoft.com/office/drawing/2014/main" id="{745BA913-D56A-4DB1-8EF4-142CE910A0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950" y="3963988"/>
                <a:ext cx="755650" cy="169862"/>
              </a:xfrm>
              <a:custGeom>
                <a:avLst/>
                <a:gdLst>
                  <a:gd name="T0" fmla="*/ 6 w 309"/>
                  <a:gd name="T1" fmla="*/ 51 h 69"/>
                  <a:gd name="T2" fmla="*/ 4 w 309"/>
                  <a:gd name="T3" fmla="*/ 38 h 69"/>
                  <a:gd name="T4" fmla="*/ 50 w 309"/>
                  <a:gd name="T5" fmla="*/ 10 h 69"/>
                  <a:gd name="T6" fmla="*/ 168 w 309"/>
                  <a:gd name="T7" fmla="*/ 9 h 69"/>
                  <a:gd name="T8" fmla="*/ 277 w 309"/>
                  <a:gd name="T9" fmla="*/ 5 h 69"/>
                  <a:gd name="T10" fmla="*/ 298 w 309"/>
                  <a:gd name="T11" fmla="*/ 27 h 69"/>
                  <a:gd name="T12" fmla="*/ 222 w 309"/>
                  <a:gd name="T13" fmla="*/ 38 h 69"/>
                  <a:gd name="T14" fmla="*/ 148 w 309"/>
                  <a:gd name="T15" fmla="*/ 58 h 69"/>
                  <a:gd name="T16" fmla="*/ 112 w 309"/>
                  <a:gd name="T17" fmla="*/ 68 h 69"/>
                  <a:gd name="T18" fmla="*/ 52 w 309"/>
                  <a:gd name="T19" fmla="*/ 52 h 69"/>
                  <a:gd name="T20" fmla="*/ 6 w 309"/>
                  <a:gd name="T21" fmla="*/ 5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9" h="69">
                    <a:moveTo>
                      <a:pt x="6" y="51"/>
                    </a:moveTo>
                    <a:cubicBezTo>
                      <a:pt x="6" y="51"/>
                      <a:pt x="0" y="47"/>
                      <a:pt x="4" y="38"/>
                    </a:cubicBezTo>
                    <a:cubicBezTo>
                      <a:pt x="7" y="29"/>
                      <a:pt x="16" y="11"/>
                      <a:pt x="50" y="10"/>
                    </a:cubicBezTo>
                    <a:cubicBezTo>
                      <a:pt x="84" y="9"/>
                      <a:pt x="133" y="14"/>
                      <a:pt x="168" y="9"/>
                    </a:cubicBezTo>
                    <a:cubicBezTo>
                      <a:pt x="203" y="3"/>
                      <a:pt x="253" y="0"/>
                      <a:pt x="277" y="5"/>
                    </a:cubicBezTo>
                    <a:cubicBezTo>
                      <a:pt x="301" y="10"/>
                      <a:pt x="309" y="22"/>
                      <a:pt x="298" y="27"/>
                    </a:cubicBezTo>
                    <a:cubicBezTo>
                      <a:pt x="288" y="32"/>
                      <a:pt x="257" y="35"/>
                      <a:pt x="222" y="38"/>
                    </a:cubicBezTo>
                    <a:cubicBezTo>
                      <a:pt x="186" y="42"/>
                      <a:pt x="166" y="50"/>
                      <a:pt x="148" y="58"/>
                    </a:cubicBezTo>
                    <a:cubicBezTo>
                      <a:pt x="130" y="65"/>
                      <a:pt x="128" y="69"/>
                      <a:pt x="112" y="68"/>
                    </a:cubicBezTo>
                    <a:cubicBezTo>
                      <a:pt x="97" y="67"/>
                      <a:pt x="73" y="54"/>
                      <a:pt x="52" y="52"/>
                    </a:cubicBezTo>
                    <a:cubicBezTo>
                      <a:pt x="31" y="50"/>
                      <a:pt x="8" y="54"/>
                      <a:pt x="6" y="51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7FF0DBD5-91D0-4D80-B0A9-B591FD609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950" y="4029075"/>
                <a:ext cx="742950" cy="133350"/>
              </a:xfrm>
              <a:custGeom>
                <a:avLst/>
                <a:gdLst>
                  <a:gd name="T0" fmla="*/ 298 w 304"/>
                  <a:gd name="T1" fmla="*/ 1 h 55"/>
                  <a:gd name="T2" fmla="*/ 222 w 304"/>
                  <a:gd name="T3" fmla="*/ 12 h 55"/>
                  <a:gd name="T4" fmla="*/ 148 w 304"/>
                  <a:gd name="T5" fmla="*/ 32 h 55"/>
                  <a:gd name="T6" fmla="*/ 112 w 304"/>
                  <a:gd name="T7" fmla="*/ 42 h 55"/>
                  <a:gd name="T8" fmla="*/ 52 w 304"/>
                  <a:gd name="T9" fmla="*/ 26 h 55"/>
                  <a:gd name="T10" fmla="*/ 6 w 304"/>
                  <a:gd name="T11" fmla="*/ 25 h 55"/>
                  <a:gd name="T12" fmla="*/ 4 w 304"/>
                  <a:gd name="T13" fmla="*/ 23 h 55"/>
                  <a:gd name="T14" fmla="*/ 4 w 304"/>
                  <a:gd name="T15" fmla="*/ 24 h 55"/>
                  <a:gd name="T16" fmla="*/ 6 w 304"/>
                  <a:gd name="T17" fmla="*/ 37 h 55"/>
                  <a:gd name="T18" fmla="*/ 52 w 304"/>
                  <a:gd name="T19" fmla="*/ 38 h 55"/>
                  <a:gd name="T20" fmla="*/ 112 w 304"/>
                  <a:gd name="T21" fmla="*/ 54 h 55"/>
                  <a:gd name="T22" fmla="*/ 148 w 304"/>
                  <a:gd name="T23" fmla="*/ 43 h 55"/>
                  <a:gd name="T24" fmla="*/ 222 w 304"/>
                  <a:gd name="T25" fmla="*/ 24 h 55"/>
                  <a:gd name="T26" fmla="*/ 298 w 304"/>
                  <a:gd name="T27" fmla="*/ 13 h 55"/>
                  <a:gd name="T28" fmla="*/ 299 w 304"/>
                  <a:gd name="T29" fmla="*/ 0 h 55"/>
                  <a:gd name="T30" fmla="*/ 298 w 304"/>
                  <a:gd name="T31" fmla="*/ 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4" h="55">
                    <a:moveTo>
                      <a:pt x="298" y="1"/>
                    </a:moveTo>
                    <a:cubicBezTo>
                      <a:pt x="288" y="6"/>
                      <a:pt x="257" y="9"/>
                      <a:pt x="222" y="12"/>
                    </a:cubicBezTo>
                    <a:cubicBezTo>
                      <a:pt x="186" y="16"/>
                      <a:pt x="166" y="24"/>
                      <a:pt x="148" y="32"/>
                    </a:cubicBezTo>
                    <a:cubicBezTo>
                      <a:pt x="130" y="39"/>
                      <a:pt x="128" y="43"/>
                      <a:pt x="112" y="42"/>
                    </a:cubicBezTo>
                    <a:cubicBezTo>
                      <a:pt x="97" y="41"/>
                      <a:pt x="73" y="28"/>
                      <a:pt x="52" y="26"/>
                    </a:cubicBezTo>
                    <a:cubicBezTo>
                      <a:pt x="31" y="24"/>
                      <a:pt x="8" y="28"/>
                      <a:pt x="6" y="25"/>
                    </a:cubicBezTo>
                    <a:cubicBezTo>
                      <a:pt x="6" y="25"/>
                      <a:pt x="5" y="25"/>
                      <a:pt x="4" y="23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0" y="33"/>
                      <a:pt x="6" y="37"/>
                      <a:pt x="6" y="37"/>
                    </a:cubicBezTo>
                    <a:cubicBezTo>
                      <a:pt x="8" y="40"/>
                      <a:pt x="31" y="36"/>
                      <a:pt x="52" y="38"/>
                    </a:cubicBezTo>
                    <a:cubicBezTo>
                      <a:pt x="73" y="40"/>
                      <a:pt x="97" y="53"/>
                      <a:pt x="112" y="54"/>
                    </a:cubicBezTo>
                    <a:cubicBezTo>
                      <a:pt x="128" y="55"/>
                      <a:pt x="130" y="51"/>
                      <a:pt x="148" y="43"/>
                    </a:cubicBezTo>
                    <a:cubicBezTo>
                      <a:pt x="166" y="36"/>
                      <a:pt x="186" y="28"/>
                      <a:pt x="222" y="24"/>
                    </a:cubicBezTo>
                    <a:cubicBezTo>
                      <a:pt x="257" y="21"/>
                      <a:pt x="288" y="18"/>
                      <a:pt x="298" y="13"/>
                    </a:cubicBezTo>
                    <a:cubicBezTo>
                      <a:pt x="304" y="10"/>
                      <a:pt x="304" y="5"/>
                      <a:pt x="299" y="0"/>
                    </a:cubicBezTo>
                    <a:cubicBezTo>
                      <a:pt x="299" y="0"/>
                      <a:pt x="299" y="1"/>
                      <a:pt x="298" y="1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5">
                <a:extLst>
                  <a:ext uri="{FF2B5EF4-FFF2-40B4-BE49-F238E27FC236}">
                    <a16:creationId xmlns:a16="http://schemas.microsoft.com/office/drawing/2014/main" id="{A1E02204-1373-4DA2-801E-81F692A4E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7975" y="4022725"/>
                <a:ext cx="695325" cy="1762125"/>
              </a:xfrm>
              <a:custGeom>
                <a:avLst/>
                <a:gdLst>
                  <a:gd name="T0" fmla="*/ 274 w 284"/>
                  <a:gd name="T1" fmla="*/ 695 h 720"/>
                  <a:gd name="T2" fmla="*/ 48 w 284"/>
                  <a:gd name="T3" fmla="*/ 43 h 720"/>
                  <a:gd name="T4" fmla="*/ 203 w 284"/>
                  <a:gd name="T5" fmla="*/ 43 h 720"/>
                  <a:gd name="T6" fmla="*/ 203 w 284"/>
                  <a:gd name="T7" fmla="*/ 44 h 720"/>
                  <a:gd name="T8" fmla="*/ 240 w 284"/>
                  <a:gd name="T9" fmla="*/ 81 h 720"/>
                  <a:gd name="T10" fmla="*/ 203 w 284"/>
                  <a:gd name="T11" fmla="*/ 118 h 720"/>
                  <a:gd name="T12" fmla="*/ 203 w 284"/>
                  <a:gd name="T13" fmla="*/ 118 h 720"/>
                  <a:gd name="T14" fmla="*/ 182 w 284"/>
                  <a:gd name="T15" fmla="*/ 139 h 720"/>
                  <a:gd name="T16" fmla="*/ 203 w 284"/>
                  <a:gd name="T17" fmla="*/ 161 h 720"/>
                  <a:gd name="T18" fmla="*/ 284 w 284"/>
                  <a:gd name="T19" fmla="*/ 81 h 720"/>
                  <a:gd name="T20" fmla="*/ 203 w 284"/>
                  <a:gd name="T21" fmla="*/ 0 h 720"/>
                  <a:gd name="T22" fmla="*/ 44 w 284"/>
                  <a:gd name="T23" fmla="*/ 0 h 720"/>
                  <a:gd name="T24" fmla="*/ 15 w 284"/>
                  <a:gd name="T25" fmla="*/ 12 h 720"/>
                  <a:gd name="T26" fmla="*/ 6 w 284"/>
                  <a:gd name="T27" fmla="*/ 43 h 720"/>
                  <a:gd name="T28" fmla="*/ 236 w 284"/>
                  <a:gd name="T29" fmla="*/ 704 h 720"/>
                  <a:gd name="T30" fmla="*/ 255 w 284"/>
                  <a:gd name="T31" fmla="*/ 720 h 720"/>
                  <a:gd name="T32" fmla="*/ 275 w 284"/>
                  <a:gd name="T33" fmla="*/ 701 h 720"/>
                  <a:gd name="T34" fmla="*/ 274 w 284"/>
                  <a:gd name="T35" fmla="*/ 695 h 720"/>
                  <a:gd name="T36" fmla="*/ 274 w 284"/>
                  <a:gd name="T37" fmla="*/ 695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84" h="720">
                    <a:moveTo>
                      <a:pt x="274" y="695"/>
                    </a:moveTo>
                    <a:cubicBezTo>
                      <a:pt x="48" y="43"/>
                      <a:pt x="48" y="43"/>
                      <a:pt x="48" y="43"/>
                    </a:cubicBezTo>
                    <a:cubicBezTo>
                      <a:pt x="203" y="43"/>
                      <a:pt x="203" y="43"/>
                      <a:pt x="203" y="43"/>
                    </a:cubicBezTo>
                    <a:cubicBezTo>
                      <a:pt x="203" y="44"/>
                      <a:pt x="203" y="44"/>
                      <a:pt x="203" y="44"/>
                    </a:cubicBezTo>
                    <a:cubicBezTo>
                      <a:pt x="224" y="44"/>
                      <a:pt x="240" y="60"/>
                      <a:pt x="240" y="81"/>
                    </a:cubicBezTo>
                    <a:cubicBezTo>
                      <a:pt x="240" y="101"/>
                      <a:pt x="224" y="118"/>
                      <a:pt x="203" y="118"/>
                    </a:cubicBezTo>
                    <a:cubicBezTo>
                      <a:pt x="203" y="118"/>
                      <a:pt x="203" y="118"/>
                      <a:pt x="203" y="118"/>
                    </a:cubicBezTo>
                    <a:cubicBezTo>
                      <a:pt x="191" y="118"/>
                      <a:pt x="182" y="127"/>
                      <a:pt x="182" y="139"/>
                    </a:cubicBezTo>
                    <a:cubicBezTo>
                      <a:pt x="182" y="151"/>
                      <a:pt x="191" y="161"/>
                      <a:pt x="203" y="161"/>
                    </a:cubicBezTo>
                    <a:cubicBezTo>
                      <a:pt x="248" y="161"/>
                      <a:pt x="284" y="125"/>
                      <a:pt x="284" y="81"/>
                    </a:cubicBezTo>
                    <a:cubicBezTo>
                      <a:pt x="284" y="36"/>
                      <a:pt x="248" y="0"/>
                      <a:pt x="203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25" y="0"/>
                      <a:pt x="15" y="12"/>
                    </a:cubicBezTo>
                    <a:cubicBezTo>
                      <a:pt x="0" y="27"/>
                      <a:pt x="6" y="43"/>
                      <a:pt x="6" y="43"/>
                    </a:cubicBezTo>
                    <a:cubicBezTo>
                      <a:pt x="236" y="704"/>
                      <a:pt x="236" y="704"/>
                      <a:pt x="236" y="704"/>
                    </a:cubicBezTo>
                    <a:cubicBezTo>
                      <a:pt x="238" y="713"/>
                      <a:pt x="245" y="720"/>
                      <a:pt x="255" y="720"/>
                    </a:cubicBezTo>
                    <a:cubicBezTo>
                      <a:pt x="266" y="720"/>
                      <a:pt x="275" y="711"/>
                      <a:pt x="275" y="701"/>
                    </a:cubicBezTo>
                    <a:cubicBezTo>
                      <a:pt x="275" y="699"/>
                      <a:pt x="274" y="697"/>
                      <a:pt x="274" y="695"/>
                    </a:cubicBezTo>
                    <a:cubicBezTo>
                      <a:pt x="274" y="695"/>
                      <a:pt x="274" y="695"/>
                      <a:pt x="274" y="695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6">
                <a:extLst>
                  <a:ext uri="{FF2B5EF4-FFF2-40B4-BE49-F238E27FC236}">
                    <a16:creationId xmlns:a16="http://schemas.microsoft.com/office/drawing/2014/main" id="{3B81104B-700D-48C8-AABF-0791DF96A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6425" y="4022725"/>
                <a:ext cx="396875" cy="395287"/>
              </a:xfrm>
              <a:custGeom>
                <a:avLst/>
                <a:gdLst>
                  <a:gd name="T0" fmla="*/ 162 w 162"/>
                  <a:gd name="T1" fmla="*/ 81 h 161"/>
                  <a:gd name="T2" fmla="*/ 81 w 162"/>
                  <a:gd name="T3" fmla="*/ 0 h 161"/>
                  <a:gd name="T4" fmla="*/ 22 w 162"/>
                  <a:gd name="T5" fmla="*/ 0 h 161"/>
                  <a:gd name="T6" fmla="*/ 22 w 162"/>
                  <a:gd name="T7" fmla="*/ 43 h 161"/>
                  <a:gd name="T8" fmla="*/ 81 w 162"/>
                  <a:gd name="T9" fmla="*/ 43 h 161"/>
                  <a:gd name="T10" fmla="*/ 81 w 162"/>
                  <a:gd name="T11" fmla="*/ 44 h 161"/>
                  <a:gd name="T12" fmla="*/ 118 w 162"/>
                  <a:gd name="T13" fmla="*/ 81 h 161"/>
                  <a:gd name="T14" fmla="*/ 86 w 162"/>
                  <a:gd name="T15" fmla="*/ 117 h 161"/>
                  <a:gd name="T16" fmla="*/ 22 w 162"/>
                  <a:gd name="T17" fmla="*/ 117 h 161"/>
                  <a:gd name="T18" fmla="*/ 0 w 162"/>
                  <a:gd name="T19" fmla="*/ 139 h 161"/>
                  <a:gd name="T20" fmla="*/ 22 w 162"/>
                  <a:gd name="T21" fmla="*/ 161 h 161"/>
                  <a:gd name="T22" fmla="*/ 87 w 162"/>
                  <a:gd name="T23" fmla="*/ 161 h 161"/>
                  <a:gd name="T24" fmla="*/ 87 w 162"/>
                  <a:gd name="T25" fmla="*/ 160 h 161"/>
                  <a:gd name="T26" fmla="*/ 162 w 162"/>
                  <a:gd name="T27" fmla="*/ 8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2" h="161">
                    <a:moveTo>
                      <a:pt x="162" y="81"/>
                    </a:moveTo>
                    <a:cubicBezTo>
                      <a:pt x="162" y="36"/>
                      <a:pt x="126" y="0"/>
                      <a:pt x="81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43"/>
                      <a:pt x="22" y="43"/>
                      <a:pt x="22" y="43"/>
                    </a:cubicBezTo>
                    <a:cubicBezTo>
                      <a:pt x="81" y="43"/>
                      <a:pt x="81" y="43"/>
                      <a:pt x="81" y="43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102" y="44"/>
                      <a:pt x="118" y="60"/>
                      <a:pt x="118" y="81"/>
                    </a:cubicBezTo>
                    <a:cubicBezTo>
                      <a:pt x="118" y="99"/>
                      <a:pt x="104" y="115"/>
                      <a:pt x="86" y="117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10" y="117"/>
                      <a:pt x="0" y="127"/>
                      <a:pt x="0" y="139"/>
                    </a:cubicBezTo>
                    <a:cubicBezTo>
                      <a:pt x="0" y="151"/>
                      <a:pt x="10" y="161"/>
                      <a:pt x="22" y="161"/>
                    </a:cubicBezTo>
                    <a:cubicBezTo>
                      <a:pt x="87" y="161"/>
                      <a:pt x="87" y="161"/>
                      <a:pt x="87" y="161"/>
                    </a:cubicBezTo>
                    <a:cubicBezTo>
                      <a:pt x="87" y="160"/>
                      <a:pt x="87" y="160"/>
                      <a:pt x="87" y="160"/>
                    </a:cubicBezTo>
                    <a:cubicBezTo>
                      <a:pt x="128" y="158"/>
                      <a:pt x="162" y="123"/>
                      <a:pt x="162" y="81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7">
                <a:extLst>
                  <a:ext uri="{FF2B5EF4-FFF2-40B4-BE49-F238E27FC236}">
                    <a16:creationId xmlns:a16="http://schemas.microsoft.com/office/drawing/2014/main" id="{88CAFB05-18C8-4FB6-B2F6-7443F68DA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7975" y="4022725"/>
                <a:ext cx="352425" cy="433387"/>
              </a:xfrm>
              <a:custGeom>
                <a:avLst/>
                <a:gdLst>
                  <a:gd name="T0" fmla="*/ 144 w 144"/>
                  <a:gd name="T1" fmla="*/ 43 h 177"/>
                  <a:gd name="T2" fmla="*/ 144 w 144"/>
                  <a:gd name="T3" fmla="*/ 0 h 177"/>
                  <a:gd name="T4" fmla="*/ 44 w 144"/>
                  <a:gd name="T5" fmla="*/ 0 h 177"/>
                  <a:gd name="T6" fmla="*/ 15 w 144"/>
                  <a:gd name="T7" fmla="*/ 12 h 177"/>
                  <a:gd name="T8" fmla="*/ 6 w 144"/>
                  <a:gd name="T9" fmla="*/ 43 h 177"/>
                  <a:gd name="T10" fmla="*/ 52 w 144"/>
                  <a:gd name="T11" fmla="*/ 177 h 177"/>
                  <a:gd name="T12" fmla="*/ 94 w 144"/>
                  <a:gd name="T13" fmla="*/ 177 h 177"/>
                  <a:gd name="T14" fmla="*/ 48 w 144"/>
                  <a:gd name="T15" fmla="*/ 43 h 177"/>
                  <a:gd name="T16" fmla="*/ 144 w 144"/>
                  <a:gd name="T17" fmla="*/ 43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" h="177">
                    <a:moveTo>
                      <a:pt x="144" y="43"/>
                    </a:moveTo>
                    <a:cubicBezTo>
                      <a:pt x="144" y="0"/>
                      <a:pt x="144" y="0"/>
                      <a:pt x="14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25" y="0"/>
                      <a:pt x="15" y="12"/>
                    </a:cubicBezTo>
                    <a:cubicBezTo>
                      <a:pt x="0" y="27"/>
                      <a:pt x="6" y="43"/>
                      <a:pt x="6" y="43"/>
                    </a:cubicBezTo>
                    <a:cubicBezTo>
                      <a:pt x="52" y="177"/>
                      <a:pt x="52" y="177"/>
                      <a:pt x="52" y="177"/>
                    </a:cubicBezTo>
                    <a:cubicBezTo>
                      <a:pt x="94" y="177"/>
                      <a:pt x="94" y="177"/>
                      <a:pt x="94" y="177"/>
                    </a:cubicBezTo>
                    <a:cubicBezTo>
                      <a:pt x="48" y="43"/>
                      <a:pt x="48" y="43"/>
                      <a:pt x="48" y="43"/>
                    </a:cubicBezTo>
                    <a:cubicBezTo>
                      <a:pt x="144" y="43"/>
                      <a:pt x="144" y="43"/>
                      <a:pt x="144" y="43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8">
                <a:extLst>
                  <a:ext uri="{FF2B5EF4-FFF2-40B4-BE49-F238E27FC236}">
                    <a16:creationId xmlns:a16="http://schemas.microsoft.com/office/drawing/2014/main" id="{3878EFF8-3C94-497E-8DA7-7208C281F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7100" y="4818063"/>
                <a:ext cx="9525" cy="1836737"/>
              </a:xfrm>
              <a:custGeom>
                <a:avLst/>
                <a:gdLst>
                  <a:gd name="T0" fmla="*/ 0 w 6"/>
                  <a:gd name="T1" fmla="*/ 1157 h 1157"/>
                  <a:gd name="T2" fmla="*/ 6 w 6"/>
                  <a:gd name="T3" fmla="*/ 1157 h 1157"/>
                  <a:gd name="T4" fmla="*/ 6 w 6"/>
                  <a:gd name="T5" fmla="*/ 0 h 1157"/>
                  <a:gd name="T6" fmla="*/ 0 w 6"/>
                  <a:gd name="T7" fmla="*/ 0 h 1157"/>
                  <a:gd name="T8" fmla="*/ 0 w 6"/>
                  <a:gd name="T9" fmla="*/ 1157 h 1157"/>
                  <a:gd name="T10" fmla="*/ 0 w 6"/>
                  <a:gd name="T11" fmla="*/ 1157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157">
                    <a:moveTo>
                      <a:pt x="0" y="1157"/>
                    </a:moveTo>
                    <a:lnTo>
                      <a:pt x="6" y="1157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1157"/>
                    </a:lnTo>
                    <a:lnTo>
                      <a:pt x="0" y="1157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9">
                <a:extLst>
                  <a:ext uri="{FF2B5EF4-FFF2-40B4-BE49-F238E27FC236}">
                    <a16:creationId xmlns:a16="http://schemas.microsoft.com/office/drawing/2014/main" id="{5657425C-E249-4365-9F99-F7F28B727A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400" y="5084763"/>
                <a:ext cx="1306513" cy="1306512"/>
              </a:xfrm>
              <a:custGeom>
                <a:avLst/>
                <a:gdLst>
                  <a:gd name="T0" fmla="*/ 4 w 823"/>
                  <a:gd name="T1" fmla="*/ 823 h 823"/>
                  <a:gd name="T2" fmla="*/ 823 w 823"/>
                  <a:gd name="T3" fmla="*/ 5 h 823"/>
                  <a:gd name="T4" fmla="*/ 818 w 823"/>
                  <a:gd name="T5" fmla="*/ 0 h 823"/>
                  <a:gd name="T6" fmla="*/ 0 w 823"/>
                  <a:gd name="T7" fmla="*/ 818 h 823"/>
                  <a:gd name="T8" fmla="*/ 4 w 823"/>
                  <a:gd name="T9" fmla="*/ 823 h 823"/>
                  <a:gd name="T10" fmla="*/ 4 w 823"/>
                  <a:gd name="T11" fmla="*/ 823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3" h="823">
                    <a:moveTo>
                      <a:pt x="4" y="823"/>
                    </a:moveTo>
                    <a:lnTo>
                      <a:pt x="823" y="5"/>
                    </a:lnTo>
                    <a:lnTo>
                      <a:pt x="818" y="0"/>
                    </a:lnTo>
                    <a:lnTo>
                      <a:pt x="0" y="818"/>
                    </a:lnTo>
                    <a:lnTo>
                      <a:pt x="4" y="823"/>
                    </a:lnTo>
                    <a:lnTo>
                      <a:pt x="4" y="82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0">
                <a:extLst>
                  <a:ext uri="{FF2B5EF4-FFF2-40B4-BE49-F238E27FC236}">
                    <a16:creationId xmlns:a16="http://schemas.microsoft.com/office/drawing/2014/main" id="{FDF721D3-8F37-4279-8880-788661A9E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4288" y="5730875"/>
                <a:ext cx="1836738" cy="12700"/>
              </a:xfrm>
              <a:custGeom>
                <a:avLst/>
                <a:gdLst>
                  <a:gd name="T0" fmla="*/ 0 w 1157"/>
                  <a:gd name="T1" fmla="*/ 8 h 8"/>
                  <a:gd name="T2" fmla="*/ 1157 w 1157"/>
                  <a:gd name="T3" fmla="*/ 8 h 8"/>
                  <a:gd name="T4" fmla="*/ 1157 w 1157"/>
                  <a:gd name="T5" fmla="*/ 0 h 8"/>
                  <a:gd name="T6" fmla="*/ 0 w 1157"/>
                  <a:gd name="T7" fmla="*/ 0 h 8"/>
                  <a:gd name="T8" fmla="*/ 0 w 1157"/>
                  <a:gd name="T9" fmla="*/ 8 h 8"/>
                  <a:gd name="T10" fmla="*/ 0 w 1157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7" h="8">
                    <a:moveTo>
                      <a:pt x="0" y="8"/>
                    </a:moveTo>
                    <a:lnTo>
                      <a:pt x="1157" y="8"/>
                    </a:lnTo>
                    <a:lnTo>
                      <a:pt x="1157" y="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id="{5E0F1844-3343-4F05-92EE-F47E20558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400" y="5084763"/>
                <a:ext cx="1306513" cy="1306512"/>
              </a:xfrm>
              <a:custGeom>
                <a:avLst/>
                <a:gdLst>
                  <a:gd name="T0" fmla="*/ 818 w 823"/>
                  <a:gd name="T1" fmla="*/ 823 h 823"/>
                  <a:gd name="T2" fmla="*/ 823 w 823"/>
                  <a:gd name="T3" fmla="*/ 818 h 823"/>
                  <a:gd name="T4" fmla="*/ 4 w 823"/>
                  <a:gd name="T5" fmla="*/ 0 h 823"/>
                  <a:gd name="T6" fmla="*/ 0 w 823"/>
                  <a:gd name="T7" fmla="*/ 5 h 823"/>
                  <a:gd name="T8" fmla="*/ 818 w 823"/>
                  <a:gd name="T9" fmla="*/ 823 h 823"/>
                  <a:gd name="T10" fmla="*/ 818 w 823"/>
                  <a:gd name="T11" fmla="*/ 823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3" h="823">
                    <a:moveTo>
                      <a:pt x="818" y="823"/>
                    </a:moveTo>
                    <a:lnTo>
                      <a:pt x="823" y="818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818" y="823"/>
                    </a:lnTo>
                    <a:lnTo>
                      <a:pt x="818" y="82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2">
                <a:extLst>
                  <a:ext uri="{FF2B5EF4-FFF2-40B4-BE49-F238E27FC236}">
                    <a16:creationId xmlns:a16="http://schemas.microsoft.com/office/drawing/2014/main" id="{700D01A0-F874-4973-BF09-7879DC5D4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3088" y="4889500"/>
                <a:ext cx="719138" cy="1697037"/>
              </a:xfrm>
              <a:custGeom>
                <a:avLst/>
                <a:gdLst>
                  <a:gd name="T0" fmla="*/ 446 w 453"/>
                  <a:gd name="T1" fmla="*/ 1069 h 1069"/>
                  <a:gd name="T2" fmla="*/ 453 w 453"/>
                  <a:gd name="T3" fmla="*/ 1066 h 1069"/>
                  <a:gd name="T4" fmla="*/ 6 w 453"/>
                  <a:gd name="T5" fmla="*/ 0 h 1069"/>
                  <a:gd name="T6" fmla="*/ 0 w 453"/>
                  <a:gd name="T7" fmla="*/ 1 h 1069"/>
                  <a:gd name="T8" fmla="*/ 446 w 453"/>
                  <a:gd name="T9" fmla="*/ 1069 h 1069"/>
                  <a:gd name="T10" fmla="*/ 446 w 453"/>
                  <a:gd name="T11" fmla="*/ 1069 h 10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3" h="1069">
                    <a:moveTo>
                      <a:pt x="446" y="1069"/>
                    </a:moveTo>
                    <a:lnTo>
                      <a:pt x="453" y="1066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446" y="1069"/>
                    </a:lnTo>
                    <a:lnTo>
                      <a:pt x="446" y="1069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3">
                <a:extLst>
                  <a:ext uri="{FF2B5EF4-FFF2-40B4-BE49-F238E27FC236}">
                    <a16:creationId xmlns:a16="http://schemas.microsoft.com/office/drawing/2014/main" id="{C49A675A-189D-46E3-9385-6B016F904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9438" y="4884738"/>
                <a:ext cx="704850" cy="1704975"/>
              </a:xfrm>
              <a:custGeom>
                <a:avLst/>
                <a:gdLst>
                  <a:gd name="T0" fmla="*/ 6 w 444"/>
                  <a:gd name="T1" fmla="*/ 1074 h 1074"/>
                  <a:gd name="T2" fmla="*/ 444 w 444"/>
                  <a:gd name="T3" fmla="*/ 3 h 1074"/>
                  <a:gd name="T4" fmla="*/ 438 w 444"/>
                  <a:gd name="T5" fmla="*/ 0 h 1074"/>
                  <a:gd name="T6" fmla="*/ 0 w 444"/>
                  <a:gd name="T7" fmla="*/ 1071 h 1074"/>
                  <a:gd name="T8" fmla="*/ 6 w 444"/>
                  <a:gd name="T9" fmla="*/ 1074 h 1074"/>
                  <a:gd name="T10" fmla="*/ 6 w 444"/>
                  <a:gd name="T11" fmla="*/ 107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4" h="1074">
                    <a:moveTo>
                      <a:pt x="6" y="1074"/>
                    </a:moveTo>
                    <a:lnTo>
                      <a:pt x="444" y="3"/>
                    </a:lnTo>
                    <a:lnTo>
                      <a:pt x="438" y="0"/>
                    </a:lnTo>
                    <a:lnTo>
                      <a:pt x="0" y="1071"/>
                    </a:lnTo>
                    <a:lnTo>
                      <a:pt x="6" y="1074"/>
                    </a:lnTo>
                    <a:lnTo>
                      <a:pt x="6" y="1074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4">
                <a:extLst>
                  <a:ext uri="{FF2B5EF4-FFF2-40B4-BE49-F238E27FC236}">
                    <a16:creationId xmlns:a16="http://schemas.microsoft.com/office/drawing/2014/main" id="{706AA129-7117-45F2-89C6-6ABD04835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4138" y="5376863"/>
                <a:ext cx="1697038" cy="720725"/>
              </a:xfrm>
              <a:custGeom>
                <a:avLst/>
                <a:gdLst>
                  <a:gd name="T0" fmla="*/ 3 w 1069"/>
                  <a:gd name="T1" fmla="*/ 454 h 454"/>
                  <a:gd name="T2" fmla="*/ 1069 w 1069"/>
                  <a:gd name="T3" fmla="*/ 6 h 454"/>
                  <a:gd name="T4" fmla="*/ 1067 w 1069"/>
                  <a:gd name="T5" fmla="*/ 0 h 454"/>
                  <a:gd name="T6" fmla="*/ 0 w 1069"/>
                  <a:gd name="T7" fmla="*/ 448 h 454"/>
                  <a:gd name="T8" fmla="*/ 3 w 1069"/>
                  <a:gd name="T9" fmla="*/ 454 h 454"/>
                  <a:gd name="T10" fmla="*/ 3 w 1069"/>
                  <a:gd name="T11" fmla="*/ 45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69" h="454">
                    <a:moveTo>
                      <a:pt x="3" y="454"/>
                    </a:moveTo>
                    <a:lnTo>
                      <a:pt x="1069" y="6"/>
                    </a:lnTo>
                    <a:lnTo>
                      <a:pt x="1067" y="0"/>
                    </a:lnTo>
                    <a:lnTo>
                      <a:pt x="0" y="448"/>
                    </a:lnTo>
                    <a:lnTo>
                      <a:pt x="3" y="454"/>
                    </a:lnTo>
                    <a:lnTo>
                      <a:pt x="3" y="454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5">
                <a:extLst>
                  <a:ext uri="{FF2B5EF4-FFF2-40B4-BE49-F238E27FC236}">
                    <a16:creationId xmlns:a16="http://schemas.microsoft.com/office/drawing/2014/main" id="{DEDA0D49-8130-41B0-B1B9-6FED71D41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963" y="5386388"/>
                <a:ext cx="1701800" cy="703262"/>
              </a:xfrm>
              <a:custGeom>
                <a:avLst/>
                <a:gdLst>
                  <a:gd name="T0" fmla="*/ 1071 w 1072"/>
                  <a:gd name="T1" fmla="*/ 443 h 443"/>
                  <a:gd name="T2" fmla="*/ 1072 w 1072"/>
                  <a:gd name="T3" fmla="*/ 437 h 443"/>
                  <a:gd name="T4" fmla="*/ 2 w 1072"/>
                  <a:gd name="T5" fmla="*/ 0 h 443"/>
                  <a:gd name="T6" fmla="*/ 0 w 1072"/>
                  <a:gd name="T7" fmla="*/ 6 h 443"/>
                  <a:gd name="T8" fmla="*/ 1071 w 1072"/>
                  <a:gd name="T9" fmla="*/ 443 h 443"/>
                  <a:gd name="T10" fmla="*/ 1071 w 1072"/>
                  <a:gd name="T11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2" h="443">
                    <a:moveTo>
                      <a:pt x="1071" y="443"/>
                    </a:moveTo>
                    <a:lnTo>
                      <a:pt x="1072" y="437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1071" y="443"/>
                    </a:lnTo>
                    <a:lnTo>
                      <a:pt x="1071" y="44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6">
                <a:extLst>
                  <a:ext uri="{FF2B5EF4-FFF2-40B4-BE49-F238E27FC236}">
                    <a16:creationId xmlns:a16="http://schemas.microsoft.com/office/drawing/2014/main" id="{9BFB9C1F-459E-47FB-92BF-90368AD10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57938" y="4811713"/>
                <a:ext cx="1851025" cy="1851025"/>
              </a:xfrm>
              <a:custGeom>
                <a:avLst/>
                <a:gdLst>
                  <a:gd name="T0" fmla="*/ 64 w 757"/>
                  <a:gd name="T1" fmla="*/ 379 h 757"/>
                  <a:gd name="T2" fmla="*/ 378 w 757"/>
                  <a:gd name="T3" fmla="*/ 693 h 757"/>
                  <a:gd name="T4" fmla="*/ 692 w 757"/>
                  <a:gd name="T5" fmla="*/ 379 h 757"/>
                  <a:gd name="T6" fmla="*/ 378 w 757"/>
                  <a:gd name="T7" fmla="*/ 65 h 757"/>
                  <a:gd name="T8" fmla="*/ 64 w 757"/>
                  <a:gd name="T9" fmla="*/ 379 h 757"/>
                  <a:gd name="T10" fmla="*/ 0 w 757"/>
                  <a:gd name="T11" fmla="*/ 379 h 757"/>
                  <a:gd name="T12" fmla="*/ 378 w 757"/>
                  <a:gd name="T13" fmla="*/ 0 h 757"/>
                  <a:gd name="T14" fmla="*/ 757 w 757"/>
                  <a:gd name="T15" fmla="*/ 379 h 757"/>
                  <a:gd name="T16" fmla="*/ 378 w 757"/>
                  <a:gd name="T17" fmla="*/ 757 h 757"/>
                  <a:gd name="T18" fmla="*/ 0 w 757"/>
                  <a:gd name="T19" fmla="*/ 379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7" h="757">
                    <a:moveTo>
                      <a:pt x="64" y="379"/>
                    </a:moveTo>
                    <a:cubicBezTo>
                      <a:pt x="64" y="552"/>
                      <a:pt x="205" y="693"/>
                      <a:pt x="378" y="693"/>
                    </a:cubicBezTo>
                    <a:cubicBezTo>
                      <a:pt x="551" y="693"/>
                      <a:pt x="692" y="552"/>
                      <a:pt x="692" y="379"/>
                    </a:cubicBezTo>
                    <a:cubicBezTo>
                      <a:pt x="692" y="206"/>
                      <a:pt x="551" y="65"/>
                      <a:pt x="378" y="65"/>
                    </a:cubicBezTo>
                    <a:cubicBezTo>
                      <a:pt x="205" y="65"/>
                      <a:pt x="64" y="206"/>
                      <a:pt x="64" y="379"/>
                    </a:cubicBezTo>
                    <a:close/>
                    <a:moveTo>
                      <a:pt x="0" y="379"/>
                    </a:moveTo>
                    <a:cubicBezTo>
                      <a:pt x="0" y="170"/>
                      <a:pt x="169" y="0"/>
                      <a:pt x="378" y="0"/>
                    </a:cubicBezTo>
                    <a:cubicBezTo>
                      <a:pt x="587" y="0"/>
                      <a:pt x="757" y="170"/>
                      <a:pt x="757" y="379"/>
                    </a:cubicBezTo>
                    <a:cubicBezTo>
                      <a:pt x="757" y="587"/>
                      <a:pt x="587" y="757"/>
                      <a:pt x="378" y="757"/>
                    </a:cubicBezTo>
                    <a:cubicBezTo>
                      <a:pt x="169" y="757"/>
                      <a:pt x="0" y="587"/>
                      <a:pt x="0" y="379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Oval 27">
                <a:extLst>
                  <a:ext uri="{FF2B5EF4-FFF2-40B4-BE49-F238E27FC236}">
                    <a16:creationId xmlns:a16="http://schemas.microsoft.com/office/drawing/2014/main" id="{475D6C64-6DB1-4DD0-8D0B-07CDCD06F5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1850" y="5637213"/>
                <a:ext cx="200025" cy="198437"/>
              </a:xfrm>
              <a:prstGeom prst="ellipse">
                <a:avLst/>
              </a:pr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8">
                <a:extLst>
                  <a:ext uri="{FF2B5EF4-FFF2-40B4-BE49-F238E27FC236}">
                    <a16:creationId xmlns:a16="http://schemas.microsoft.com/office/drawing/2014/main" id="{33FDC436-5BB1-4162-8117-E04752D3AA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0788" y="4754563"/>
                <a:ext cx="1965325" cy="1963737"/>
              </a:xfrm>
              <a:custGeom>
                <a:avLst/>
                <a:gdLst>
                  <a:gd name="T0" fmla="*/ 30 w 803"/>
                  <a:gd name="T1" fmla="*/ 402 h 803"/>
                  <a:gd name="T2" fmla="*/ 401 w 803"/>
                  <a:gd name="T3" fmla="*/ 772 h 803"/>
                  <a:gd name="T4" fmla="*/ 772 w 803"/>
                  <a:gd name="T5" fmla="*/ 402 h 803"/>
                  <a:gd name="T6" fmla="*/ 401 w 803"/>
                  <a:gd name="T7" fmla="*/ 31 h 803"/>
                  <a:gd name="T8" fmla="*/ 30 w 803"/>
                  <a:gd name="T9" fmla="*/ 402 h 803"/>
                  <a:gd name="T10" fmla="*/ 0 w 803"/>
                  <a:gd name="T11" fmla="*/ 402 h 803"/>
                  <a:gd name="T12" fmla="*/ 401 w 803"/>
                  <a:gd name="T13" fmla="*/ 0 h 803"/>
                  <a:gd name="T14" fmla="*/ 803 w 803"/>
                  <a:gd name="T15" fmla="*/ 402 h 803"/>
                  <a:gd name="T16" fmla="*/ 401 w 803"/>
                  <a:gd name="T17" fmla="*/ 803 h 803"/>
                  <a:gd name="T18" fmla="*/ 0 w 803"/>
                  <a:gd name="T19" fmla="*/ 402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3" h="803">
                    <a:moveTo>
                      <a:pt x="30" y="402"/>
                    </a:moveTo>
                    <a:cubicBezTo>
                      <a:pt x="30" y="606"/>
                      <a:pt x="197" y="772"/>
                      <a:pt x="401" y="772"/>
                    </a:cubicBezTo>
                    <a:cubicBezTo>
                      <a:pt x="606" y="772"/>
                      <a:pt x="772" y="606"/>
                      <a:pt x="772" y="402"/>
                    </a:cubicBezTo>
                    <a:cubicBezTo>
                      <a:pt x="772" y="197"/>
                      <a:pt x="606" y="31"/>
                      <a:pt x="401" y="31"/>
                    </a:cubicBezTo>
                    <a:cubicBezTo>
                      <a:pt x="197" y="31"/>
                      <a:pt x="30" y="197"/>
                      <a:pt x="30" y="402"/>
                    </a:cubicBezTo>
                    <a:close/>
                    <a:moveTo>
                      <a:pt x="0" y="402"/>
                    </a:moveTo>
                    <a:cubicBezTo>
                      <a:pt x="0" y="180"/>
                      <a:pt x="180" y="0"/>
                      <a:pt x="401" y="0"/>
                    </a:cubicBezTo>
                    <a:cubicBezTo>
                      <a:pt x="623" y="0"/>
                      <a:pt x="803" y="180"/>
                      <a:pt x="803" y="402"/>
                    </a:cubicBezTo>
                    <a:cubicBezTo>
                      <a:pt x="803" y="623"/>
                      <a:pt x="623" y="803"/>
                      <a:pt x="401" y="803"/>
                    </a:cubicBezTo>
                    <a:cubicBezTo>
                      <a:pt x="180" y="803"/>
                      <a:pt x="0" y="623"/>
                      <a:pt x="0" y="402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9">
                <a:extLst>
                  <a:ext uri="{FF2B5EF4-FFF2-40B4-BE49-F238E27FC236}">
                    <a16:creationId xmlns:a16="http://schemas.microsoft.com/office/drawing/2014/main" id="{458ED04C-AA93-4B3A-8A2E-4B441C9BF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0525" y="4818063"/>
                <a:ext cx="9525" cy="1836737"/>
              </a:xfrm>
              <a:custGeom>
                <a:avLst/>
                <a:gdLst>
                  <a:gd name="T0" fmla="*/ 0 w 6"/>
                  <a:gd name="T1" fmla="*/ 1157 h 1157"/>
                  <a:gd name="T2" fmla="*/ 6 w 6"/>
                  <a:gd name="T3" fmla="*/ 1157 h 1157"/>
                  <a:gd name="T4" fmla="*/ 6 w 6"/>
                  <a:gd name="T5" fmla="*/ 0 h 1157"/>
                  <a:gd name="T6" fmla="*/ 0 w 6"/>
                  <a:gd name="T7" fmla="*/ 0 h 1157"/>
                  <a:gd name="T8" fmla="*/ 0 w 6"/>
                  <a:gd name="T9" fmla="*/ 1157 h 1157"/>
                  <a:gd name="T10" fmla="*/ 0 w 6"/>
                  <a:gd name="T11" fmla="*/ 1157 h 1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157">
                    <a:moveTo>
                      <a:pt x="0" y="1157"/>
                    </a:moveTo>
                    <a:lnTo>
                      <a:pt x="6" y="1157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1157"/>
                    </a:lnTo>
                    <a:lnTo>
                      <a:pt x="0" y="1157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0">
                <a:extLst>
                  <a:ext uri="{FF2B5EF4-FFF2-40B4-BE49-F238E27FC236}">
                    <a16:creationId xmlns:a16="http://schemas.microsoft.com/office/drawing/2014/main" id="{A8B99683-1F01-44BC-95E6-4DF6CEAE8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825" y="5084763"/>
                <a:ext cx="1304925" cy="1306512"/>
              </a:xfrm>
              <a:custGeom>
                <a:avLst/>
                <a:gdLst>
                  <a:gd name="T0" fmla="*/ 4 w 822"/>
                  <a:gd name="T1" fmla="*/ 823 h 823"/>
                  <a:gd name="T2" fmla="*/ 822 w 822"/>
                  <a:gd name="T3" fmla="*/ 5 h 823"/>
                  <a:gd name="T4" fmla="*/ 818 w 822"/>
                  <a:gd name="T5" fmla="*/ 0 h 823"/>
                  <a:gd name="T6" fmla="*/ 0 w 822"/>
                  <a:gd name="T7" fmla="*/ 818 h 823"/>
                  <a:gd name="T8" fmla="*/ 4 w 822"/>
                  <a:gd name="T9" fmla="*/ 823 h 823"/>
                  <a:gd name="T10" fmla="*/ 4 w 822"/>
                  <a:gd name="T11" fmla="*/ 823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2" h="823">
                    <a:moveTo>
                      <a:pt x="4" y="823"/>
                    </a:moveTo>
                    <a:lnTo>
                      <a:pt x="822" y="5"/>
                    </a:lnTo>
                    <a:lnTo>
                      <a:pt x="818" y="0"/>
                    </a:lnTo>
                    <a:lnTo>
                      <a:pt x="0" y="818"/>
                    </a:lnTo>
                    <a:lnTo>
                      <a:pt x="4" y="823"/>
                    </a:lnTo>
                    <a:lnTo>
                      <a:pt x="4" y="82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1">
                <a:extLst>
                  <a:ext uri="{FF2B5EF4-FFF2-40B4-BE49-F238E27FC236}">
                    <a16:creationId xmlns:a16="http://schemas.microsoft.com/office/drawing/2014/main" id="{51986061-8B5E-45FC-974E-BD9C794C7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6125" y="5730875"/>
                <a:ext cx="1836738" cy="12700"/>
              </a:xfrm>
              <a:custGeom>
                <a:avLst/>
                <a:gdLst>
                  <a:gd name="T0" fmla="*/ 0 w 1157"/>
                  <a:gd name="T1" fmla="*/ 8 h 8"/>
                  <a:gd name="T2" fmla="*/ 1157 w 1157"/>
                  <a:gd name="T3" fmla="*/ 8 h 8"/>
                  <a:gd name="T4" fmla="*/ 1157 w 1157"/>
                  <a:gd name="T5" fmla="*/ 0 h 8"/>
                  <a:gd name="T6" fmla="*/ 0 w 1157"/>
                  <a:gd name="T7" fmla="*/ 0 h 8"/>
                  <a:gd name="T8" fmla="*/ 0 w 1157"/>
                  <a:gd name="T9" fmla="*/ 8 h 8"/>
                  <a:gd name="T10" fmla="*/ 0 w 1157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7" h="8">
                    <a:moveTo>
                      <a:pt x="0" y="8"/>
                    </a:moveTo>
                    <a:lnTo>
                      <a:pt x="1157" y="8"/>
                    </a:lnTo>
                    <a:lnTo>
                      <a:pt x="1157" y="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2">
                <a:extLst>
                  <a:ext uri="{FF2B5EF4-FFF2-40B4-BE49-F238E27FC236}">
                    <a16:creationId xmlns:a16="http://schemas.microsoft.com/office/drawing/2014/main" id="{1DE26E8E-2775-4843-AE55-2B1060104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825" y="5084763"/>
                <a:ext cx="1304925" cy="1306512"/>
              </a:xfrm>
              <a:custGeom>
                <a:avLst/>
                <a:gdLst>
                  <a:gd name="T0" fmla="*/ 818 w 822"/>
                  <a:gd name="T1" fmla="*/ 823 h 823"/>
                  <a:gd name="T2" fmla="*/ 822 w 822"/>
                  <a:gd name="T3" fmla="*/ 818 h 823"/>
                  <a:gd name="T4" fmla="*/ 4 w 822"/>
                  <a:gd name="T5" fmla="*/ 0 h 823"/>
                  <a:gd name="T6" fmla="*/ 0 w 822"/>
                  <a:gd name="T7" fmla="*/ 5 h 823"/>
                  <a:gd name="T8" fmla="*/ 818 w 822"/>
                  <a:gd name="T9" fmla="*/ 823 h 823"/>
                  <a:gd name="T10" fmla="*/ 818 w 822"/>
                  <a:gd name="T11" fmla="*/ 823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2" h="823">
                    <a:moveTo>
                      <a:pt x="818" y="823"/>
                    </a:moveTo>
                    <a:lnTo>
                      <a:pt x="822" y="818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818" y="823"/>
                    </a:lnTo>
                    <a:lnTo>
                      <a:pt x="818" y="82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3">
                <a:extLst>
                  <a:ext uri="{FF2B5EF4-FFF2-40B4-BE49-F238E27FC236}">
                    <a16:creationId xmlns:a16="http://schemas.microsoft.com/office/drawing/2014/main" id="{55B2F3CE-8432-4112-9AFA-8EF106EF3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338" y="4889500"/>
                <a:ext cx="720725" cy="1697037"/>
              </a:xfrm>
              <a:custGeom>
                <a:avLst/>
                <a:gdLst>
                  <a:gd name="T0" fmla="*/ 448 w 454"/>
                  <a:gd name="T1" fmla="*/ 1069 h 1069"/>
                  <a:gd name="T2" fmla="*/ 454 w 454"/>
                  <a:gd name="T3" fmla="*/ 1066 h 1069"/>
                  <a:gd name="T4" fmla="*/ 6 w 454"/>
                  <a:gd name="T5" fmla="*/ 0 h 1069"/>
                  <a:gd name="T6" fmla="*/ 0 w 454"/>
                  <a:gd name="T7" fmla="*/ 1 h 1069"/>
                  <a:gd name="T8" fmla="*/ 448 w 454"/>
                  <a:gd name="T9" fmla="*/ 1069 h 1069"/>
                  <a:gd name="T10" fmla="*/ 448 w 454"/>
                  <a:gd name="T11" fmla="*/ 1069 h 10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4" h="1069">
                    <a:moveTo>
                      <a:pt x="448" y="1069"/>
                    </a:moveTo>
                    <a:lnTo>
                      <a:pt x="454" y="1066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448" y="1069"/>
                    </a:lnTo>
                    <a:lnTo>
                      <a:pt x="448" y="1069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4">
                <a:extLst>
                  <a:ext uri="{FF2B5EF4-FFF2-40B4-BE49-F238E27FC236}">
                    <a16:creationId xmlns:a16="http://schemas.microsoft.com/office/drawing/2014/main" id="{0606C279-74B1-4D50-B9E4-F559F9FA0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863" y="4884738"/>
                <a:ext cx="704850" cy="1704975"/>
              </a:xfrm>
              <a:custGeom>
                <a:avLst/>
                <a:gdLst>
                  <a:gd name="T0" fmla="*/ 6 w 444"/>
                  <a:gd name="T1" fmla="*/ 1074 h 1074"/>
                  <a:gd name="T2" fmla="*/ 444 w 444"/>
                  <a:gd name="T3" fmla="*/ 3 h 1074"/>
                  <a:gd name="T4" fmla="*/ 438 w 444"/>
                  <a:gd name="T5" fmla="*/ 0 h 1074"/>
                  <a:gd name="T6" fmla="*/ 0 w 444"/>
                  <a:gd name="T7" fmla="*/ 1071 h 1074"/>
                  <a:gd name="T8" fmla="*/ 6 w 444"/>
                  <a:gd name="T9" fmla="*/ 1074 h 1074"/>
                  <a:gd name="T10" fmla="*/ 6 w 444"/>
                  <a:gd name="T11" fmla="*/ 1074 h 10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4" h="1074">
                    <a:moveTo>
                      <a:pt x="6" y="1074"/>
                    </a:moveTo>
                    <a:lnTo>
                      <a:pt x="444" y="3"/>
                    </a:lnTo>
                    <a:lnTo>
                      <a:pt x="438" y="0"/>
                    </a:lnTo>
                    <a:lnTo>
                      <a:pt x="0" y="1071"/>
                    </a:lnTo>
                    <a:lnTo>
                      <a:pt x="6" y="1074"/>
                    </a:lnTo>
                    <a:lnTo>
                      <a:pt x="6" y="1074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5">
                <a:extLst>
                  <a:ext uri="{FF2B5EF4-FFF2-40B4-BE49-F238E27FC236}">
                    <a16:creationId xmlns:a16="http://schemas.microsoft.com/office/drawing/2014/main" id="{6B29EABE-BB06-4963-AB11-99A2AD1B4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75" y="5376863"/>
                <a:ext cx="1698625" cy="720725"/>
              </a:xfrm>
              <a:custGeom>
                <a:avLst/>
                <a:gdLst>
                  <a:gd name="T0" fmla="*/ 2 w 1070"/>
                  <a:gd name="T1" fmla="*/ 454 h 454"/>
                  <a:gd name="T2" fmla="*/ 1070 w 1070"/>
                  <a:gd name="T3" fmla="*/ 6 h 454"/>
                  <a:gd name="T4" fmla="*/ 1067 w 1070"/>
                  <a:gd name="T5" fmla="*/ 0 h 454"/>
                  <a:gd name="T6" fmla="*/ 0 w 1070"/>
                  <a:gd name="T7" fmla="*/ 448 h 454"/>
                  <a:gd name="T8" fmla="*/ 2 w 1070"/>
                  <a:gd name="T9" fmla="*/ 454 h 454"/>
                  <a:gd name="T10" fmla="*/ 2 w 1070"/>
                  <a:gd name="T11" fmla="*/ 45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0" h="454">
                    <a:moveTo>
                      <a:pt x="2" y="454"/>
                    </a:moveTo>
                    <a:lnTo>
                      <a:pt x="1070" y="6"/>
                    </a:lnTo>
                    <a:lnTo>
                      <a:pt x="1067" y="0"/>
                    </a:lnTo>
                    <a:lnTo>
                      <a:pt x="0" y="448"/>
                    </a:lnTo>
                    <a:lnTo>
                      <a:pt x="2" y="454"/>
                    </a:lnTo>
                    <a:lnTo>
                      <a:pt x="2" y="454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6">
                <a:extLst>
                  <a:ext uri="{FF2B5EF4-FFF2-40B4-BE49-F238E27FC236}">
                    <a16:creationId xmlns:a16="http://schemas.microsoft.com/office/drawing/2014/main" id="{70AAB654-1D78-415E-9D1F-F52679642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1213" y="5386388"/>
                <a:ext cx="1704975" cy="703262"/>
              </a:xfrm>
              <a:custGeom>
                <a:avLst/>
                <a:gdLst>
                  <a:gd name="T0" fmla="*/ 1071 w 1074"/>
                  <a:gd name="T1" fmla="*/ 443 h 443"/>
                  <a:gd name="T2" fmla="*/ 1074 w 1074"/>
                  <a:gd name="T3" fmla="*/ 437 h 443"/>
                  <a:gd name="T4" fmla="*/ 3 w 1074"/>
                  <a:gd name="T5" fmla="*/ 0 h 443"/>
                  <a:gd name="T6" fmla="*/ 0 w 1074"/>
                  <a:gd name="T7" fmla="*/ 6 h 443"/>
                  <a:gd name="T8" fmla="*/ 1071 w 1074"/>
                  <a:gd name="T9" fmla="*/ 443 h 443"/>
                  <a:gd name="T10" fmla="*/ 1071 w 1074"/>
                  <a:gd name="T11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4" h="443">
                    <a:moveTo>
                      <a:pt x="1071" y="443"/>
                    </a:moveTo>
                    <a:lnTo>
                      <a:pt x="1074" y="437"/>
                    </a:lnTo>
                    <a:lnTo>
                      <a:pt x="3" y="0"/>
                    </a:lnTo>
                    <a:lnTo>
                      <a:pt x="0" y="6"/>
                    </a:lnTo>
                    <a:lnTo>
                      <a:pt x="1071" y="443"/>
                    </a:lnTo>
                    <a:lnTo>
                      <a:pt x="1071" y="443"/>
                    </a:lnTo>
                    <a:close/>
                  </a:path>
                </a:pathLst>
              </a:custGeom>
              <a:solidFill>
                <a:srgbClr val="9392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7">
                <a:extLst>
                  <a:ext uri="{FF2B5EF4-FFF2-40B4-BE49-F238E27FC236}">
                    <a16:creationId xmlns:a16="http://schemas.microsoft.com/office/drawing/2014/main" id="{820ADEA6-C0D6-4BE0-82D8-AA031AE7DA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78188" y="4811713"/>
                <a:ext cx="1851025" cy="1851025"/>
              </a:xfrm>
              <a:custGeom>
                <a:avLst/>
                <a:gdLst>
                  <a:gd name="T0" fmla="*/ 65 w 757"/>
                  <a:gd name="T1" fmla="*/ 379 h 757"/>
                  <a:gd name="T2" fmla="*/ 379 w 757"/>
                  <a:gd name="T3" fmla="*/ 693 h 757"/>
                  <a:gd name="T4" fmla="*/ 693 w 757"/>
                  <a:gd name="T5" fmla="*/ 379 h 757"/>
                  <a:gd name="T6" fmla="*/ 379 w 757"/>
                  <a:gd name="T7" fmla="*/ 65 h 757"/>
                  <a:gd name="T8" fmla="*/ 65 w 757"/>
                  <a:gd name="T9" fmla="*/ 379 h 757"/>
                  <a:gd name="T10" fmla="*/ 0 w 757"/>
                  <a:gd name="T11" fmla="*/ 379 h 757"/>
                  <a:gd name="T12" fmla="*/ 379 w 757"/>
                  <a:gd name="T13" fmla="*/ 0 h 757"/>
                  <a:gd name="T14" fmla="*/ 757 w 757"/>
                  <a:gd name="T15" fmla="*/ 379 h 757"/>
                  <a:gd name="T16" fmla="*/ 379 w 757"/>
                  <a:gd name="T17" fmla="*/ 757 h 757"/>
                  <a:gd name="T18" fmla="*/ 0 w 757"/>
                  <a:gd name="T19" fmla="*/ 379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7" h="757">
                    <a:moveTo>
                      <a:pt x="65" y="379"/>
                    </a:moveTo>
                    <a:cubicBezTo>
                      <a:pt x="65" y="552"/>
                      <a:pt x="206" y="693"/>
                      <a:pt x="379" y="693"/>
                    </a:cubicBezTo>
                    <a:cubicBezTo>
                      <a:pt x="552" y="693"/>
                      <a:pt x="693" y="552"/>
                      <a:pt x="693" y="379"/>
                    </a:cubicBezTo>
                    <a:cubicBezTo>
                      <a:pt x="693" y="206"/>
                      <a:pt x="552" y="65"/>
                      <a:pt x="379" y="65"/>
                    </a:cubicBezTo>
                    <a:cubicBezTo>
                      <a:pt x="206" y="65"/>
                      <a:pt x="65" y="206"/>
                      <a:pt x="65" y="379"/>
                    </a:cubicBezTo>
                    <a:close/>
                    <a:moveTo>
                      <a:pt x="0" y="379"/>
                    </a:moveTo>
                    <a:cubicBezTo>
                      <a:pt x="0" y="170"/>
                      <a:pt x="170" y="0"/>
                      <a:pt x="379" y="0"/>
                    </a:cubicBezTo>
                    <a:cubicBezTo>
                      <a:pt x="587" y="0"/>
                      <a:pt x="757" y="170"/>
                      <a:pt x="757" y="379"/>
                    </a:cubicBezTo>
                    <a:cubicBezTo>
                      <a:pt x="757" y="587"/>
                      <a:pt x="587" y="757"/>
                      <a:pt x="379" y="757"/>
                    </a:cubicBezTo>
                    <a:cubicBezTo>
                      <a:pt x="170" y="757"/>
                      <a:pt x="0" y="587"/>
                      <a:pt x="0" y="379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Oval 38">
                <a:extLst>
                  <a:ext uri="{FF2B5EF4-FFF2-40B4-BE49-F238E27FC236}">
                    <a16:creationId xmlns:a16="http://schemas.microsoft.com/office/drawing/2014/main" id="{F36438F2-9756-42A9-9B3D-B676F67C33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5275" y="5637213"/>
                <a:ext cx="198438" cy="198437"/>
              </a:xfrm>
              <a:prstGeom prst="ellipse">
                <a:avLst/>
              </a:pr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9">
                <a:extLst>
                  <a:ext uri="{FF2B5EF4-FFF2-40B4-BE49-F238E27FC236}">
                    <a16:creationId xmlns:a16="http://schemas.microsoft.com/office/drawing/2014/main" id="{8B0E109E-5809-43F1-AA07-3B3A297DAF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2625" y="4754563"/>
                <a:ext cx="1963738" cy="1963737"/>
              </a:xfrm>
              <a:custGeom>
                <a:avLst/>
                <a:gdLst>
                  <a:gd name="T0" fmla="*/ 31 w 803"/>
                  <a:gd name="T1" fmla="*/ 402 h 803"/>
                  <a:gd name="T2" fmla="*/ 402 w 803"/>
                  <a:gd name="T3" fmla="*/ 772 h 803"/>
                  <a:gd name="T4" fmla="*/ 772 w 803"/>
                  <a:gd name="T5" fmla="*/ 402 h 803"/>
                  <a:gd name="T6" fmla="*/ 402 w 803"/>
                  <a:gd name="T7" fmla="*/ 31 h 803"/>
                  <a:gd name="T8" fmla="*/ 31 w 803"/>
                  <a:gd name="T9" fmla="*/ 402 h 803"/>
                  <a:gd name="T10" fmla="*/ 0 w 803"/>
                  <a:gd name="T11" fmla="*/ 402 h 803"/>
                  <a:gd name="T12" fmla="*/ 402 w 803"/>
                  <a:gd name="T13" fmla="*/ 0 h 803"/>
                  <a:gd name="T14" fmla="*/ 803 w 803"/>
                  <a:gd name="T15" fmla="*/ 402 h 803"/>
                  <a:gd name="T16" fmla="*/ 402 w 803"/>
                  <a:gd name="T17" fmla="*/ 803 h 803"/>
                  <a:gd name="T18" fmla="*/ 0 w 803"/>
                  <a:gd name="T19" fmla="*/ 402 h 8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3" h="803">
                    <a:moveTo>
                      <a:pt x="31" y="402"/>
                    </a:moveTo>
                    <a:cubicBezTo>
                      <a:pt x="31" y="606"/>
                      <a:pt x="197" y="772"/>
                      <a:pt x="402" y="772"/>
                    </a:cubicBezTo>
                    <a:cubicBezTo>
                      <a:pt x="606" y="772"/>
                      <a:pt x="772" y="606"/>
                      <a:pt x="772" y="402"/>
                    </a:cubicBezTo>
                    <a:cubicBezTo>
                      <a:pt x="772" y="197"/>
                      <a:pt x="606" y="31"/>
                      <a:pt x="402" y="31"/>
                    </a:cubicBezTo>
                    <a:cubicBezTo>
                      <a:pt x="197" y="31"/>
                      <a:pt x="31" y="197"/>
                      <a:pt x="31" y="402"/>
                    </a:cubicBezTo>
                    <a:close/>
                    <a:moveTo>
                      <a:pt x="0" y="402"/>
                    </a:moveTo>
                    <a:cubicBezTo>
                      <a:pt x="0" y="180"/>
                      <a:pt x="180" y="0"/>
                      <a:pt x="402" y="0"/>
                    </a:cubicBezTo>
                    <a:cubicBezTo>
                      <a:pt x="623" y="0"/>
                      <a:pt x="803" y="180"/>
                      <a:pt x="803" y="402"/>
                    </a:cubicBezTo>
                    <a:cubicBezTo>
                      <a:pt x="803" y="623"/>
                      <a:pt x="623" y="803"/>
                      <a:pt x="402" y="803"/>
                    </a:cubicBezTo>
                    <a:cubicBezTo>
                      <a:pt x="180" y="803"/>
                      <a:pt x="0" y="623"/>
                      <a:pt x="0" y="402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40">
                <a:extLst>
                  <a:ext uri="{FF2B5EF4-FFF2-40B4-BE49-F238E27FC236}">
                    <a16:creationId xmlns:a16="http://schemas.microsoft.com/office/drawing/2014/main" id="{EB01FB9A-1FC7-4468-9F2D-3B2372279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8463" y="5816600"/>
                <a:ext cx="1212850" cy="180975"/>
              </a:xfrm>
              <a:custGeom>
                <a:avLst/>
                <a:gdLst>
                  <a:gd name="T0" fmla="*/ 761 w 764"/>
                  <a:gd name="T1" fmla="*/ 114 h 114"/>
                  <a:gd name="T2" fmla="*/ 764 w 764"/>
                  <a:gd name="T3" fmla="*/ 102 h 114"/>
                  <a:gd name="T4" fmla="*/ 1 w 764"/>
                  <a:gd name="T5" fmla="*/ 0 h 114"/>
                  <a:gd name="T6" fmla="*/ 0 w 764"/>
                  <a:gd name="T7" fmla="*/ 12 h 114"/>
                  <a:gd name="T8" fmla="*/ 761 w 764"/>
                  <a:gd name="T9" fmla="*/ 114 h 114"/>
                  <a:gd name="T10" fmla="*/ 761 w 764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4" h="114">
                    <a:moveTo>
                      <a:pt x="761" y="114"/>
                    </a:moveTo>
                    <a:lnTo>
                      <a:pt x="764" y="102"/>
                    </a:lnTo>
                    <a:lnTo>
                      <a:pt x="1" y="0"/>
                    </a:lnTo>
                    <a:lnTo>
                      <a:pt x="0" y="12"/>
                    </a:lnTo>
                    <a:lnTo>
                      <a:pt x="761" y="114"/>
                    </a:lnTo>
                    <a:lnTo>
                      <a:pt x="761" y="114"/>
                    </a:ln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41">
                <a:extLst>
                  <a:ext uri="{FF2B5EF4-FFF2-40B4-BE49-F238E27FC236}">
                    <a16:creationId xmlns:a16="http://schemas.microsoft.com/office/drawing/2014/main" id="{A084F2E0-3D69-4817-9066-7A2BD5C36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7988" y="5437188"/>
                <a:ext cx="1217613" cy="249237"/>
              </a:xfrm>
              <a:custGeom>
                <a:avLst/>
                <a:gdLst>
                  <a:gd name="T0" fmla="*/ 4 w 767"/>
                  <a:gd name="T1" fmla="*/ 157 h 157"/>
                  <a:gd name="T2" fmla="*/ 767 w 767"/>
                  <a:gd name="T3" fmla="*/ 20 h 157"/>
                  <a:gd name="T4" fmla="*/ 764 w 767"/>
                  <a:gd name="T5" fmla="*/ 0 h 157"/>
                  <a:gd name="T6" fmla="*/ 0 w 767"/>
                  <a:gd name="T7" fmla="*/ 137 h 157"/>
                  <a:gd name="T8" fmla="*/ 4 w 767"/>
                  <a:gd name="T9" fmla="*/ 157 h 157"/>
                  <a:gd name="T10" fmla="*/ 4 w 767"/>
                  <a:gd name="T1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7" h="157">
                    <a:moveTo>
                      <a:pt x="4" y="157"/>
                    </a:moveTo>
                    <a:lnTo>
                      <a:pt x="767" y="20"/>
                    </a:lnTo>
                    <a:lnTo>
                      <a:pt x="764" y="0"/>
                    </a:lnTo>
                    <a:lnTo>
                      <a:pt x="0" y="137"/>
                    </a:lnTo>
                    <a:lnTo>
                      <a:pt x="4" y="157"/>
                    </a:lnTo>
                    <a:lnTo>
                      <a:pt x="4" y="157"/>
                    </a:ln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42">
                <a:extLst>
                  <a:ext uri="{FF2B5EF4-FFF2-40B4-BE49-F238E27FC236}">
                    <a16:creationId xmlns:a16="http://schemas.microsoft.com/office/drawing/2014/main" id="{D2EDCB2F-41BE-444E-B291-355983C7B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7638" y="5449888"/>
                <a:ext cx="530225" cy="530225"/>
              </a:xfrm>
              <a:custGeom>
                <a:avLst/>
                <a:gdLst>
                  <a:gd name="T0" fmla="*/ 209 w 217"/>
                  <a:gd name="T1" fmla="*/ 87 h 217"/>
                  <a:gd name="T2" fmla="*/ 148 w 217"/>
                  <a:gd name="T3" fmla="*/ 92 h 217"/>
                  <a:gd name="T4" fmla="*/ 195 w 217"/>
                  <a:gd name="T5" fmla="*/ 53 h 217"/>
                  <a:gd name="T6" fmla="*/ 185 w 217"/>
                  <a:gd name="T7" fmla="*/ 32 h 217"/>
                  <a:gd name="T8" fmla="*/ 185 w 217"/>
                  <a:gd name="T9" fmla="*/ 32 h 217"/>
                  <a:gd name="T10" fmla="*/ 164 w 217"/>
                  <a:gd name="T11" fmla="*/ 22 h 217"/>
                  <a:gd name="T12" fmla="*/ 125 w 217"/>
                  <a:gd name="T13" fmla="*/ 69 h 217"/>
                  <a:gd name="T14" fmla="*/ 130 w 217"/>
                  <a:gd name="T15" fmla="*/ 8 h 217"/>
                  <a:gd name="T16" fmla="*/ 108 w 217"/>
                  <a:gd name="T17" fmla="*/ 0 h 217"/>
                  <a:gd name="T18" fmla="*/ 108 w 217"/>
                  <a:gd name="T19" fmla="*/ 0 h 217"/>
                  <a:gd name="T20" fmla="*/ 87 w 217"/>
                  <a:gd name="T21" fmla="*/ 8 h 217"/>
                  <a:gd name="T22" fmla="*/ 92 w 217"/>
                  <a:gd name="T23" fmla="*/ 69 h 217"/>
                  <a:gd name="T24" fmla="*/ 53 w 217"/>
                  <a:gd name="T25" fmla="*/ 22 h 217"/>
                  <a:gd name="T26" fmla="*/ 32 w 217"/>
                  <a:gd name="T27" fmla="*/ 32 h 217"/>
                  <a:gd name="T28" fmla="*/ 32 w 217"/>
                  <a:gd name="T29" fmla="*/ 32 h 217"/>
                  <a:gd name="T30" fmla="*/ 22 w 217"/>
                  <a:gd name="T31" fmla="*/ 53 h 217"/>
                  <a:gd name="T32" fmla="*/ 69 w 217"/>
                  <a:gd name="T33" fmla="*/ 92 h 217"/>
                  <a:gd name="T34" fmla="*/ 8 w 217"/>
                  <a:gd name="T35" fmla="*/ 87 h 217"/>
                  <a:gd name="T36" fmla="*/ 0 w 217"/>
                  <a:gd name="T37" fmla="*/ 109 h 217"/>
                  <a:gd name="T38" fmla="*/ 8 w 217"/>
                  <a:gd name="T39" fmla="*/ 131 h 217"/>
                  <a:gd name="T40" fmla="*/ 69 w 217"/>
                  <a:gd name="T41" fmla="*/ 125 h 217"/>
                  <a:gd name="T42" fmla="*/ 22 w 217"/>
                  <a:gd name="T43" fmla="*/ 165 h 217"/>
                  <a:gd name="T44" fmla="*/ 32 w 217"/>
                  <a:gd name="T45" fmla="*/ 186 h 217"/>
                  <a:gd name="T46" fmla="*/ 32 w 217"/>
                  <a:gd name="T47" fmla="*/ 186 h 217"/>
                  <a:gd name="T48" fmla="*/ 52 w 217"/>
                  <a:gd name="T49" fmla="*/ 195 h 217"/>
                  <a:gd name="T50" fmla="*/ 92 w 217"/>
                  <a:gd name="T51" fmla="*/ 149 h 217"/>
                  <a:gd name="T52" fmla="*/ 87 w 217"/>
                  <a:gd name="T53" fmla="*/ 210 h 217"/>
                  <a:gd name="T54" fmla="*/ 108 w 217"/>
                  <a:gd name="T55" fmla="*/ 217 h 217"/>
                  <a:gd name="T56" fmla="*/ 108 w 217"/>
                  <a:gd name="T57" fmla="*/ 217 h 217"/>
                  <a:gd name="T58" fmla="*/ 130 w 217"/>
                  <a:gd name="T59" fmla="*/ 210 h 217"/>
                  <a:gd name="T60" fmla="*/ 125 w 217"/>
                  <a:gd name="T61" fmla="*/ 149 h 217"/>
                  <a:gd name="T62" fmla="*/ 164 w 217"/>
                  <a:gd name="T63" fmla="*/ 195 h 217"/>
                  <a:gd name="T64" fmla="*/ 185 w 217"/>
                  <a:gd name="T65" fmla="*/ 186 h 217"/>
                  <a:gd name="T66" fmla="*/ 195 w 217"/>
                  <a:gd name="T67" fmla="*/ 165 h 217"/>
                  <a:gd name="T68" fmla="*/ 148 w 217"/>
                  <a:gd name="T69" fmla="*/ 125 h 217"/>
                  <a:gd name="T70" fmla="*/ 209 w 217"/>
                  <a:gd name="T71" fmla="*/ 131 h 217"/>
                  <a:gd name="T72" fmla="*/ 217 w 217"/>
                  <a:gd name="T73" fmla="*/ 109 h 217"/>
                  <a:gd name="T74" fmla="*/ 209 w 217"/>
                  <a:gd name="T75" fmla="*/ 8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7" h="217">
                    <a:moveTo>
                      <a:pt x="209" y="87"/>
                    </a:moveTo>
                    <a:cubicBezTo>
                      <a:pt x="209" y="87"/>
                      <a:pt x="175" y="99"/>
                      <a:pt x="148" y="92"/>
                    </a:cubicBezTo>
                    <a:cubicBezTo>
                      <a:pt x="162" y="68"/>
                      <a:pt x="195" y="53"/>
                      <a:pt x="195" y="53"/>
                    </a:cubicBezTo>
                    <a:cubicBezTo>
                      <a:pt x="185" y="32"/>
                      <a:pt x="185" y="32"/>
                      <a:pt x="185" y="32"/>
                    </a:cubicBezTo>
                    <a:cubicBezTo>
                      <a:pt x="185" y="32"/>
                      <a:pt x="185" y="32"/>
                      <a:pt x="185" y="32"/>
                    </a:cubicBezTo>
                    <a:cubicBezTo>
                      <a:pt x="164" y="22"/>
                      <a:pt x="164" y="22"/>
                      <a:pt x="164" y="22"/>
                    </a:cubicBezTo>
                    <a:cubicBezTo>
                      <a:pt x="164" y="22"/>
                      <a:pt x="149" y="55"/>
                      <a:pt x="125" y="69"/>
                    </a:cubicBezTo>
                    <a:cubicBezTo>
                      <a:pt x="118" y="42"/>
                      <a:pt x="130" y="8"/>
                      <a:pt x="130" y="8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99" y="42"/>
                      <a:pt x="92" y="69"/>
                    </a:cubicBezTo>
                    <a:cubicBezTo>
                      <a:pt x="68" y="55"/>
                      <a:pt x="53" y="22"/>
                      <a:pt x="53" y="2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2" y="53"/>
                      <a:pt x="54" y="68"/>
                      <a:pt x="69" y="92"/>
                    </a:cubicBezTo>
                    <a:cubicBezTo>
                      <a:pt x="42" y="99"/>
                      <a:pt x="8" y="87"/>
                      <a:pt x="8" y="87"/>
                    </a:cubicBezTo>
                    <a:cubicBezTo>
                      <a:pt x="0" y="109"/>
                      <a:pt x="0" y="109"/>
                      <a:pt x="0" y="109"/>
                    </a:cubicBezTo>
                    <a:cubicBezTo>
                      <a:pt x="8" y="131"/>
                      <a:pt x="8" y="131"/>
                      <a:pt x="8" y="131"/>
                    </a:cubicBezTo>
                    <a:cubicBezTo>
                      <a:pt x="8" y="131"/>
                      <a:pt x="42" y="119"/>
                      <a:pt x="69" y="125"/>
                    </a:cubicBezTo>
                    <a:cubicBezTo>
                      <a:pt x="54" y="149"/>
                      <a:pt x="22" y="165"/>
                      <a:pt x="22" y="165"/>
                    </a:cubicBezTo>
                    <a:cubicBezTo>
                      <a:pt x="32" y="186"/>
                      <a:pt x="32" y="186"/>
                      <a:pt x="32" y="186"/>
                    </a:cubicBezTo>
                    <a:cubicBezTo>
                      <a:pt x="32" y="186"/>
                      <a:pt x="32" y="186"/>
                      <a:pt x="32" y="186"/>
                    </a:cubicBezTo>
                    <a:cubicBezTo>
                      <a:pt x="52" y="195"/>
                      <a:pt x="52" y="195"/>
                      <a:pt x="52" y="195"/>
                    </a:cubicBezTo>
                    <a:cubicBezTo>
                      <a:pt x="52" y="195"/>
                      <a:pt x="68" y="163"/>
                      <a:pt x="92" y="149"/>
                    </a:cubicBezTo>
                    <a:cubicBezTo>
                      <a:pt x="99" y="176"/>
                      <a:pt x="87" y="210"/>
                      <a:pt x="87" y="210"/>
                    </a:cubicBezTo>
                    <a:cubicBezTo>
                      <a:pt x="108" y="217"/>
                      <a:pt x="108" y="217"/>
                      <a:pt x="108" y="217"/>
                    </a:cubicBezTo>
                    <a:cubicBezTo>
                      <a:pt x="108" y="217"/>
                      <a:pt x="108" y="217"/>
                      <a:pt x="108" y="217"/>
                    </a:cubicBezTo>
                    <a:cubicBezTo>
                      <a:pt x="130" y="210"/>
                      <a:pt x="130" y="210"/>
                      <a:pt x="130" y="210"/>
                    </a:cubicBezTo>
                    <a:cubicBezTo>
                      <a:pt x="130" y="210"/>
                      <a:pt x="118" y="176"/>
                      <a:pt x="125" y="149"/>
                    </a:cubicBezTo>
                    <a:cubicBezTo>
                      <a:pt x="149" y="163"/>
                      <a:pt x="164" y="195"/>
                      <a:pt x="164" y="195"/>
                    </a:cubicBezTo>
                    <a:cubicBezTo>
                      <a:pt x="185" y="186"/>
                      <a:pt x="185" y="186"/>
                      <a:pt x="185" y="186"/>
                    </a:cubicBezTo>
                    <a:cubicBezTo>
                      <a:pt x="195" y="165"/>
                      <a:pt x="195" y="165"/>
                      <a:pt x="195" y="165"/>
                    </a:cubicBezTo>
                    <a:cubicBezTo>
                      <a:pt x="195" y="165"/>
                      <a:pt x="162" y="149"/>
                      <a:pt x="148" y="125"/>
                    </a:cubicBezTo>
                    <a:cubicBezTo>
                      <a:pt x="175" y="119"/>
                      <a:pt x="209" y="131"/>
                      <a:pt x="209" y="131"/>
                    </a:cubicBezTo>
                    <a:cubicBezTo>
                      <a:pt x="217" y="109"/>
                      <a:pt x="217" y="109"/>
                      <a:pt x="217" y="109"/>
                    </a:cubicBezTo>
                    <a:cubicBezTo>
                      <a:pt x="209" y="87"/>
                      <a:pt x="209" y="87"/>
                      <a:pt x="209" y="87"/>
                    </a:cubicBez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43">
                <a:extLst>
                  <a:ext uri="{FF2B5EF4-FFF2-40B4-BE49-F238E27FC236}">
                    <a16:creationId xmlns:a16="http://schemas.microsoft.com/office/drawing/2014/main" id="{6CF68061-4E2F-4E2E-B8B3-36A6879272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0650" y="5424488"/>
                <a:ext cx="582613" cy="582612"/>
              </a:xfrm>
              <a:custGeom>
                <a:avLst/>
                <a:gdLst>
                  <a:gd name="T0" fmla="*/ 18 w 238"/>
                  <a:gd name="T1" fmla="*/ 119 h 238"/>
                  <a:gd name="T2" fmla="*/ 119 w 238"/>
                  <a:gd name="T3" fmla="*/ 221 h 238"/>
                  <a:gd name="T4" fmla="*/ 221 w 238"/>
                  <a:gd name="T5" fmla="*/ 119 h 238"/>
                  <a:gd name="T6" fmla="*/ 119 w 238"/>
                  <a:gd name="T7" fmla="*/ 18 h 238"/>
                  <a:gd name="T8" fmla="*/ 18 w 238"/>
                  <a:gd name="T9" fmla="*/ 119 h 238"/>
                  <a:gd name="T10" fmla="*/ 0 w 238"/>
                  <a:gd name="T11" fmla="*/ 119 h 238"/>
                  <a:gd name="T12" fmla="*/ 119 w 238"/>
                  <a:gd name="T13" fmla="*/ 0 h 238"/>
                  <a:gd name="T14" fmla="*/ 238 w 238"/>
                  <a:gd name="T15" fmla="*/ 119 h 238"/>
                  <a:gd name="T16" fmla="*/ 119 w 238"/>
                  <a:gd name="T17" fmla="*/ 238 h 238"/>
                  <a:gd name="T18" fmla="*/ 0 w 238"/>
                  <a:gd name="T19" fmla="*/ 119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8" h="238">
                    <a:moveTo>
                      <a:pt x="18" y="119"/>
                    </a:moveTo>
                    <a:cubicBezTo>
                      <a:pt x="18" y="175"/>
                      <a:pt x="63" y="221"/>
                      <a:pt x="119" y="221"/>
                    </a:cubicBezTo>
                    <a:cubicBezTo>
                      <a:pt x="175" y="221"/>
                      <a:pt x="221" y="175"/>
                      <a:pt x="221" y="119"/>
                    </a:cubicBezTo>
                    <a:cubicBezTo>
                      <a:pt x="221" y="63"/>
                      <a:pt x="175" y="18"/>
                      <a:pt x="119" y="18"/>
                    </a:cubicBezTo>
                    <a:cubicBezTo>
                      <a:pt x="63" y="18"/>
                      <a:pt x="18" y="63"/>
                      <a:pt x="18" y="119"/>
                    </a:cubicBezTo>
                    <a:close/>
                    <a:moveTo>
                      <a:pt x="0" y="119"/>
                    </a:moveTo>
                    <a:cubicBezTo>
                      <a:pt x="0" y="54"/>
                      <a:pt x="54" y="0"/>
                      <a:pt x="119" y="0"/>
                    </a:cubicBezTo>
                    <a:cubicBezTo>
                      <a:pt x="185" y="0"/>
                      <a:pt x="238" y="54"/>
                      <a:pt x="238" y="119"/>
                    </a:cubicBezTo>
                    <a:cubicBezTo>
                      <a:pt x="238" y="185"/>
                      <a:pt x="185" y="238"/>
                      <a:pt x="119" y="238"/>
                    </a:cubicBezTo>
                    <a:cubicBezTo>
                      <a:pt x="54" y="238"/>
                      <a:pt x="0" y="185"/>
                      <a:pt x="0" y="119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4">
                <a:extLst>
                  <a:ext uri="{FF2B5EF4-FFF2-40B4-BE49-F238E27FC236}">
                    <a16:creationId xmlns:a16="http://schemas.microsoft.com/office/drawing/2014/main" id="{FFEEBF7F-D21E-48DF-9604-B4CBEE350E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888" y="5699125"/>
                <a:ext cx="203200" cy="381000"/>
              </a:xfrm>
              <a:custGeom>
                <a:avLst/>
                <a:gdLst>
                  <a:gd name="T0" fmla="*/ 39 w 128"/>
                  <a:gd name="T1" fmla="*/ 240 h 240"/>
                  <a:gd name="T2" fmla="*/ 0 w 128"/>
                  <a:gd name="T3" fmla="*/ 219 h 240"/>
                  <a:gd name="T4" fmla="*/ 88 w 128"/>
                  <a:gd name="T5" fmla="*/ 0 h 240"/>
                  <a:gd name="T6" fmla="*/ 128 w 128"/>
                  <a:gd name="T7" fmla="*/ 21 h 240"/>
                  <a:gd name="T8" fmla="*/ 39 w 128"/>
                  <a:gd name="T9" fmla="*/ 240 h 240"/>
                  <a:gd name="T10" fmla="*/ 39 w 128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" h="240">
                    <a:moveTo>
                      <a:pt x="39" y="240"/>
                    </a:moveTo>
                    <a:lnTo>
                      <a:pt x="0" y="219"/>
                    </a:lnTo>
                    <a:lnTo>
                      <a:pt x="88" y="0"/>
                    </a:lnTo>
                    <a:lnTo>
                      <a:pt x="128" y="21"/>
                    </a:lnTo>
                    <a:lnTo>
                      <a:pt x="39" y="240"/>
                    </a:lnTo>
                    <a:lnTo>
                      <a:pt x="39" y="240"/>
                    </a:lnTo>
                    <a:close/>
                  </a:path>
                </a:pathLst>
              </a:custGeom>
              <a:solidFill>
                <a:srgbClr val="8989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5">
                <a:extLst>
                  <a:ext uri="{FF2B5EF4-FFF2-40B4-BE49-F238E27FC236}">
                    <a16:creationId xmlns:a16="http://schemas.microsoft.com/office/drawing/2014/main" id="{A1090BBA-6F4E-4427-9E1F-FB2D83800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9850" y="5899150"/>
                <a:ext cx="404813" cy="292100"/>
              </a:xfrm>
              <a:custGeom>
                <a:avLst/>
                <a:gdLst>
                  <a:gd name="T0" fmla="*/ 159 w 166"/>
                  <a:gd name="T1" fmla="*/ 102 h 119"/>
                  <a:gd name="T2" fmla="*/ 122 w 166"/>
                  <a:gd name="T3" fmla="*/ 112 h 119"/>
                  <a:gd name="T4" fmla="*/ 19 w 166"/>
                  <a:gd name="T5" fmla="*/ 54 h 119"/>
                  <a:gd name="T6" fmla="*/ 7 w 166"/>
                  <a:gd name="T7" fmla="*/ 17 h 119"/>
                  <a:gd name="T8" fmla="*/ 45 w 166"/>
                  <a:gd name="T9" fmla="*/ 8 h 119"/>
                  <a:gd name="T10" fmla="*/ 148 w 166"/>
                  <a:gd name="T11" fmla="*/ 66 h 119"/>
                  <a:gd name="T12" fmla="*/ 159 w 166"/>
                  <a:gd name="T13" fmla="*/ 10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119">
                    <a:moveTo>
                      <a:pt x="159" y="102"/>
                    </a:moveTo>
                    <a:cubicBezTo>
                      <a:pt x="152" y="115"/>
                      <a:pt x="135" y="119"/>
                      <a:pt x="122" y="112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5" y="47"/>
                      <a:pt x="0" y="30"/>
                      <a:pt x="7" y="17"/>
                    </a:cubicBezTo>
                    <a:cubicBezTo>
                      <a:pt x="15" y="5"/>
                      <a:pt x="31" y="0"/>
                      <a:pt x="45" y="8"/>
                    </a:cubicBezTo>
                    <a:cubicBezTo>
                      <a:pt x="148" y="66"/>
                      <a:pt x="148" y="66"/>
                      <a:pt x="148" y="66"/>
                    </a:cubicBezTo>
                    <a:cubicBezTo>
                      <a:pt x="161" y="73"/>
                      <a:pt x="166" y="90"/>
                      <a:pt x="159" y="102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Oval 46">
                <a:extLst>
                  <a:ext uri="{FF2B5EF4-FFF2-40B4-BE49-F238E27FC236}">
                    <a16:creationId xmlns:a16="http://schemas.microsoft.com/office/drawing/2014/main" id="{1C31E771-432F-4D7A-A7E4-2C8948B92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37188" y="5662613"/>
                <a:ext cx="111125" cy="109537"/>
              </a:xfrm>
              <a:prstGeom prst="ellipse">
                <a:avLst/>
              </a:pr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47">
                <a:extLst>
                  <a:ext uri="{FF2B5EF4-FFF2-40B4-BE49-F238E27FC236}">
                    <a16:creationId xmlns:a16="http://schemas.microsoft.com/office/drawing/2014/main" id="{67F4BCA9-D16D-4149-AFFD-A33EA9502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3375" y="4537075"/>
                <a:ext cx="990600" cy="1260475"/>
              </a:xfrm>
              <a:custGeom>
                <a:avLst/>
                <a:gdLst>
                  <a:gd name="T0" fmla="*/ 13 w 405"/>
                  <a:gd name="T1" fmla="*/ 466 h 515"/>
                  <a:gd name="T2" fmla="*/ 377 w 405"/>
                  <a:gd name="T3" fmla="*/ 0 h 515"/>
                  <a:gd name="T4" fmla="*/ 405 w 405"/>
                  <a:gd name="T5" fmla="*/ 26 h 515"/>
                  <a:gd name="T6" fmla="*/ 51 w 405"/>
                  <a:gd name="T7" fmla="*/ 480 h 515"/>
                  <a:gd name="T8" fmla="*/ 53 w 405"/>
                  <a:gd name="T9" fmla="*/ 489 h 515"/>
                  <a:gd name="T10" fmla="*/ 26 w 405"/>
                  <a:gd name="T11" fmla="*/ 515 h 515"/>
                  <a:gd name="T12" fmla="*/ 0 w 405"/>
                  <a:gd name="T13" fmla="*/ 489 h 515"/>
                  <a:gd name="T14" fmla="*/ 13 w 405"/>
                  <a:gd name="T15" fmla="*/ 46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5" h="515">
                    <a:moveTo>
                      <a:pt x="13" y="466"/>
                    </a:moveTo>
                    <a:cubicBezTo>
                      <a:pt x="377" y="0"/>
                      <a:pt x="377" y="0"/>
                      <a:pt x="377" y="0"/>
                    </a:cubicBezTo>
                    <a:cubicBezTo>
                      <a:pt x="405" y="26"/>
                      <a:pt x="405" y="26"/>
                      <a:pt x="405" y="26"/>
                    </a:cubicBezTo>
                    <a:cubicBezTo>
                      <a:pt x="51" y="480"/>
                      <a:pt x="51" y="480"/>
                      <a:pt x="51" y="480"/>
                    </a:cubicBezTo>
                    <a:cubicBezTo>
                      <a:pt x="52" y="483"/>
                      <a:pt x="53" y="486"/>
                      <a:pt x="53" y="489"/>
                    </a:cubicBezTo>
                    <a:cubicBezTo>
                      <a:pt x="53" y="503"/>
                      <a:pt x="41" y="515"/>
                      <a:pt x="26" y="515"/>
                    </a:cubicBezTo>
                    <a:cubicBezTo>
                      <a:pt x="12" y="515"/>
                      <a:pt x="0" y="503"/>
                      <a:pt x="0" y="489"/>
                    </a:cubicBezTo>
                    <a:cubicBezTo>
                      <a:pt x="0" y="479"/>
                      <a:pt x="5" y="470"/>
                      <a:pt x="13" y="466"/>
                    </a:cubicBezTo>
                    <a:close/>
                  </a:path>
                </a:pathLst>
              </a:custGeom>
              <a:solidFill>
                <a:srgbClr val="3C4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48">
                <a:extLst>
                  <a:ext uri="{FF2B5EF4-FFF2-40B4-BE49-F238E27FC236}">
                    <a16:creationId xmlns:a16="http://schemas.microsoft.com/office/drawing/2014/main" id="{1C689A48-1582-4A6C-B81E-0D48E191E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6988" y="2573338"/>
                <a:ext cx="560388" cy="439737"/>
              </a:xfrm>
              <a:custGeom>
                <a:avLst/>
                <a:gdLst>
                  <a:gd name="T0" fmla="*/ 223 w 229"/>
                  <a:gd name="T1" fmla="*/ 1 h 180"/>
                  <a:gd name="T2" fmla="*/ 214 w 229"/>
                  <a:gd name="T3" fmla="*/ 55 h 180"/>
                  <a:gd name="T4" fmla="*/ 224 w 229"/>
                  <a:gd name="T5" fmla="*/ 108 h 180"/>
                  <a:gd name="T6" fmla="*/ 197 w 229"/>
                  <a:gd name="T7" fmla="*/ 108 h 180"/>
                  <a:gd name="T8" fmla="*/ 192 w 229"/>
                  <a:gd name="T9" fmla="*/ 128 h 180"/>
                  <a:gd name="T10" fmla="*/ 175 w 229"/>
                  <a:gd name="T11" fmla="*/ 128 h 180"/>
                  <a:gd name="T12" fmla="*/ 180 w 229"/>
                  <a:gd name="T13" fmla="*/ 149 h 180"/>
                  <a:gd name="T14" fmla="*/ 169 w 229"/>
                  <a:gd name="T15" fmla="*/ 171 h 180"/>
                  <a:gd name="T16" fmla="*/ 136 w 229"/>
                  <a:gd name="T17" fmla="*/ 165 h 180"/>
                  <a:gd name="T18" fmla="*/ 99 w 229"/>
                  <a:gd name="T19" fmla="*/ 155 h 180"/>
                  <a:gd name="T20" fmla="*/ 36 w 229"/>
                  <a:gd name="T21" fmla="*/ 179 h 180"/>
                  <a:gd name="T22" fmla="*/ 0 w 229"/>
                  <a:gd name="T23" fmla="*/ 84 h 180"/>
                  <a:gd name="T24" fmla="*/ 73 w 229"/>
                  <a:gd name="T25" fmla="*/ 25 h 180"/>
                  <a:gd name="T26" fmla="*/ 165 w 229"/>
                  <a:gd name="T27" fmla="*/ 1 h 180"/>
                  <a:gd name="T28" fmla="*/ 223 w 229"/>
                  <a:gd name="T29" fmla="*/ 1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9" h="180">
                    <a:moveTo>
                      <a:pt x="223" y="1"/>
                    </a:moveTo>
                    <a:cubicBezTo>
                      <a:pt x="223" y="1"/>
                      <a:pt x="227" y="34"/>
                      <a:pt x="214" y="55"/>
                    </a:cubicBezTo>
                    <a:cubicBezTo>
                      <a:pt x="214" y="55"/>
                      <a:pt x="229" y="101"/>
                      <a:pt x="224" y="108"/>
                    </a:cubicBezTo>
                    <a:cubicBezTo>
                      <a:pt x="218" y="114"/>
                      <a:pt x="197" y="108"/>
                      <a:pt x="197" y="108"/>
                    </a:cubicBezTo>
                    <a:cubicBezTo>
                      <a:pt x="197" y="108"/>
                      <a:pt x="196" y="124"/>
                      <a:pt x="192" y="128"/>
                    </a:cubicBezTo>
                    <a:cubicBezTo>
                      <a:pt x="187" y="132"/>
                      <a:pt x="175" y="128"/>
                      <a:pt x="175" y="128"/>
                    </a:cubicBezTo>
                    <a:cubicBezTo>
                      <a:pt x="175" y="128"/>
                      <a:pt x="188" y="144"/>
                      <a:pt x="180" y="149"/>
                    </a:cubicBezTo>
                    <a:cubicBezTo>
                      <a:pt x="173" y="154"/>
                      <a:pt x="170" y="155"/>
                      <a:pt x="169" y="171"/>
                    </a:cubicBezTo>
                    <a:cubicBezTo>
                      <a:pt x="168" y="180"/>
                      <a:pt x="153" y="172"/>
                      <a:pt x="136" y="165"/>
                    </a:cubicBezTo>
                    <a:cubicBezTo>
                      <a:pt x="122" y="158"/>
                      <a:pt x="107" y="151"/>
                      <a:pt x="99" y="155"/>
                    </a:cubicBezTo>
                    <a:cubicBezTo>
                      <a:pt x="82" y="162"/>
                      <a:pt x="36" y="179"/>
                      <a:pt x="36" y="179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84"/>
                      <a:pt x="57" y="48"/>
                      <a:pt x="73" y="25"/>
                    </a:cubicBezTo>
                    <a:cubicBezTo>
                      <a:pt x="88" y="3"/>
                      <a:pt x="151" y="0"/>
                      <a:pt x="165" y="1"/>
                    </a:cubicBezTo>
                    <a:cubicBezTo>
                      <a:pt x="179" y="1"/>
                      <a:pt x="223" y="1"/>
                      <a:pt x="223" y="1"/>
                    </a:cubicBezTo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49">
                <a:extLst>
                  <a:ext uri="{FF2B5EF4-FFF2-40B4-BE49-F238E27FC236}">
                    <a16:creationId xmlns:a16="http://schemas.microsoft.com/office/drawing/2014/main" id="{74148217-DE97-42DB-BCEC-D47A83D722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5713" y="2362200"/>
                <a:ext cx="587375" cy="415925"/>
              </a:xfrm>
              <a:custGeom>
                <a:avLst/>
                <a:gdLst>
                  <a:gd name="T0" fmla="*/ 90 w 240"/>
                  <a:gd name="T1" fmla="*/ 111 h 170"/>
                  <a:gd name="T2" fmla="*/ 182 w 240"/>
                  <a:gd name="T3" fmla="*/ 87 h 170"/>
                  <a:gd name="T4" fmla="*/ 240 w 240"/>
                  <a:gd name="T5" fmla="*/ 87 h 170"/>
                  <a:gd name="T6" fmla="*/ 102 w 240"/>
                  <a:gd name="T7" fmla="*/ 13 h 170"/>
                  <a:gd name="T8" fmla="*/ 22 w 240"/>
                  <a:gd name="T9" fmla="*/ 80 h 170"/>
                  <a:gd name="T10" fmla="*/ 17 w 240"/>
                  <a:gd name="T11" fmla="*/ 170 h 170"/>
                  <a:gd name="T12" fmla="*/ 90 w 240"/>
                  <a:gd name="T13" fmla="*/ 11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0" h="170">
                    <a:moveTo>
                      <a:pt x="90" y="111"/>
                    </a:moveTo>
                    <a:cubicBezTo>
                      <a:pt x="105" y="89"/>
                      <a:pt x="168" y="86"/>
                      <a:pt x="182" y="87"/>
                    </a:cubicBezTo>
                    <a:cubicBezTo>
                      <a:pt x="196" y="87"/>
                      <a:pt x="240" y="87"/>
                      <a:pt x="240" y="87"/>
                    </a:cubicBezTo>
                    <a:cubicBezTo>
                      <a:pt x="234" y="48"/>
                      <a:pt x="158" y="0"/>
                      <a:pt x="102" y="13"/>
                    </a:cubicBezTo>
                    <a:cubicBezTo>
                      <a:pt x="45" y="27"/>
                      <a:pt x="22" y="80"/>
                      <a:pt x="22" y="80"/>
                    </a:cubicBezTo>
                    <a:cubicBezTo>
                      <a:pt x="0" y="114"/>
                      <a:pt x="17" y="170"/>
                      <a:pt x="17" y="170"/>
                    </a:cubicBezTo>
                    <a:cubicBezTo>
                      <a:pt x="17" y="170"/>
                      <a:pt x="74" y="134"/>
                      <a:pt x="90" y="111"/>
                    </a:cubicBezTo>
                  </a:path>
                </a:pathLst>
              </a:custGeom>
              <a:solidFill>
                <a:srgbClr val="151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50">
                <a:extLst>
                  <a:ext uri="{FF2B5EF4-FFF2-40B4-BE49-F238E27FC236}">
                    <a16:creationId xmlns:a16="http://schemas.microsoft.com/office/drawing/2014/main" id="{8A7BE605-1DA0-42D9-B50A-373CCED06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5725" y="2584450"/>
                <a:ext cx="131763" cy="133350"/>
              </a:xfrm>
              <a:custGeom>
                <a:avLst/>
                <a:gdLst>
                  <a:gd name="T0" fmla="*/ 54 w 54"/>
                  <a:gd name="T1" fmla="*/ 29 h 54"/>
                  <a:gd name="T2" fmla="*/ 33 w 54"/>
                  <a:gd name="T3" fmla="*/ 1 h 54"/>
                  <a:gd name="T4" fmla="*/ 23 w 54"/>
                  <a:gd name="T5" fmla="*/ 54 h 54"/>
                  <a:gd name="T6" fmla="*/ 54 w 54"/>
                  <a:gd name="T7" fmla="*/ 2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54">
                    <a:moveTo>
                      <a:pt x="54" y="29"/>
                    </a:moveTo>
                    <a:cubicBezTo>
                      <a:pt x="54" y="29"/>
                      <a:pt x="51" y="0"/>
                      <a:pt x="33" y="1"/>
                    </a:cubicBezTo>
                    <a:cubicBezTo>
                      <a:pt x="16" y="1"/>
                      <a:pt x="0" y="28"/>
                      <a:pt x="23" y="54"/>
                    </a:cubicBezTo>
                    <a:cubicBezTo>
                      <a:pt x="54" y="29"/>
                      <a:pt x="54" y="29"/>
                      <a:pt x="54" y="29"/>
                    </a:cubicBezTo>
                    <a:close/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51">
                <a:extLst>
                  <a:ext uri="{FF2B5EF4-FFF2-40B4-BE49-F238E27FC236}">
                    <a16:creationId xmlns:a16="http://schemas.microsoft.com/office/drawing/2014/main" id="{5000FBE7-B290-4571-9642-43F783C9D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130426"/>
                <a:ext cx="750888" cy="488950"/>
              </a:xfrm>
              <a:custGeom>
                <a:avLst/>
                <a:gdLst>
                  <a:gd name="T0" fmla="*/ 0 w 307"/>
                  <a:gd name="T1" fmla="*/ 73 h 200"/>
                  <a:gd name="T2" fmla="*/ 110 w 307"/>
                  <a:gd name="T3" fmla="*/ 164 h 200"/>
                  <a:gd name="T4" fmla="*/ 300 w 307"/>
                  <a:gd name="T5" fmla="*/ 197 h 200"/>
                  <a:gd name="T6" fmla="*/ 283 w 307"/>
                  <a:gd name="T7" fmla="*/ 117 h 200"/>
                  <a:gd name="T8" fmla="*/ 0 w 307"/>
                  <a:gd name="T9" fmla="*/ 7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200">
                    <a:moveTo>
                      <a:pt x="0" y="73"/>
                    </a:moveTo>
                    <a:cubicBezTo>
                      <a:pt x="0" y="73"/>
                      <a:pt x="51" y="140"/>
                      <a:pt x="110" y="164"/>
                    </a:cubicBezTo>
                    <a:cubicBezTo>
                      <a:pt x="168" y="188"/>
                      <a:pt x="226" y="200"/>
                      <a:pt x="300" y="197"/>
                    </a:cubicBezTo>
                    <a:cubicBezTo>
                      <a:pt x="300" y="197"/>
                      <a:pt x="307" y="160"/>
                      <a:pt x="283" y="117"/>
                    </a:cubicBezTo>
                    <a:cubicBezTo>
                      <a:pt x="259" y="73"/>
                      <a:pt x="173" y="0"/>
                      <a:pt x="0" y="73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52">
                <a:extLst>
                  <a:ext uri="{FF2B5EF4-FFF2-40B4-BE49-F238E27FC236}">
                    <a16:creationId xmlns:a16="http://schemas.microsoft.com/office/drawing/2014/main" id="{FDC7BA7F-7FD7-4672-9F52-6B37F38535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2050" y="2344738"/>
                <a:ext cx="225425" cy="261937"/>
              </a:xfrm>
              <a:custGeom>
                <a:avLst/>
                <a:gdLst>
                  <a:gd name="T0" fmla="*/ 32 w 92"/>
                  <a:gd name="T1" fmla="*/ 0 h 107"/>
                  <a:gd name="T2" fmla="*/ 20 w 92"/>
                  <a:gd name="T3" fmla="*/ 26 h 107"/>
                  <a:gd name="T4" fmla="*/ 5 w 92"/>
                  <a:gd name="T5" fmla="*/ 81 h 107"/>
                  <a:gd name="T6" fmla="*/ 53 w 92"/>
                  <a:gd name="T7" fmla="*/ 105 h 107"/>
                  <a:gd name="T8" fmla="*/ 92 w 92"/>
                  <a:gd name="T9" fmla="*/ 55 h 107"/>
                  <a:gd name="T10" fmla="*/ 32 w 92"/>
                  <a:gd name="T11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" h="107">
                    <a:moveTo>
                      <a:pt x="32" y="0"/>
                    </a:moveTo>
                    <a:cubicBezTo>
                      <a:pt x="32" y="0"/>
                      <a:pt x="18" y="7"/>
                      <a:pt x="20" y="26"/>
                    </a:cubicBezTo>
                    <a:cubicBezTo>
                      <a:pt x="22" y="45"/>
                      <a:pt x="0" y="62"/>
                      <a:pt x="5" y="81"/>
                    </a:cubicBezTo>
                    <a:cubicBezTo>
                      <a:pt x="10" y="100"/>
                      <a:pt x="27" y="107"/>
                      <a:pt x="53" y="105"/>
                    </a:cubicBezTo>
                    <a:cubicBezTo>
                      <a:pt x="53" y="105"/>
                      <a:pt x="63" y="78"/>
                      <a:pt x="92" y="55"/>
                    </a:cubicBezTo>
                    <a:cubicBezTo>
                      <a:pt x="92" y="55"/>
                      <a:pt x="52" y="24"/>
                      <a:pt x="32" y="0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53">
                <a:extLst>
                  <a:ext uri="{FF2B5EF4-FFF2-40B4-BE49-F238E27FC236}">
                    <a16:creationId xmlns:a16="http://schemas.microsoft.com/office/drawing/2014/main" id="{0AC8A281-9621-4998-B699-2329DF65B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3025" y="2328863"/>
                <a:ext cx="528638" cy="227012"/>
              </a:xfrm>
              <a:custGeom>
                <a:avLst/>
                <a:gdLst>
                  <a:gd name="T0" fmla="*/ 0 w 216"/>
                  <a:gd name="T1" fmla="*/ 3 h 93"/>
                  <a:gd name="T2" fmla="*/ 216 w 216"/>
                  <a:gd name="T3" fmla="*/ 86 h 93"/>
                  <a:gd name="T4" fmla="*/ 7 w 216"/>
                  <a:gd name="T5" fmla="*/ 0 h 93"/>
                  <a:gd name="T6" fmla="*/ 0 w 216"/>
                  <a:gd name="T7" fmla="*/ 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" h="93">
                    <a:moveTo>
                      <a:pt x="0" y="3"/>
                    </a:moveTo>
                    <a:cubicBezTo>
                      <a:pt x="0" y="3"/>
                      <a:pt x="50" y="93"/>
                      <a:pt x="216" y="86"/>
                    </a:cubicBezTo>
                    <a:cubicBezTo>
                      <a:pt x="216" y="86"/>
                      <a:pt x="58" y="12"/>
                      <a:pt x="7" y="0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54">
                <a:extLst>
                  <a:ext uri="{FF2B5EF4-FFF2-40B4-BE49-F238E27FC236}">
                    <a16:creationId xmlns:a16="http://schemas.microsoft.com/office/drawing/2014/main" id="{07932A34-7BD6-48ED-B3ED-ACE8431DB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7950" y="2297113"/>
                <a:ext cx="501650" cy="212725"/>
              </a:xfrm>
              <a:custGeom>
                <a:avLst/>
                <a:gdLst>
                  <a:gd name="T0" fmla="*/ 15 w 205"/>
                  <a:gd name="T1" fmla="*/ 0 h 87"/>
                  <a:gd name="T2" fmla="*/ 205 w 205"/>
                  <a:gd name="T3" fmla="*/ 87 h 87"/>
                  <a:gd name="T4" fmla="*/ 0 w 205"/>
                  <a:gd name="T5" fmla="*/ 7 h 87"/>
                  <a:gd name="T6" fmla="*/ 15 w 205"/>
                  <a:gd name="T7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5" h="87">
                    <a:moveTo>
                      <a:pt x="15" y="0"/>
                    </a:moveTo>
                    <a:cubicBezTo>
                      <a:pt x="15" y="0"/>
                      <a:pt x="130" y="1"/>
                      <a:pt x="205" y="87"/>
                    </a:cubicBezTo>
                    <a:cubicBezTo>
                      <a:pt x="205" y="87"/>
                      <a:pt x="93" y="21"/>
                      <a:pt x="0" y="7"/>
                    </a:cubicBezTo>
                    <a:cubicBezTo>
                      <a:pt x="15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55">
                <a:extLst>
                  <a:ext uri="{FF2B5EF4-FFF2-40B4-BE49-F238E27FC236}">
                    <a16:creationId xmlns:a16="http://schemas.microsoft.com/office/drawing/2014/main" id="{31CCF6D2-4BA2-414E-9C14-781A4453E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4150" y="2216151"/>
                <a:ext cx="458788" cy="288925"/>
              </a:xfrm>
              <a:custGeom>
                <a:avLst/>
                <a:gdLst>
                  <a:gd name="T0" fmla="*/ 0 w 188"/>
                  <a:gd name="T1" fmla="*/ 17 h 118"/>
                  <a:gd name="T2" fmla="*/ 98 w 188"/>
                  <a:gd name="T3" fmla="*/ 46 h 118"/>
                  <a:gd name="T4" fmla="*/ 188 w 188"/>
                  <a:gd name="T5" fmla="*/ 118 h 118"/>
                  <a:gd name="T6" fmla="*/ 0 w 188"/>
                  <a:gd name="T7" fmla="*/ 1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8" h="118">
                    <a:moveTo>
                      <a:pt x="0" y="17"/>
                    </a:moveTo>
                    <a:cubicBezTo>
                      <a:pt x="0" y="17"/>
                      <a:pt x="60" y="23"/>
                      <a:pt x="98" y="46"/>
                    </a:cubicBezTo>
                    <a:cubicBezTo>
                      <a:pt x="136" y="69"/>
                      <a:pt x="188" y="118"/>
                      <a:pt x="188" y="118"/>
                    </a:cubicBezTo>
                    <a:cubicBezTo>
                      <a:pt x="188" y="118"/>
                      <a:pt x="168" y="0"/>
                      <a:pt x="0" y="17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56">
                <a:extLst>
                  <a:ext uri="{FF2B5EF4-FFF2-40B4-BE49-F238E27FC236}">
                    <a16:creationId xmlns:a16="http://schemas.microsoft.com/office/drawing/2014/main" id="{E31E52CD-0985-4BF1-8EF8-9E981A42B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239963"/>
                <a:ext cx="239713" cy="122237"/>
              </a:xfrm>
              <a:custGeom>
                <a:avLst/>
                <a:gdLst>
                  <a:gd name="T0" fmla="*/ 0 w 98"/>
                  <a:gd name="T1" fmla="*/ 28 h 50"/>
                  <a:gd name="T2" fmla="*/ 19 w 98"/>
                  <a:gd name="T3" fmla="*/ 50 h 50"/>
                  <a:gd name="T4" fmla="*/ 41 w 98"/>
                  <a:gd name="T5" fmla="*/ 20 h 50"/>
                  <a:gd name="T6" fmla="*/ 98 w 98"/>
                  <a:gd name="T7" fmla="*/ 0 h 50"/>
                  <a:gd name="T8" fmla="*/ 0 w 98"/>
                  <a:gd name="T9" fmla="*/ 2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" h="50">
                    <a:moveTo>
                      <a:pt x="0" y="28"/>
                    </a:moveTo>
                    <a:cubicBezTo>
                      <a:pt x="0" y="28"/>
                      <a:pt x="7" y="37"/>
                      <a:pt x="19" y="50"/>
                    </a:cubicBezTo>
                    <a:cubicBezTo>
                      <a:pt x="20" y="48"/>
                      <a:pt x="34" y="25"/>
                      <a:pt x="41" y="20"/>
                    </a:cubicBezTo>
                    <a:cubicBezTo>
                      <a:pt x="49" y="16"/>
                      <a:pt x="96" y="0"/>
                      <a:pt x="98" y="0"/>
                    </a:cubicBezTo>
                    <a:cubicBezTo>
                      <a:pt x="69" y="4"/>
                      <a:pt x="36" y="12"/>
                      <a:pt x="0" y="28"/>
                    </a:cubicBezTo>
                    <a:close/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7">
                <a:extLst>
                  <a:ext uri="{FF2B5EF4-FFF2-40B4-BE49-F238E27FC236}">
                    <a16:creationId xmlns:a16="http://schemas.microsoft.com/office/drawing/2014/main" id="{61511739-7A99-4048-BAE0-D368829A5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688" y="2379663"/>
                <a:ext cx="87313" cy="149225"/>
              </a:xfrm>
              <a:custGeom>
                <a:avLst/>
                <a:gdLst>
                  <a:gd name="T0" fmla="*/ 13 w 36"/>
                  <a:gd name="T1" fmla="*/ 0 h 61"/>
                  <a:gd name="T2" fmla="*/ 12 w 36"/>
                  <a:gd name="T3" fmla="*/ 12 h 61"/>
                  <a:gd name="T4" fmla="*/ 0 w 36"/>
                  <a:gd name="T5" fmla="*/ 47 h 61"/>
                  <a:gd name="T6" fmla="*/ 22 w 36"/>
                  <a:gd name="T7" fmla="*/ 57 h 61"/>
                  <a:gd name="T8" fmla="*/ 13 w 36"/>
                  <a:gd name="T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61">
                    <a:moveTo>
                      <a:pt x="13" y="0"/>
                    </a:moveTo>
                    <a:cubicBezTo>
                      <a:pt x="12" y="3"/>
                      <a:pt x="11" y="7"/>
                      <a:pt x="12" y="12"/>
                    </a:cubicBezTo>
                    <a:cubicBezTo>
                      <a:pt x="13" y="25"/>
                      <a:pt x="5" y="36"/>
                      <a:pt x="0" y="47"/>
                    </a:cubicBezTo>
                    <a:cubicBezTo>
                      <a:pt x="2" y="50"/>
                      <a:pt x="9" y="61"/>
                      <a:pt x="22" y="57"/>
                    </a:cubicBezTo>
                    <a:cubicBezTo>
                      <a:pt x="36" y="52"/>
                      <a:pt x="34" y="17"/>
                      <a:pt x="13" y="0"/>
                    </a:cubicBezTo>
                    <a:close/>
                  </a:path>
                </a:pathLst>
              </a:custGeom>
              <a:solidFill>
                <a:srgbClr val="6061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58">
                <a:extLst>
                  <a:ext uri="{FF2B5EF4-FFF2-40B4-BE49-F238E27FC236}">
                    <a16:creationId xmlns:a16="http://schemas.microsoft.com/office/drawing/2014/main" id="{75F66175-9B6F-4E12-948A-9732558E29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2225" y="2546350"/>
                <a:ext cx="280988" cy="417512"/>
              </a:xfrm>
              <a:custGeom>
                <a:avLst/>
                <a:gdLst>
                  <a:gd name="T0" fmla="*/ 49 w 115"/>
                  <a:gd name="T1" fmla="*/ 70 h 171"/>
                  <a:gd name="T2" fmla="*/ 14 w 115"/>
                  <a:gd name="T3" fmla="*/ 21 h 171"/>
                  <a:gd name="T4" fmla="*/ 87 w 115"/>
                  <a:gd name="T5" fmla="*/ 12 h 171"/>
                  <a:gd name="T6" fmla="*/ 49 w 115"/>
                  <a:gd name="T7" fmla="*/ 70 h 171"/>
                  <a:gd name="T8" fmla="*/ 115 w 115"/>
                  <a:gd name="T9" fmla="*/ 8 h 171"/>
                  <a:gd name="T10" fmla="*/ 92 w 115"/>
                  <a:gd name="T11" fmla="*/ 0 h 171"/>
                  <a:gd name="T12" fmla="*/ 9 w 115"/>
                  <a:gd name="T13" fmla="*/ 0 h 171"/>
                  <a:gd name="T14" fmla="*/ 0 w 115"/>
                  <a:gd name="T15" fmla="*/ 23 h 171"/>
                  <a:gd name="T16" fmla="*/ 53 w 115"/>
                  <a:gd name="T17" fmla="*/ 106 h 171"/>
                  <a:gd name="T18" fmla="*/ 88 w 115"/>
                  <a:gd name="T19" fmla="*/ 171 h 171"/>
                  <a:gd name="T20" fmla="*/ 101 w 115"/>
                  <a:gd name="T21" fmla="*/ 166 h 171"/>
                  <a:gd name="T22" fmla="*/ 66 w 115"/>
                  <a:gd name="T23" fmla="*/ 101 h 171"/>
                  <a:gd name="T24" fmla="*/ 115 w 115"/>
                  <a:gd name="T25" fmla="*/ 8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171">
                    <a:moveTo>
                      <a:pt x="49" y="70"/>
                    </a:moveTo>
                    <a:cubicBezTo>
                      <a:pt x="42" y="70"/>
                      <a:pt x="22" y="35"/>
                      <a:pt x="14" y="21"/>
                    </a:cubicBezTo>
                    <a:cubicBezTo>
                      <a:pt x="87" y="12"/>
                      <a:pt x="87" y="12"/>
                      <a:pt x="87" y="12"/>
                    </a:cubicBezTo>
                    <a:cubicBezTo>
                      <a:pt x="77" y="32"/>
                      <a:pt x="56" y="71"/>
                      <a:pt x="49" y="70"/>
                    </a:cubicBezTo>
                    <a:close/>
                    <a:moveTo>
                      <a:pt x="115" y="8"/>
                    </a:moveTo>
                    <a:cubicBezTo>
                      <a:pt x="92" y="0"/>
                      <a:pt x="92" y="0"/>
                      <a:pt x="9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50" y="99"/>
                      <a:pt x="53" y="106"/>
                    </a:cubicBezTo>
                    <a:cubicBezTo>
                      <a:pt x="57" y="112"/>
                      <a:pt x="88" y="171"/>
                      <a:pt x="88" y="171"/>
                    </a:cubicBezTo>
                    <a:cubicBezTo>
                      <a:pt x="101" y="166"/>
                      <a:pt x="101" y="166"/>
                      <a:pt x="101" y="166"/>
                    </a:cubicBezTo>
                    <a:cubicBezTo>
                      <a:pt x="101" y="166"/>
                      <a:pt x="69" y="122"/>
                      <a:pt x="66" y="101"/>
                    </a:cubicBezTo>
                    <a:cubicBezTo>
                      <a:pt x="63" y="80"/>
                      <a:pt x="115" y="8"/>
                      <a:pt x="115" y="8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59">
                <a:extLst>
                  <a:ext uri="{FF2B5EF4-FFF2-40B4-BE49-F238E27FC236}">
                    <a16:creationId xmlns:a16="http://schemas.microsoft.com/office/drawing/2014/main" id="{96A721E4-60FC-4C5F-9BAB-BCA2897FF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48438" y="2601913"/>
                <a:ext cx="366713" cy="184150"/>
              </a:xfrm>
              <a:custGeom>
                <a:avLst/>
                <a:gdLst>
                  <a:gd name="T0" fmla="*/ 76 w 150"/>
                  <a:gd name="T1" fmla="*/ 23 h 75"/>
                  <a:gd name="T2" fmla="*/ 63 w 150"/>
                  <a:gd name="T3" fmla="*/ 13 h 75"/>
                  <a:gd name="T4" fmla="*/ 79 w 150"/>
                  <a:gd name="T5" fmla="*/ 15 h 75"/>
                  <a:gd name="T6" fmla="*/ 76 w 150"/>
                  <a:gd name="T7" fmla="*/ 23 h 75"/>
                  <a:gd name="T8" fmla="*/ 91 w 150"/>
                  <a:gd name="T9" fmla="*/ 9 h 75"/>
                  <a:gd name="T10" fmla="*/ 0 w 150"/>
                  <a:gd name="T11" fmla="*/ 0 h 75"/>
                  <a:gd name="T12" fmla="*/ 4 w 150"/>
                  <a:gd name="T13" fmla="*/ 10 h 75"/>
                  <a:gd name="T14" fmla="*/ 75 w 150"/>
                  <a:gd name="T15" fmla="*/ 29 h 75"/>
                  <a:gd name="T16" fmla="*/ 120 w 150"/>
                  <a:gd name="T17" fmla="*/ 75 h 75"/>
                  <a:gd name="T18" fmla="*/ 150 w 150"/>
                  <a:gd name="T19" fmla="*/ 29 h 75"/>
                  <a:gd name="T20" fmla="*/ 91 w 150"/>
                  <a:gd name="T21" fmla="*/ 9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0" h="75">
                    <a:moveTo>
                      <a:pt x="76" y="23"/>
                    </a:moveTo>
                    <a:cubicBezTo>
                      <a:pt x="76" y="23"/>
                      <a:pt x="61" y="14"/>
                      <a:pt x="63" y="13"/>
                    </a:cubicBezTo>
                    <a:cubicBezTo>
                      <a:pt x="66" y="12"/>
                      <a:pt x="79" y="15"/>
                      <a:pt x="79" y="15"/>
                    </a:cubicBezTo>
                    <a:cubicBezTo>
                      <a:pt x="74" y="16"/>
                      <a:pt x="76" y="23"/>
                      <a:pt x="76" y="23"/>
                    </a:cubicBezTo>
                    <a:close/>
                    <a:moveTo>
                      <a:pt x="91" y="9"/>
                    </a:moveTo>
                    <a:cubicBezTo>
                      <a:pt x="79" y="8"/>
                      <a:pt x="0" y="0"/>
                      <a:pt x="0" y="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5" y="29"/>
                      <a:pt x="75" y="29"/>
                      <a:pt x="75" y="29"/>
                    </a:cubicBezTo>
                    <a:cubicBezTo>
                      <a:pt x="83" y="38"/>
                      <a:pt x="120" y="75"/>
                      <a:pt x="120" y="75"/>
                    </a:cubicBezTo>
                    <a:cubicBezTo>
                      <a:pt x="140" y="64"/>
                      <a:pt x="150" y="29"/>
                      <a:pt x="150" y="29"/>
                    </a:cubicBezTo>
                    <a:cubicBezTo>
                      <a:pt x="149" y="26"/>
                      <a:pt x="104" y="11"/>
                      <a:pt x="91" y="9"/>
                    </a:cubicBezTo>
                    <a:close/>
                  </a:path>
                </a:pathLst>
              </a:custGeom>
              <a:solidFill>
                <a:srgbClr val="1F21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60">
                <a:extLst>
                  <a:ext uri="{FF2B5EF4-FFF2-40B4-BE49-F238E27FC236}">
                    <a16:creationId xmlns:a16="http://schemas.microsoft.com/office/drawing/2014/main" id="{65B2CFEB-18EC-424D-9942-ED8B71654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4175" y="2647950"/>
                <a:ext cx="161925" cy="112712"/>
              </a:xfrm>
              <a:custGeom>
                <a:avLst/>
                <a:gdLst>
                  <a:gd name="T0" fmla="*/ 12 w 66"/>
                  <a:gd name="T1" fmla="*/ 0 h 46"/>
                  <a:gd name="T2" fmla="*/ 64 w 66"/>
                  <a:gd name="T3" fmla="*/ 16 h 46"/>
                  <a:gd name="T4" fmla="*/ 49 w 66"/>
                  <a:gd name="T5" fmla="*/ 45 h 46"/>
                  <a:gd name="T6" fmla="*/ 12 w 66"/>
                  <a:gd name="T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" h="46">
                    <a:moveTo>
                      <a:pt x="12" y="0"/>
                    </a:moveTo>
                    <a:cubicBezTo>
                      <a:pt x="12" y="0"/>
                      <a:pt x="62" y="12"/>
                      <a:pt x="64" y="16"/>
                    </a:cubicBezTo>
                    <a:cubicBezTo>
                      <a:pt x="66" y="20"/>
                      <a:pt x="53" y="45"/>
                      <a:pt x="49" y="45"/>
                    </a:cubicBezTo>
                    <a:cubicBezTo>
                      <a:pt x="44" y="46"/>
                      <a:pt x="0" y="1"/>
                      <a:pt x="12" y="0"/>
                    </a:cubicBezTo>
                    <a:close/>
                  </a:path>
                </a:pathLst>
              </a:custGeom>
              <a:solidFill>
                <a:srgbClr val="6BC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61">
                <a:extLst>
                  <a:ext uri="{FF2B5EF4-FFF2-40B4-BE49-F238E27FC236}">
                    <a16:creationId xmlns:a16="http://schemas.microsoft.com/office/drawing/2014/main" id="{8752BC8E-41CF-4E0E-B43A-E66BBE448A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9100" y="2655888"/>
                <a:ext cx="55563" cy="36512"/>
              </a:xfrm>
              <a:custGeom>
                <a:avLst/>
                <a:gdLst>
                  <a:gd name="T0" fmla="*/ 6 w 23"/>
                  <a:gd name="T1" fmla="*/ 15 h 15"/>
                  <a:gd name="T2" fmla="*/ 23 w 23"/>
                  <a:gd name="T3" fmla="*/ 3 h 15"/>
                  <a:gd name="T4" fmla="*/ 10 w 23"/>
                  <a:gd name="T5" fmla="*/ 0 h 15"/>
                  <a:gd name="T6" fmla="*/ 0 w 23"/>
                  <a:gd name="T7" fmla="*/ 7 h 15"/>
                  <a:gd name="T8" fmla="*/ 6 w 23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6" y="15"/>
                    </a:moveTo>
                    <a:cubicBezTo>
                      <a:pt x="23" y="3"/>
                      <a:pt x="23" y="3"/>
                      <a:pt x="23" y="3"/>
                    </a:cubicBezTo>
                    <a:cubicBezTo>
                      <a:pt x="19" y="2"/>
                      <a:pt x="14" y="1"/>
                      <a:pt x="10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10"/>
                      <a:pt x="4" y="13"/>
                      <a:pt x="6" y="15"/>
                    </a:cubicBezTo>
                    <a:close/>
                  </a:path>
                </a:pathLst>
              </a:custGeom>
              <a:solidFill>
                <a:srgbClr val="90D4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62">
                <a:extLst>
                  <a:ext uri="{FF2B5EF4-FFF2-40B4-BE49-F238E27FC236}">
                    <a16:creationId xmlns:a16="http://schemas.microsoft.com/office/drawing/2014/main" id="{5C6657DA-082A-4A8B-84CB-10C43BFB2B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0850" y="2673350"/>
                <a:ext cx="85725" cy="58737"/>
              </a:xfrm>
              <a:custGeom>
                <a:avLst/>
                <a:gdLst>
                  <a:gd name="T0" fmla="*/ 24 w 35"/>
                  <a:gd name="T1" fmla="*/ 0 h 24"/>
                  <a:gd name="T2" fmla="*/ 0 w 35"/>
                  <a:gd name="T3" fmla="*/ 17 h 24"/>
                  <a:gd name="T4" fmla="*/ 8 w 35"/>
                  <a:gd name="T5" fmla="*/ 24 h 24"/>
                  <a:gd name="T6" fmla="*/ 35 w 35"/>
                  <a:gd name="T7" fmla="*/ 5 h 24"/>
                  <a:gd name="T8" fmla="*/ 24 w 35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24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3" y="19"/>
                      <a:pt x="5" y="22"/>
                      <a:pt x="8" y="24"/>
                    </a:cubicBezTo>
                    <a:cubicBezTo>
                      <a:pt x="35" y="5"/>
                      <a:pt x="35" y="5"/>
                      <a:pt x="35" y="5"/>
                    </a:cubicBezTo>
                    <a:cubicBezTo>
                      <a:pt x="33" y="3"/>
                      <a:pt x="29" y="2"/>
                      <a:pt x="24" y="0"/>
                    </a:cubicBezTo>
                    <a:close/>
                  </a:path>
                </a:pathLst>
              </a:custGeom>
              <a:solidFill>
                <a:srgbClr val="90D4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63">
                <a:extLst>
                  <a:ext uri="{FF2B5EF4-FFF2-40B4-BE49-F238E27FC236}">
                    <a16:creationId xmlns:a16="http://schemas.microsoft.com/office/drawing/2014/main" id="{E3007F5B-7547-4A73-A537-6057870692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713" y="2732088"/>
                <a:ext cx="31750" cy="26987"/>
              </a:xfrm>
              <a:custGeom>
                <a:avLst/>
                <a:gdLst>
                  <a:gd name="T0" fmla="*/ 0 w 13"/>
                  <a:gd name="T1" fmla="*/ 9 h 11"/>
                  <a:gd name="T2" fmla="*/ 4 w 13"/>
                  <a:gd name="T3" fmla="*/ 11 h 11"/>
                  <a:gd name="T4" fmla="*/ 13 w 13"/>
                  <a:gd name="T5" fmla="*/ 0 h 11"/>
                  <a:gd name="T6" fmla="*/ 0 w 13"/>
                  <a:gd name="T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1">
                    <a:moveTo>
                      <a:pt x="0" y="9"/>
                    </a:moveTo>
                    <a:cubicBezTo>
                      <a:pt x="2" y="11"/>
                      <a:pt x="3" y="11"/>
                      <a:pt x="4" y="11"/>
                    </a:cubicBezTo>
                    <a:cubicBezTo>
                      <a:pt x="6" y="11"/>
                      <a:pt x="10" y="6"/>
                      <a:pt x="13" y="0"/>
                    </a:cubicBezTo>
                    <a:cubicBezTo>
                      <a:pt x="0" y="9"/>
                      <a:pt x="0" y="9"/>
                      <a:pt x="0" y="9"/>
                    </a:cubicBezTo>
                    <a:close/>
                  </a:path>
                </a:pathLst>
              </a:custGeom>
              <a:solidFill>
                <a:srgbClr val="90D4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64">
                <a:extLst>
                  <a:ext uri="{FF2B5EF4-FFF2-40B4-BE49-F238E27FC236}">
                    <a16:creationId xmlns:a16="http://schemas.microsoft.com/office/drawing/2014/main" id="{66D210FB-1B79-4800-B82E-565D0844A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3654425"/>
                <a:ext cx="1095375" cy="549275"/>
              </a:xfrm>
              <a:custGeom>
                <a:avLst/>
                <a:gdLst>
                  <a:gd name="T0" fmla="*/ 122 w 448"/>
                  <a:gd name="T1" fmla="*/ 0 h 225"/>
                  <a:gd name="T2" fmla="*/ 0 w 448"/>
                  <a:gd name="T3" fmla="*/ 17 h 225"/>
                  <a:gd name="T4" fmla="*/ 301 w 448"/>
                  <a:gd name="T5" fmla="*/ 225 h 225"/>
                  <a:gd name="T6" fmla="*/ 448 w 448"/>
                  <a:gd name="T7" fmla="*/ 159 h 225"/>
                  <a:gd name="T8" fmla="*/ 122 w 448"/>
                  <a:gd name="T9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8" h="225">
                    <a:moveTo>
                      <a:pt x="122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19" y="90"/>
                      <a:pt x="268" y="209"/>
                      <a:pt x="301" y="225"/>
                    </a:cubicBezTo>
                    <a:cubicBezTo>
                      <a:pt x="324" y="218"/>
                      <a:pt x="406" y="192"/>
                      <a:pt x="448" y="159"/>
                    </a:cubicBezTo>
                    <a:cubicBezTo>
                      <a:pt x="409" y="113"/>
                      <a:pt x="122" y="0"/>
                      <a:pt x="122" y="0"/>
                    </a:cubicBezTo>
                    <a:close/>
                  </a:path>
                </a:pathLst>
              </a:custGeom>
              <a:solidFill>
                <a:srgbClr val="2D2C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65">
                <a:extLst>
                  <a:ext uri="{FF2B5EF4-FFF2-40B4-BE49-F238E27FC236}">
                    <a16:creationId xmlns:a16="http://schemas.microsoft.com/office/drawing/2014/main" id="{E88A92DB-58C8-4370-BAA1-16BB3E754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188" y="4043363"/>
                <a:ext cx="844550" cy="982662"/>
              </a:xfrm>
              <a:custGeom>
                <a:avLst/>
                <a:gdLst>
                  <a:gd name="T0" fmla="*/ 316 w 345"/>
                  <a:gd name="T1" fmla="*/ 3 h 402"/>
                  <a:gd name="T2" fmla="*/ 314 w 345"/>
                  <a:gd name="T3" fmla="*/ 0 h 402"/>
                  <a:gd name="T4" fmla="*/ 166 w 345"/>
                  <a:gd name="T5" fmla="*/ 66 h 402"/>
                  <a:gd name="T6" fmla="*/ 170 w 345"/>
                  <a:gd name="T7" fmla="*/ 67 h 402"/>
                  <a:gd name="T8" fmla="*/ 0 w 345"/>
                  <a:gd name="T9" fmla="*/ 384 h 402"/>
                  <a:gd name="T10" fmla="*/ 58 w 345"/>
                  <a:gd name="T11" fmla="*/ 402 h 402"/>
                  <a:gd name="T12" fmla="*/ 311 w 345"/>
                  <a:gd name="T13" fmla="*/ 105 h 402"/>
                  <a:gd name="T14" fmla="*/ 316 w 345"/>
                  <a:gd name="T15" fmla="*/ 3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5" h="402">
                    <a:moveTo>
                      <a:pt x="316" y="3"/>
                    </a:moveTo>
                    <a:cubicBezTo>
                      <a:pt x="315" y="2"/>
                      <a:pt x="315" y="1"/>
                      <a:pt x="314" y="0"/>
                    </a:cubicBezTo>
                    <a:cubicBezTo>
                      <a:pt x="271" y="33"/>
                      <a:pt x="189" y="59"/>
                      <a:pt x="166" y="66"/>
                    </a:cubicBezTo>
                    <a:cubicBezTo>
                      <a:pt x="169" y="67"/>
                      <a:pt x="170" y="67"/>
                      <a:pt x="170" y="67"/>
                    </a:cubicBezTo>
                    <a:cubicBezTo>
                      <a:pt x="114" y="165"/>
                      <a:pt x="0" y="384"/>
                      <a:pt x="0" y="384"/>
                    </a:cubicBezTo>
                    <a:cubicBezTo>
                      <a:pt x="58" y="402"/>
                      <a:pt x="58" y="402"/>
                      <a:pt x="58" y="402"/>
                    </a:cubicBezTo>
                    <a:cubicBezTo>
                      <a:pt x="58" y="402"/>
                      <a:pt x="291" y="142"/>
                      <a:pt x="311" y="105"/>
                    </a:cubicBezTo>
                    <a:cubicBezTo>
                      <a:pt x="328" y="74"/>
                      <a:pt x="345" y="47"/>
                      <a:pt x="316" y="3"/>
                    </a:cubicBezTo>
                    <a:close/>
                  </a:path>
                </a:pathLst>
              </a:custGeom>
              <a:solidFill>
                <a:srgbClr val="F3B7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66">
                <a:extLst>
                  <a:ext uri="{FF2B5EF4-FFF2-40B4-BE49-F238E27FC236}">
                    <a16:creationId xmlns:a16="http://schemas.microsoft.com/office/drawing/2014/main" id="{13916BD3-B99B-4F9C-909C-CEBAA47FB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100" y="4938713"/>
                <a:ext cx="552450" cy="327025"/>
              </a:xfrm>
              <a:custGeom>
                <a:avLst/>
                <a:gdLst>
                  <a:gd name="T0" fmla="*/ 32 w 226"/>
                  <a:gd name="T1" fmla="*/ 0 h 134"/>
                  <a:gd name="T2" fmla="*/ 12 w 226"/>
                  <a:gd name="T3" fmla="*/ 26 h 134"/>
                  <a:gd name="T4" fmla="*/ 1 w 226"/>
                  <a:gd name="T5" fmla="*/ 56 h 134"/>
                  <a:gd name="T6" fmla="*/ 26 w 226"/>
                  <a:gd name="T7" fmla="*/ 68 h 134"/>
                  <a:gd name="T8" fmla="*/ 114 w 226"/>
                  <a:gd name="T9" fmla="*/ 104 h 134"/>
                  <a:gd name="T10" fmla="*/ 225 w 226"/>
                  <a:gd name="T11" fmla="*/ 100 h 134"/>
                  <a:gd name="T12" fmla="*/ 210 w 226"/>
                  <a:gd name="T13" fmla="*/ 84 h 134"/>
                  <a:gd name="T14" fmla="*/ 142 w 226"/>
                  <a:gd name="T15" fmla="*/ 49 h 134"/>
                  <a:gd name="T16" fmla="*/ 102 w 226"/>
                  <a:gd name="T17" fmla="*/ 5 h 134"/>
                  <a:gd name="T18" fmla="*/ 61 w 226"/>
                  <a:gd name="T19" fmla="*/ 23 h 134"/>
                  <a:gd name="T20" fmla="*/ 32 w 226"/>
                  <a:gd name="T21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6" h="134">
                    <a:moveTo>
                      <a:pt x="32" y="0"/>
                    </a:moveTo>
                    <a:cubicBezTo>
                      <a:pt x="32" y="0"/>
                      <a:pt x="19" y="8"/>
                      <a:pt x="12" y="26"/>
                    </a:cubicBezTo>
                    <a:cubicBezTo>
                      <a:pt x="5" y="44"/>
                      <a:pt x="2" y="53"/>
                      <a:pt x="1" y="56"/>
                    </a:cubicBezTo>
                    <a:cubicBezTo>
                      <a:pt x="1" y="56"/>
                      <a:pt x="0" y="61"/>
                      <a:pt x="26" y="68"/>
                    </a:cubicBezTo>
                    <a:cubicBezTo>
                      <a:pt x="51" y="75"/>
                      <a:pt x="86" y="90"/>
                      <a:pt x="114" y="104"/>
                    </a:cubicBezTo>
                    <a:cubicBezTo>
                      <a:pt x="141" y="119"/>
                      <a:pt x="214" y="134"/>
                      <a:pt x="225" y="100"/>
                    </a:cubicBezTo>
                    <a:cubicBezTo>
                      <a:pt x="225" y="100"/>
                      <a:pt x="226" y="89"/>
                      <a:pt x="210" y="84"/>
                    </a:cubicBezTo>
                    <a:cubicBezTo>
                      <a:pt x="194" y="78"/>
                      <a:pt x="169" y="75"/>
                      <a:pt x="142" y="49"/>
                    </a:cubicBezTo>
                    <a:cubicBezTo>
                      <a:pt x="116" y="23"/>
                      <a:pt x="111" y="3"/>
                      <a:pt x="102" y="5"/>
                    </a:cubicBezTo>
                    <a:cubicBezTo>
                      <a:pt x="93" y="7"/>
                      <a:pt x="96" y="26"/>
                      <a:pt x="61" y="23"/>
                    </a:cubicBezTo>
                    <a:cubicBezTo>
                      <a:pt x="38" y="21"/>
                      <a:pt x="32" y="0"/>
                      <a:pt x="32" y="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67">
                <a:extLst>
                  <a:ext uri="{FF2B5EF4-FFF2-40B4-BE49-F238E27FC236}">
                    <a16:creationId xmlns:a16="http://schemas.microsoft.com/office/drawing/2014/main" id="{BEE3ACCC-9A48-4F95-A9F2-F6DD2A5058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7813" y="5075238"/>
                <a:ext cx="566738" cy="203200"/>
              </a:xfrm>
              <a:custGeom>
                <a:avLst/>
                <a:gdLst>
                  <a:gd name="T0" fmla="*/ 231 w 232"/>
                  <a:gd name="T1" fmla="*/ 44 h 83"/>
                  <a:gd name="T2" fmla="*/ 120 w 232"/>
                  <a:gd name="T3" fmla="*/ 48 h 83"/>
                  <a:gd name="T4" fmla="*/ 32 w 232"/>
                  <a:gd name="T5" fmla="*/ 12 h 83"/>
                  <a:gd name="T6" fmla="*/ 7 w 232"/>
                  <a:gd name="T7" fmla="*/ 0 h 83"/>
                  <a:gd name="T8" fmla="*/ 1 w 232"/>
                  <a:gd name="T9" fmla="*/ 12 h 83"/>
                  <a:gd name="T10" fmla="*/ 33 w 232"/>
                  <a:gd name="T11" fmla="*/ 36 h 83"/>
                  <a:gd name="T12" fmla="*/ 99 w 232"/>
                  <a:gd name="T13" fmla="*/ 53 h 83"/>
                  <a:gd name="T14" fmla="*/ 203 w 232"/>
                  <a:gd name="T15" fmla="*/ 74 h 83"/>
                  <a:gd name="T16" fmla="*/ 231 w 232"/>
                  <a:gd name="T17" fmla="*/ 44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2" h="83">
                    <a:moveTo>
                      <a:pt x="231" y="44"/>
                    </a:moveTo>
                    <a:cubicBezTo>
                      <a:pt x="220" y="78"/>
                      <a:pt x="147" y="63"/>
                      <a:pt x="120" y="48"/>
                    </a:cubicBezTo>
                    <a:cubicBezTo>
                      <a:pt x="92" y="34"/>
                      <a:pt x="57" y="19"/>
                      <a:pt x="32" y="12"/>
                    </a:cubicBezTo>
                    <a:cubicBezTo>
                      <a:pt x="6" y="5"/>
                      <a:pt x="7" y="0"/>
                      <a:pt x="7" y="0"/>
                    </a:cubicBezTo>
                    <a:cubicBezTo>
                      <a:pt x="7" y="0"/>
                      <a:pt x="1" y="10"/>
                      <a:pt x="1" y="12"/>
                    </a:cubicBezTo>
                    <a:cubicBezTo>
                      <a:pt x="0" y="15"/>
                      <a:pt x="4" y="27"/>
                      <a:pt x="33" y="36"/>
                    </a:cubicBezTo>
                    <a:cubicBezTo>
                      <a:pt x="62" y="44"/>
                      <a:pt x="74" y="43"/>
                      <a:pt x="99" y="53"/>
                    </a:cubicBezTo>
                    <a:cubicBezTo>
                      <a:pt x="124" y="63"/>
                      <a:pt x="170" y="83"/>
                      <a:pt x="203" y="74"/>
                    </a:cubicBezTo>
                    <a:cubicBezTo>
                      <a:pt x="230" y="67"/>
                      <a:pt x="232" y="54"/>
                      <a:pt x="231" y="44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68">
                <a:extLst>
                  <a:ext uri="{FF2B5EF4-FFF2-40B4-BE49-F238E27FC236}">
                    <a16:creationId xmlns:a16="http://schemas.microsoft.com/office/drawing/2014/main" id="{D407D952-5E58-4259-A7B7-555AD9D68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525" y="4945063"/>
                <a:ext cx="214313" cy="201612"/>
              </a:xfrm>
              <a:custGeom>
                <a:avLst/>
                <a:gdLst>
                  <a:gd name="T0" fmla="*/ 88 w 88"/>
                  <a:gd name="T1" fmla="*/ 71 h 82"/>
                  <a:gd name="T2" fmla="*/ 88 w 88"/>
                  <a:gd name="T3" fmla="*/ 71 h 82"/>
                  <a:gd name="T4" fmla="*/ 50 w 88"/>
                  <a:gd name="T5" fmla="*/ 46 h 82"/>
                  <a:gd name="T6" fmla="*/ 10 w 88"/>
                  <a:gd name="T7" fmla="*/ 2 h 82"/>
                  <a:gd name="T8" fmla="*/ 0 w 88"/>
                  <a:gd name="T9" fmla="*/ 12 h 82"/>
                  <a:gd name="T10" fmla="*/ 9 w 88"/>
                  <a:gd name="T11" fmla="*/ 27 h 82"/>
                  <a:gd name="T12" fmla="*/ 57 w 88"/>
                  <a:gd name="T13" fmla="*/ 73 h 82"/>
                  <a:gd name="T14" fmla="*/ 88 w 88"/>
                  <a:gd name="T15" fmla="*/ 7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82">
                    <a:moveTo>
                      <a:pt x="88" y="71"/>
                    </a:moveTo>
                    <a:cubicBezTo>
                      <a:pt x="88" y="71"/>
                      <a:pt x="88" y="71"/>
                      <a:pt x="88" y="71"/>
                    </a:cubicBezTo>
                    <a:cubicBezTo>
                      <a:pt x="77" y="66"/>
                      <a:pt x="64" y="59"/>
                      <a:pt x="50" y="46"/>
                    </a:cubicBezTo>
                    <a:cubicBezTo>
                      <a:pt x="24" y="20"/>
                      <a:pt x="19" y="0"/>
                      <a:pt x="10" y="2"/>
                    </a:cubicBezTo>
                    <a:cubicBezTo>
                      <a:pt x="6" y="3"/>
                      <a:pt x="4" y="7"/>
                      <a:pt x="0" y="12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19" y="40"/>
                      <a:pt x="30" y="64"/>
                      <a:pt x="57" y="73"/>
                    </a:cubicBezTo>
                    <a:cubicBezTo>
                      <a:pt x="84" y="82"/>
                      <a:pt x="88" y="71"/>
                      <a:pt x="88" y="71"/>
                    </a:cubicBezTo>
                    <a:close/>
                  </a:path>
                </a:pathLst>
              </a:custGeom>
              <a:solidFill>
                <a:srgbClr val="4C4D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69">
                <a:extLst>
                  <a:ext uri="{FF2B5EF4-FFF2-40B4-BE49-F238E27FC236}">
                    <a16:creationId xmlns:a16="http://schemas.microsoft.com/office/drawing/2014/main" id="{7BC87492-76FD-47A9-9634-85D14BE90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6575" y="4997450"/>
                <a:ext cx="19050" cy="22225"/>
              </a:xfrm>
              <a:custGeom>
                <a:avLst/>
                <a:gdLst>
                  <a:gd name="T0" fmla="*/ 8 w 8"/>
                  <a:gd name="T1" fmla="*/ 5 h 9"/>
                  <a:gd name="T2" fmla="*/ 3 w 8"/>
                  <a:gd name="T3" fmla="*/ 8 h 9"/>
                  <a:gd name="T4" fmla="*/ 1 w 8"/>
                  <a:gd name="T5" fmla="*/ 3 h 9"/>
                  <a:gd name="T6" fmla="*/ 5 w 8"/>
                  <a:gd name="T7" fmla="*/ 0 h 9"/>
                  <a:gd name="T8" fmla="*/ 8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8" y="5"/>
                    </a:moveTo>
                    <a:cubicBezTo>
                      <a:pt x="7" y="7"/>
                      <a:pt x="5" y="9"/>
                      <a:pt x="3" y="8"/>
                    </a:cubicBezTo>
                    <a:cubicBezTo>
                      <a:pt x="1" y="8"/>
                      <a:pt x="0" y="5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8" y="3"/>
                      <a:pt x="8" y="5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70">
                <a:extLst>
                  <a:ext uri="{FF2B5EF4-FFF2-40B4-BE49-F238E27FC236}">
                    <a16:creationId xmlns:a16="http://schemas.microsoft.com/office/drawing/2014/main" id="{783CA660-B072-41C6-8025-F7A870B64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8163" y="4979988"/>
                <a:ext cx="47625" cy="33337"/>
              </a:xfrm>
              <a:custGeom>
                <a:avLst/>
                <a:gdLst>
                  <a:gd name="T0" fmla="*/ 2 w 19"/>
                  <a:gd name="T1" fmla="*/ 9 h 14"/>
                  <a:gd name="T2" fmla="*/ 16 w 19"/>
                  <a:gd name="T3" fmla="*/ 1 h 14"/>
                  <a:gd name="T4" fmla="*/ 18 w 19"/>
                  <a:gd name="T5" fmla="*/ 4 h 14"/>
                  <a:gd name="T6" fmla="*/ 3 w 19"/>
                  <a:gd name="T7" fmla="*/ 14 h 14"/>
                  <a:gd name="T8" fmla="*/ 2 w 19"/>
                  <a:gd name="T9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4">
                    <a:moveTo>
                      <a:pt x="2" y="9"/>
                    </a:moveTo>
                    <a:cubicBezTo>
                      <a:pt x="2" y="9"/>
                      <a:pt x="13" y="6"/>
                      <a:pt x="16" y="1"/>
                    </a:cubicBezTo>
                    <a:cubicBezTo>
                      <a:pt x="16" y="1"/>
                      <a:pt x="19" y="0"/>
                      <a:pt x="18" y="4"/>
                    </a:cubicBezTo>
                    <a:cubicBezTo>
                      <a:pt x="18" y="4"/>
                      <a:pt x="15" y="12"/>
                      <a:pt x="3" y="14"/>
                    </a:cubicBezTo>
                    <a:cubicBezTo>
                      <a:pt x="3" y="14"/>
                      <a:pt x="0" y="13"/>
                      <a:pt x="2" y="9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71">
                <a:extLst>
                  <a:ext uri="{FF2B5EF4-FFF2-40B4-BE49-F238E27FC236}">
                    <a16:creationId xmlns:a16="http://schemas.microsoft.com/office/drawing/2014/main" id="{67BAD74E-CFAD-49C9-A4B2-068A31122D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088" y="5043488"/>
                <a:ext cx="19050" cy="19050"/>
              </a:xfrm>
              <a:custGeom>
                <a:avLst/>
                <a:gdLst>
                  <a:gd name="T0" fmla="*/ 7 w 8"/>
                  <a:gd name="T1" fmla="*/ 5 h 8"/>
                  <a:gd name="T2" fmla="*/ 3 w 8"/>
                  <a:gd name="T3" fmla="*/ 8 h 8"/>
                  <a:gd name="T4" fmla="*/ 0 w 8"/>
                  <a:gd name="T5" fmla="*/ 3 h 8"/>
                  <a:gd name="T6" fmla="*/ 5 w 8"/>
                  <a:gd name="T7" fmla="*/ 0 h 8"/>
                  <a:gd name="T8" fmla="*/ 7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7" y="5"/>
                    </a:moveTo>
                    <a:cubicBezTo>
                      <a:pt x="7" y="7"/>
                      <a:pt x="5" y="8"/>
                      <a:pt x="3" y="8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8" y="3"/>
                      <a:pt x="7" y="5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72">
                <a:extLst>
                  <a:ext uri="{FF2B5EF4-FFF2-40B4-BE49-F238E27FC236}">
                    <a16:creationId xmlns:a16="http://schemas.microsoft.com/office/drawing/2014/main" id="{BF8190B1-E84C-4648-BEF3-1053AE181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3088" y="5026025"/>
                <a:ext cx="46038" cy="34925"/>
              </a:xfrm>
              <a:custGeom>
                <a:avLst/>
                <a:gdLst>
                  <a:gd name="T0" fmla="*/ 2 w 19"/>
                  <a:gd name="T1" fmla="*/ 9 h 14"/>
                  <a:gd name="T2" fmla="*/ 16 w 19"/>
                  <a:gd name="T3" fmla="*/ 1 h 14"/>
                  <a:gd name="T4" fmla="*/ 19 w 19"/>
                  <a:gd name="T5" fmla="*/ 4 h 14"/>
                  <a:gd name="T6" fmla="*/ 4 w 19"/>
                  <a:gd name="T7" fmla="*/ 14 h 14"/>
                  <a:gd name="T8" fmla="*/ 2 w 19"/>
                  <a:gd name="T9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4">
                    <a:moveTo>
                      <a:pt x="2" y="9"/>
                    </a:moveTo>
                    <a:cubicBezTo>
                      <a:pt x="2" y="9"/>
                      <a:pt x="14" y="5"/>
                      <a:pt x="16" y="1"/>
                    </a:cubicBezTo>
                    <a:cubicBezTo>
                      <a:pt x="16" y="1"/>
                      <a:pt x="19" y="0"/>
                      <a:pt x="19" y="4"/>
                    </a:cubicBezTo>
                    <a:cubicBezTo>
                      <a:pt x="19" y="4"/>
                      <a:pt x="15" y="12"/>
                      <a:pt x="4" y="14"/>
                    </a:cubicBezTo>
                    <a:cubicBezTo>
                      <a:pt x="4" y="14"/>
                      <a:pt x="0" y="13"/>
                      <a:pt x="2" y="9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Oval 73">
                <a:extLst>
                  <a:ext uri="{FF2B5EF4-FFF2-40B4-BE49-F238E27FC236}">
                    <a16:creationId xmlns:a16="http://schemas.microsoft.com/office/drawing/2014/main" id="{A7136D80-1C1B-4451-B2F2-CF227FB35B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4363" y="5087938"/>
                <a:ext cx="17463" cy="19050"/>
              </a:xfrm>
              <a:prstGeom prst="ellipse">
                <a:avLst/>
              </a:pr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74">
                <a:extLst>
                  <a:ext uri="{FF2B5EF4-FFF2-40B4-BE49-F238E27FC236}">
                    <a16:creationId xmlns:a16="http://schemas.microsoft.com/office/drawing/2014/main" id="{A99EF33A-D424-43AC-83DB-5C1123A81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7538" y="5060950"/>
                <a:ext cx="38100" cy="42862"/>
              </a:xfrm>
              <a:custGeom>
                <a:avLst/>
                <a:gdLst>
                  <a:gd name="T0" fmla="*/ 1 w 16"/>
                  <a:gd name="T1" fmla="*/ 14 h 18"/>
                  <a:gd name="T2" fmla="*/ 13 w 16"/>
                  <a:gd name="T3" fmla="*/ 2 h 18"/>
                  <a:gd name="T4" fmla="*/ 16 w 16"/>
                  <a:gd name="T5" fmla="*/ 5 h 18"/>
                  <a:gd name="T6" fmla="*/ 3 w 16"/>
                  <a:gd name="T7" fmla="*/ 18 h 18"/>
                  <a:gd name="T8" fmla="*/ 1 w 16"/>
                  <a:gd name="T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8">
                    <a:moveTo>
                      <a:pt x="1" y="14"/>
                    </a:moveTo>
                    <a:cubicBezTo>
                      <a:pt x="1" y="14"/>
                      <a:pt x="11" y="7"/>
                      <a:pt x="13" y="2"/>
                    </a:cubicBezTo>
                    <a:cubicBezTo>
                      <a:pt x="13" y="2"/>
                      <a:pt x="15" y="0"/>
                      <a:pt x="16" y="5"/>
                    </a:cubicBezTo>
                    <a:cubicBezTo>
                      <a:pt x="16" y="5"/>
                      <a:pt x="14" y="13"/>
                      <a:pt x="3" y="18"/>
                    </a:cubicBezTo>
                    <a:cubicBezTo>
                      <a:pt x="3" y="18"/>
                      <a:pt x="0" y="18"/>
                      <a:pt x="1" y="14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75">
                <a:extLst>
                  <a:ext uri="{FF2B5EF4-FFF2-40B4-BE49-F238E27FC236}">
                    <a16:creationId xmlns:a16="http://schemas.microsoft.com/office/drawing/2014/main" id="{2E6AA20D-C95B-4421-B050-67F59E84B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888" y="4510088"/>
                <a:ext cx="750888" cy="1347787"/>
              </a:xfrm>
              <a:custGeom>
                <a:avLst/>
                <a:gdLst>
                  <a:gd name="T0" fmla="*/ 140 w 307"/>
                  <a:gd name="T1" fmla="*/ 47 h 551"/>
                  <a:gd name="T2" fmla="*/ 148 w 307"/>
                  <a:gd name="T3" fmla="*/ 79 h 551"/>
                  <a:gd name="T4" fmla="*/ 74 w 307"/>
                  <a:gd name="T5" fmla="*/ 307 h 551"/>
                  <a:gd name="T6" fmla="*/ 0 w 307"/>
                  <a:gd name="T7" fmla="*/ 521 h 551"/>
                  <a:gd name="T8" fmla="*/ 56 w 307"/>
                  <a:gd name="T9" fmla="*/ 551 h 551"/>
                  <a:gd name="T10" fmla="*/ 301 w 307"/>
                  <a:gd name="T11" fmla="*/ 69 h 551"/>
                  <a:gd name="T12" fmla="*/ 284 w 307"/>
                  <a:gd name="T13" fmla="*/ 0 h 551"/>
                  <a:gd name="T14" fmla="*/ 140 w 307"/>
                  <a:gd name="T15" fmla="*/ 47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7" h="551">
                    <a:moveTo>
                      <a:pt x="140" y="47"/>
                    </a:moveTo>
                    <a:cubicBezTo>
                      <a:pt x="149" y="62"/>
                      <a:pt x="152" y="73"/>
                      <a:pt x="148" y="79"/>
                    </a:cubicBezTo>
                    <a:cubicBezTo>
                      <a:pt x="88" y="178"/>
                      <a:pt x="88" y="250"/>
                      <a:pt x="74" y="307"/>
                    </a:cubicBezTo>
                    <a:cubicBezTo>
                      <a:pt x="60" y="364"/>
                      <a:pt x="0" y="521"/>
                      <a:pt x="0" y="521"/>
                    </a:cubicBezTo>
                    <a:cubicBezTo>
                      <a:pt x="56" y="551"/>
                      <a:pt x="56" y="551"/>
                      <a:pt x="56" y="551"/>
                    </a:cubicBezTo>
                    <a:cubicBezTo>
                      <a:pt x="56" y="551"/>
                      <a:pt x="245" y="186"/>
                      <a:pt x="301" y="69"/>
                    </a:cubicBezTo>
                    <a:cubicBezTo>
                      <a:pt x="307" y="54"/>
                      <a:pt x="296" y="29"/>
                      <a:pt x="284" y="0"/>
                    </a:cubicBezTo>
                    <a:cubicBezTo>
                      <a:pt x="242" y="30"/>
                      <a:pt x="176" y="43"/>
                      <a:pt x="140" y="47"/>
                    </a:cubicBezTo>
                    <a:close/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76">
                <a:extLst>
                  <a:ext uri="{FF2B5EF4-FFF2-40B4-BE49-F238E27FC236}">
                    <a16:creationId xmlns:a16="http://schemas.microsoft.com/office/drawing/2014/main" id="{45D5D2FF-127E-49A9-94F3-51E054A58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7250" y="3549650"/>
                <a:ext cx="1350963" cy="1074737"/>
              </a:xfrm>
              <a:custGeom>
                <a:avLst/>
                <a:gdLst>
                  <a:gd name="T0" fmla="*/ 408 w 552"/>
                  <a:gd name="T1" fmla="*/ 440 h 440"/>
                  <a:gd name="T2" fmla="*/ 552 w 552"/>
                  <a:gd name="T3" fmla="*/ 393 h 440"/>
                  <a:gd name="T4" fmla="*/ 290 w 552"/>
                  <a:gd name="T5" fmla="*/ 66 h 440"/>
                  <a:gd name="T6" fmla="*/ 61 w 552"/>
                  <a:gd name="T7" fmla="*/ 0 h 440"/>
                  <a:gd name="T8" fmla="*/ 72 w 552"/>
                  <a:gd name="T9" fmla="*/ 184 h 440"/>
                  <a:gd name="T10" fmla="*/ 164 w 552"/>
                  <a:gd name="T11" fmla="*/ 231 h 440"/>
                  <a:gd name="T12" fmla="*/ 408 w 552"/>
                  <a:gd name="T13" fmla="*/ 440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2" h="440">
                    <a:moveTo>
                      <a:pt x="408" y="440"/>
                    </a:moveTo>
                    <a:cubicBezTo>
                      <a:pt x="444" y="436"/>
                      <a:pt x="510" y="423"/>
                      <a:pt x="552" y="393"/>
                    </a:cubicBezTo>
                    <a:cubicBezTo>
                      <a:pt x="502" y="268"/>
                      <a:pt x="290" y="66"/>
                      <a:pt x="290" y="66"/>
                    </a:cubicBezTo>
                    <a:cubicBezTo>
                      <a:pt x="224" y="81"/>
                      <a:pt x="61" y="0"/>
                      <a:pt x="61" y="0"/>
                    </a:cubicBezTo>
                    <a:cubicBezTo>
                      <a:pt x="30" y="34"/>
                      <a:pt x="0" y="126"/>
                      <a:pt x="72" y="184"/>
                    </a:cubicBezTo>
                    <a:cubicBezTo>
                      <a:pt x="90" y="198"/>
                      <a:pt x="130" y="212"/>
                      <a:pt x="164" y="231"/>
                    </a:cubicBezTo>
                    <a:cubicBezTo>
                      <a:pt x="268" y="291"/>
                      <a:pt x="375" y="388"/>
                      <a:pt x="408" y="440"/>
                    </a:cubicBezTo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77">
                <a:extLst>
                  <a:ext uri="{FF2B5EF4-FFF2-40B4-BE49-F238E27FC236}">
                    <a16:creationId xmlns:a16="http://schemas.microsoft.com/office/drawing/2014/main" id="{51D7B23D-F446-4A30-ACFE-DD34ABF9B6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8113" y="5743575"/>
                <a:ext cx="571500" cy="447675"/>
              </a:xfrm>
              <a:custGeom>
                <a:avLst/>
                <a:gdLst>
                  <a:gd name="T0" fmla="*/ 48 w 234"/>
                  <a:gd name="T1" fmla="*/ 0 h 183"/>
                  <a:gd name="T2" fmla="*/ 21 w 234"/>
                  <a:gd name="T3" fmla="*/ 24 h 183"/>
                  <a:gd name="T4" fmla="*/ 2 w 234"/>
                  <a:gd name="T5" fmla="*/ 53 h 183"/>
                  <a:gd name="T6" fmla="*/ 26 w 234"/>
                  <a:gd name="T7" fmla="*/ 72 h 183"/>
                  <a:gd name="T8" fmla="*/ 112 w 234"/>
                  <a:gd name="T9" fmla="*/ 129 h 183"/>
                  <a:gd name="T10" fmla="*/ 232 w 234"/>
                  <a:gd name="T11" fmla="*/ 149 h 183"/>
                  <a:gd name="T12" fmla="*/ 219 w 234"/>
                  <a:gd name="T13" fmla="*/ 129 h 183"/>
                  <a:gd name="T14" fmla="*/ 154 w 234"/>
                  <a:gd name="T15" fmla="*/ 77 h 183"/>
                  <a:gd name="T16" fmla="*/ 121 w 234"/>
                  <a:gd name="T17" fmla="*/ 21 h 183"/>
                  <a:gd name="T18" fmla="*/ 73 w 234"/>
                  <a:gd name="T19" fmla="*/ 31 h 183"/>
                  <a:gd name="T20" fmla="*/ 48 w 234"/>
                  <a:gd name="T21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4" h="183">
                    <a:moveTo>
                      <a:pt x="48" y="0"/>
                    </a:moveTo>
                    <a:cubicBezTo>
                      <a:pt x="48" y="0"/>
                      <a:pt x="32" y="6"/>
                      <a:pt x="21" y="24"/>
                    </a:cubicBezTo>
                    <a:cubicBezTo>
                      <a:pt x="10" y="41"/>
                      <a:pt x="5" y="50"/>
                      <a:pt x="2" y="53"/>
                    </a:cubicBezTo>
                    <a:cubicBezTo>
                      <a:pt x="2" y="53"/>
                      <a:pt x="0" y="58"/>
                      <a:pt x="26" y="72"/>
                    </a:cubicBezTo>
                    <a:cubicBezTo>
                      <a:pt x="52" y="85"/>
                      <a:pt x="86" y="108"/>
                      <a:pt x="112" y="129"/>
                    </a:cubicBezTo>
                    <a:cubicBezTo>
                      <a:pt x="138" y="151"/>
                      <a:pt x="212" y="183"/>
                      <a:pt x="232" y="149"/>
                    </a:cubicBezTo>
                    <a:cubicBezTo>
                      <a:pt x="232" y="149"/>
                      <a:pt x="234" y="138"/>
                      <a:pt x="219" y="129"/>
                    </a:cubicBezTo>
                    <a:cubicBezTo>
                      <a:pt x="203" y="119"/>
                      <a:pt x="177" y="110"/>
                      <a:pt x="154" y="77"/>
                    </a:cubicBezTo>
                    <a:cubicBezTo>
                      <a:pt x="132" y="44"/>
                      <a:pt x="132" y="21"/>
                      <a:pt x="121" y="21"/>
                    </a:cubicBezTo>
                    <a:cubicBezTo>
                      <a:pt x="111" y="21"/>
                      <a:pt x="110" y="42"/>
                      <a:pt x="73" y="31"/>
                    </a:cubicBezTo>
                    <a:cubicBezTo>
                      <a:pt x="50" y="24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78">
                <a:extLst>
                  <a:ext uri="{FF2B5EF4-FFF2-40B4-BE49-F238E27FC236}">
                    <a16:creationId xmlns:a16="http://schemas.microsoft.com/office/drawing/2014/main" id="{587113E2-FE6A-4E65-8E3C-70FEFCA324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475" y="5872163"/>
                <a:ext cx="587375" cy="319087"/>
              </a:xfrm>
              <a:custGeom>
                <a:avLst/>
                <a:gdLst>
                  <a:gd name="T0" fmla="*/ 240 w 240"/>
                  <a:gd name="T1" fmla="*/ 96 h 130"/>
                  <a:gd name="T2" fmla="*/ 120 w 240"/>
                  <a:gd name="T3" fmla="*/ 76 h 130"/>
                  <a:gd name="T4" fmla="*/ 34 w 240"/>
                  <a:gd name="T5" fmla="*/ 19 h 130"/>
                  <a:gd name="T6" fmla="*/ 10 w 240"/>
                  <a:gd name="T7" fmla="*/ 0 h 130"/>
                  <a:gd name="T8" fmla="*/ 1 w 240"/>
                  <a:gd name="T9" fmla="*/ 12 h 130"/>
                  <a:gd name="T10" fmla="*/ 30 w 240"/>
                  <a:gd name="T11" fmla="*/ 44 h 130"/>
                  <a:gd name="T12" fmla="*/ 97 w 240"/>
                  <a:gd name="T13" fmla="*/ 77 h 130"/>
                  <a:gd name="T14" fmla="*/ 203 w 240"/>
                  <a:gd name="T15" fmla="*/ 123 h 130"/>
                  <a:gd name="T16" fmla="*/ 240 w 240"/>
                  <a:gd name="T17" fmla="*/ 9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130">
                    <a:moveTo>
                      <a:pt x="240" y="96"/>
                    </a:moveTo>
                    <a:cubicBezTo>
                      <a:pt x="220" y="130"/>
                      <a:pt x="146" y="98"/>
                      <a:pt x="120" y="76"/>
                    </a:cubicBezTo>
                    <a:cubicBezTo>
                      <a:pt x="94" y="55"/>
                      <a:pt x="60" y="32"/>
                      <a:pt x="34" y="19"/>
                    </a:cubicBezTo>
                    <a:cubicBezTo>
                      <a:pt x="8" y="5"/>
                      <a:pt x="10" y="0"/>
                      <a:pt x="10" y="0"/>
                    </a:cubicBezTo>
                    <a:cubicBezTo>
                      <a:pt x="10" y="0"/>
                      <a:pt x="2" y="10"/>
                      <a:pt x="1" y="12"/>
                    </a:cubicBezTo>
                    <a:cubicBezTo>
                      <a:pt x="0" y="14"/>
                      <a:pt x="1" y="29"/>
                      <a:pt x="30" y="44"/>
                    </a:cubicBezTo>
                    <a:cubicBezTo>
                      <a:pt x="59" y="59"/>
                      <a:pt x="73" y="61"/>
                      <a:pt x="97" y="77"/>
                    </a:cubicBezTo>
                    <a:cubicBezTo>
                      <a:pt x="121" y="93"/>
                      <a:pt x="166" y="124"/>
                      <a:pt x="203" y="123"/>
                    </a:cubicBezTo>
                    <a:cubicBezTo>
                      <a:pt x="233" y="121"/>
                      <a:pt x="238" y="107"/>
                      <a:pt x="240" y="96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79">
                <a:extLst>
                  <a:ext uri="{FF2B5EF4-FFF2-40B4-BE49-F238E27FC236}">
                    <a16:creationId xmlns:a16="http://schemas.microsoft.com/office/drawing/2014/main" id="{F2AA5468-747F-4193-BD57-5C61377F3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4813" y="5794375"/>
                <a:ext cx="195263" cy="247650"/>
              </a:xfrm>
              <a:custGeom>
                <a:avLst/>
                <a:gdLst>
                  <a:gd name="T0" fmla="*/ 80 w 80"/>
                  <a:gd name="T1" fmla="*/ 91 h 101"/>
                  <a:gd name="T2" fmla="*/ 80 w 80"/>
                  <a:gd name="T3" fmla="*/ 91 h 101"/>
                  <a:gd name="T4" fmla="*/ 45 w 80"/>
                  <a:gd name="T5" fmla="*/ 56 h 101"/>
                  <a:gd name="T6" fmla="*/ 12 w 80"/>
                  <a:gd name="T7" fmla="*/ 0 h 101"/>
                  <a:gd name="T8" fmla="*/ 0 w 80"/>
                  <a:gd name="T9" fmla="*/ 9 h 101"/>
                  <a:gd name="T10" fmla="*/ 6 w 80"/>
                  <a:gd name="T11" fmla="*/ 27 h 101"/>
                  <a:gd name="T12" fmla="*/ 47 w 80"/>
                  <a:gd name="T13" fmla="*/ 86 h 101"/>
                  <a:gd name="T14" fmla="*/ 80 w 80"/>
                  <a:gd name="T15" fmla="*/ 9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101">
                    <a:moveTo>
                      <a:pt x="80" y="91"/>
                    </a:moveTo>
                    <a:cubicBezTo>
                      <a:pt x="80" y="91"/>
                      <a:pt x="80" y="91"/>
                      <a:pt x="80" y="91"/>
                    </a:cubicBezTo>
                    <a:cubicBezTo>
                      <a:pt x="69" y="83"/>
                      <a:pt x="57" y="73"/>
                      <a:pt x="45" y="56"/>
                    </a:cubicBezTo>
                    <a:cubicBezTo>
                      <a:pt x="23" y="23"/>
                      <a:pt x="23" y="0"/>
                      <a:pt x="12" y="0"/>
                    </a:cubicBezTo>
                    <a:cubicBezTo>
                      <a:pt x="8" y="0"/>
                      <a:pt x="5" y="4"/>
                      <a:pt x="0" y="9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13" y="43"/>
                      <a:pt x="20" y="70"/>
                      <a:pt x="47" y="86"/>
                    </a:cubicBezTo>
                    <a:cubicBezTo>
                      <a:pt x="74" y="101"/>
                      <a:pt x="80" y="91"/>
                      <a:pt x="80" y="91"/>
                    </a:cubicBezTo>
                    <a:close/>
                  </a:path>
                </a:pathLst>
              </a:custGeom>
              <a:solidFill>
                <a:srgbClr val="4C4D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80">
                <a:extLst>
                  <a:ext uri="{FF2B5EF4-FFF2-40B4-BE49-F238E27FC236}">
                    <a16:creationId xmlns:a16="http://schemas.microsoft.com/office/drawing/2014/main" id="{2764DF5E-AD30-403C-A5D8-FABD16937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5925" y="5845175"/>
                <a:ext cx="22225" cy="22225"/>
              </a:xfrm>
              <a:custGeom>
                <a:avLst/>
                <a:gdLst>
                  <a:gd name="T0" fmla="*/ 8 w 9"/>
                  <a:gd name="T1" fmla="*/ 6 h 9"/>
                  <a:gd name="T2" fmla="*/ 3 w 9"/>
                  <a:gd name="T3" fmla="*/ 8 h 9"/>
                  <a:gd name="T4" fmla="*/ 1 w 9"/>
                  <a:gd name="T5" fmla="*/ 3 h 9"/>
                  <a:gd name="T6" fmla="*/ 6 w 9"/>
                  <a:gd name="T7" fmla="*/ 1 h 9"/>
                  <a:gd name="T8" fmla="*/ 8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6"/>
                    </a:moveTo>
                    <a:cubicBezTo>
                      <a:pt x="7" y="8"/>
                      <a:pt x="5" y="9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4"/>
                      <a:pt x="8" y="6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81">
                <a:extLst>
                  <a:ext uri="{FF2B5EF4-FFF2-40B4-BE49-F238E27FC236}">
                    <a16:creationId xmlns:a16="http://schemas.microsoft.com/office/drawing/2014/main" id="{189198CB-9DA6-4117-9C7E-78CCB7D2E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5925" y="5835650"/>
                <a:ext cx="57150" cy="30162"/>
              </a:xfrm>
              <a:custGeom>
                <a:avLst/>
                <a:gdLst>
                  <a:gd name="T0" fmla="*/ 3 w 23"/>
                  <a:gd name="T1" fmla="*/ 6 h 12"/>
                  <a:gd name="T2" fmla="*/ 20 w 23"/>
                  <a:gd name="T3" fmla="*/ 0 h 12"/>
                  <a:gd name="T4" fmla="*/ 22 w 23"/>
                  <a:gd name="T5" fmla="*/ 5 h 12"/>
                  <a:gd name="T6" fmla="*/ 4 w 23"/>
                  <a:gd name="T7" fmla="*/ 12 h 12"/>
                  <a:gd name="T8" fmla="*/ 3 w 23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2">
                    <a:moveTo>
                      <a:pt x="3" y="6"/>
                    </a:moveTo>
                    <a:cubicBezTo>
                      <a:pt x="3" y="6"/>
                      <a:pt x="16" y="5"/>
                      <a:pt x="20" y="0"/>
                    </a:cubicBezTo>
                    <a:cubicBezTo>
                      <a:pt x="20" y="0"/>
                      <a:pt x="23" y="0"/>
                      <a:pt x="22" y="5"/>
                    </a:cubicBezTo>
                    <a:cubicBezTo>
                      <a:pt x="22" y="5"/>
                      <a:pt x="17" y="12"/>
                      <a:pt x="4" y="12"/>
                    </a:cubicBezTo>
                    <a:cubicBezTo>
                      <a:pt x="4" y="12"/>
                      <a:pt x="0" y="10"/>
                      <a:pt x="3" y="6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82">
                <a:extLst>
                  <a:ext uri="{FF2B5EF4-FFF2-40B4-BE49-F238E27FC236}">
                    <a16:creationId xmlns:a16="http://schemas.microsoft.com/office/drawing/2014/main" id="{AF08C6DF-E323-4D27-9E9B-9B71EFA7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2913" y="5902325"/>
                <a:ext cx="25400" cy="23812"/>
              </a:xfrm>
              <a:custGeom>
                <a:avLst/>
                <a:gdLst>
                  <a:gd name="T0" fmla="*/ 8 w 10"/>
                  <a:gd name="T1" fmla="*/ 6 h 10"/>
                  <a:gd name="T2" fmla="*/ 3 w 10"/>
                  <a:gd name="T3" fmla="*/ 9 h 10"/>
                  <a:gd name="T4" fmla="*/ 1 w 10"/>
                  <a:gd name="T5" fmla="*/ 3 h 10"/>
                  <a:gd name="T6" fmla="*/ 7 w 10"/>
                  <a:gd name="T7" fmla="*/ 1 h 10"/>
                  <a:gd name="T8" fmla="*/ 8 w 10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8" y="6"/>
                    </a:moveTo>
                    <a:cubicBezTo>
                      <a:pt x="7" y="9"/>
                      <a:pt x="5" y="10"/>
                      <a:pt x="3" y="9"/>
                    </a:cubicBezTo>
                    <a:cubicBezTo>
                      <a:pt x="1" y="8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ubicBezTo>
                      <a:pt x="9" y="2"/>
                      <a:pt x="10" y="4"/>
                      <a:pt x="8" y="6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83">
                <a:extLst>
                  <a:ext uri="{FF2B5EF4-FFF2-40B4-BE49-F238E27FC236}">
                    <a16:creationId xmlns:a16="http://schemas.microsoft.com/office/drawing/2014/main" id="{9472F27D-1B65-420D-8BA9-70909B25A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6088" y="5892800"/>
                <a:ext cx="55563" cy="28575"/>
              </a:xfrm>
              <a:custGeom>
                <a:avLst/>
                <a:gdLst>
                  <a:gd name="T0" fmla="*/ 3 w 23"/>
                  <a:gd name="T1" fmla="*/ 6 h 12"/>
                  <a:gd name="T2" fmla="*/ 20 w 23"/>
                  <a:gd name="T3" fmla="*/ 0 h 12"/>
                  <a:gd name="T4" fmla="*/ 21 w 23"/>
                  <a:gd name="T5" fmla="*/ 5 h 12"/>
                  <a:gd name="T6" fmla="*/ 3 w 23"/>
                  <a:gd name="T7" fmla="*/ 12 h 12"/>
                  <a:gd name="T8" fmla="*/ 3 w 23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2">
                    <a:moveTo>
                      <a:pt x="3" y="6"/>
                    </a:moveTo>
                    <a:cubicBezTo>
                      <a:pt x="3" y="6"/>
                      <a:pt x="16" y="5"/>
                      <a:pt x="20" y="0"/>
                    </a:cubicBezTo>
                    <a:cubicBezTo>
                      <a:pt x="20" y="0"/>
                      <a:pt x="23" y="0"/>
                      <a:pt x="21" y="5"/>
                    </a:cubicBezTo>
                    <a:cubicBezTo>
                      <a:pt x="21" y="5"/>
                      <a:pt x="16" y="12"/>
                      <a:pt x="3" y="12"/>
                    </a:cubicBezTo>
                    <a:cubicBezTo>
                      <a:pt x="3" y="12"/>
                      <a:pt x="0" y="10"/>
                      <a:pt x="3" y="6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84">
                <a:extLst>
                  <a:ext uri="{FF2B5EF4-FFF2-40B4-BE49-F238E27FC236}">
                    <a16:creationId xmlns:a16="http://schemas.microsoft.com/office/drawing/2014/main" id="{CD3FD140-4274-4734-979D-7A9CEB108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7838" y="5957888"/>
                <a:ext cx="22225" cy="22225"/>
              </a:xfrm>
              <a:custGeom>
                <a:avLst/>
                <a:gdLst>
                  <a:gd name="T0" fmla="*/ 9 w 9"/>
                  <a:gd name="T1" fmla="*/ 6 h 9"/>
                  <a:gd name="T2" fmla="*/ 4 w 9"/>
                  <a:gd name="T3" fmla="*/ 9 h 9"/>
                  <a:gd name="T4" fmla="*/ 1 w 9"/>
                  <a:gd name="T5" fmla="*/ 4 h 9"/>
                  <a:gd name="T6" fmla="*/ 6 w 9"/>
                  <a:gd name="T7" fmla="*/ 1 h 9"/>
                  <a:gd name="T8" fmla="*/ 9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6"/>
                    </a:moveTo>
                    <a:cubicBezTo>
                      <a:pt x="8" y="8"/>
                      <a:pt x="6" y="9"/>
                      <a:pt x="4" y="9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2"/>
                      <a:pt x="4" y="0"/>
                      <a:pt x="6" y="1"/>
                    </a:cubicBezTo>
                    <a:cubicBezTo>
                      <a:pt x="8" y="1"/>
                      <a:pt x="9" y="3"/>
                      <a:pt x="9" y="6"/>
                    </a:cubicBezTo>
                    <a:close/>
                  </a:path>
                </a:pathLst>
              </a:custGeom>
              <a:solidFill>
                <a:srgbClr val="201D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85">
                <a:extLst>
                  <a:ext uri="{FF2B5EF4-FFF2-40B4-BE49-F238E27FC236}">
                    <a16:creationId xmlns:a16="http://schemas.microsoft.com/office/drawing/2014/main" id="{DFCE9C54-BB4F-4715-B7B5-5BF184D7C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1013" y="5938838"/>
                <a:ext cx="47625" cy="39687"/>
              </a:xfrm>
              <a:custGeom>
                <a:avLst/>
                <a:gdLst>
                  <a:gd name="T0" fmla="*/ 2 w 20"/>
                  <a:gd name="T1" fmla="*/ 11 h 16"/>
                  <a:gd name="T2" fmla="*/ 17 w 20"/>
                  <a:gd name="T3" fmla="*/ 1 h 16"/>
                  <a:gd name="T4" fmla="*/ 20 w 20"/>
                  <a:gd name="T5" fmla="*/ 5 h 16"/>
                  <a:gd name="T6" fmla="*/ 4 w 20"/>
                  <a:gd name="T7" fmla="*/ 16 h 16"/>
                  <a:gd name="T8" fmla="*/ 2 w 20"/>
                  <a:gd name="T9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6">
                    <a:moveTo>
                      <a:pt x="2" y="11"/>
                    </a:moveTo>
                    <a:cubicBezTo>
                      <a:pt x="2" y="11"/>
                      <a:pt x="15" y="6"/>
                      <a:pt x="17" y="1"/>
                    </a:cubicBezTo>
                    <a:cubicBezTo>
                      <a:pt x="17" y="1"/>
                      <a:pt x="20" y="0"/>
                      <a:pt x="20" y="5"/>
                    </a:cubicBezTo>
                    <a:cubicBezTo>
                      <a:pt x="20" y="5"/>
                      <a:pt x="17" y="13"/>
                      <a:pt x="4" y="16"/>
                    </a:cubicBezTo>
                    <a:cubicBezTo>
                      <a:pt x="4" y="16"/>
                      <a:pt x="0" y="15"/>
                      <a:pt x="2" y="11"/>
                    </a:cubicBezTo>
                    <a:close/>
                  </a:path>
                </a:pathLst>
              </a:custGeom>
              <a:solidFill>
                <a:srgbClr val="F3E9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Freeform 86">
                <a:extLst>
                  <a:ext uri="{FF2B5EF4-FFF2-40B4-BE49-F238E27FC236}">
                    <a16:creationId xmlns:a16="http://schemas.microsoft.com/office/drawing/2014/main" id="{A416F68A-1D0A-47E1-A79F-547D7A8D8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7900" y="2778125"/>
                <a:ext cx="1646238" cy="976312"/>
              </a:xfrm>
              <a:custGeom>
                <a:avLst/>
                <a:gdLst>
                  <a:gd name="T0" fmla="*/ 638 w 673"/>
                  <a:gd name="T1" fmla="*/ 0 h 399"/>
                  <a:gd name="T2" fmla="*/ 298 w 673"/>
                  <a:gd name="T3" fmla="*/ 40 h 399"/>
                  <a:gd name="T4" fmla="*/ 0 w 673"/>
                  <a:gd name="T5" fmla="*/ 315 h 399"/>
                  <a:gd name="T6" fmla="*/ 228 w 673"/>
                  <a:gd name="T7" fmla="*/ 381 h 399"/>
                  <a:gd name="T8" fmla="*/ 318 w 673"/>
                  <a:gd name="T9" fmla="*/ 293 h 399"/>
                  <a:gd name="T10" fmla="*/ 673 w 673"/>
                  <a:gd name="T11" fmla="*/ 95 h 399"/>
                  <a:gd name="T12" fmla="*/ 638 w 673"/>
                  <a:gd name="T13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3" h="399">
                    <a:moveTo>
                      <a:pt x="638" y="0"/>
                    </a:moveTo>
                    <a:cubicBezTo>
                      <a:pt x="638" y="0"/>
                      <a:pt x="406" y="8"/>
                      <a:pt x="298" y="40"/>
                    </a:cubicBezTo>
                    <a:cubicBezTo>
                      <a:pt x="163" y="80"/>
                      <a:pt x="18" y="175"/>
                      <a:pt x="0" y="315"/>
                    </a:cubicBezTo>
                    <a:cubicBezTo>
                      <a:pt x="0" y="315"/>
                      <a:pt x="86" y="399"/>
                      <a:pt x="228" y="381"/>
                    </a:cubicBezTo>
                    <a:cubicBezTo>
                      <a:pt x="228" y="381"/>
                      <a:pt x="246" y="330"/>
                      <a:pt x="318" y="293"/>
                    </a:cubicBezTo>
                    <a:cubicBezTo>
                      <a:pt x="401" y="251"/>
                      <a:pt x="621" y="274"/>
                      <a:pt x="673" y="95"/>
                    </a:cubicBezTo>
                    <a:cubicBezTo>
                      <a:pt x="638" y="0"/>
                      <a:pt x="638" y="0"/>
                      <a:pt x="638" y="0"/>
                    </a:cubicBezTo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Freeform 87">
                <a:extLst>
                  <a:ext uri="{FF2B5EF4-FFF2-40B4-BE49-F238E27FC236}">
                    <a16:creationId xmlns:a16="http://schemas.microsoft.com/office/drawing/2014/main" id="{D3045E62-D7E5-4CF3-8D4F-E796AFA8E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475" y="3549650"/>
                <a:ext cx="34925" cy="25400"/>
              </a:xfrm>
              <a:custGeom>
                <a:avLst/>
                <a:gdLst>
                  <a:gd name="T0" fmla="*/ 14 w 14"/>
                  <a:gd name="T1" fmla="*/ 11 h 11"/>
                  <a:gd name="T2" fmla="*/ 0 w 14"/>
                  <a:gd name="T3" fmla="*/ 0 h 11"/>
                  <a:gd name="T4" fmla="*/ 0 w 14"/>
                  <a:gd name="T5" fmla="*/ 0 h 11"/>
                  <a:gd name="T6" fmla="*/ 14 w 14"/>
                  <a:gd name="T7" fmla="*/ 11 h 11"/>
                  <a:gd name="T8" fmla="*/ 14 w 14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1">
                    <a:moveTo>
                      <a:pt x="14" y="11"/>
                    </a:moveTo>
                    <a:cubicBezTo>
                      <a:pt x="5" y="4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5" y="4"/>
                      <a:pt x="14" y="11"/>
                    </a:cubicBezTo>
                    <a:cubicBezTo>
                      <a:pt x="14" y="11"/>
                      <a:pt x="14" y="11"/>
                      <a:pt x="14" y="11"/>
                    </a:cubicBezTo>
                  </a:path>
                </a:pathLst>
              </a:custGeom>
              <a:solidFill>
                <a:srgbClr val="4C4C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88">
                <a:extLst>
                  <a:ext uri="{FF2B5EF4-FFF2-40B4-BE49-F238E27FC236}">
                    <a16:creationId xmlns:a16="http://schemas.microsoft.com/office/drawing/2014/main" id="{B46FFF2F-FAC6-4668-A1A0-8236F9E7B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6988" y="2778125"/>
                <a:ext cx="12700" cy="30162"/>
              </a:xfrm>
              <a:custGeom>
                <a:avLst/>
                <a:gdLst>
                  <a:gd name="T0" fmla="*/ 8 w 8"/>
                  <a:gd name="T1" fmla="*/ 19 h 19"/>
                  <a:gd name="T2" fmla="*/ 0 w 8"/>
                  <a:gd name="T3" fmla="*/ 0 h 19"/>
                  <a:gd name="T4" fmla="*/ 8 w 8"/>
                  <a:gd name="T5" fmla="*/ 19 h 19"/>
                  <a:gd name="T6" fmla="*/ 8 w 8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9">
                    <a:moveTo>
                      <a:pt x="8" y="19"/>
                    </a:moveTo>
                    <a:lnTo>
                      <a:pt x="0" y="0"/>
                    </a:lnTo>
                    <a:lnTo>
                      <a:pt x="8" y="19"/>
                    </a:lnTo>
                    <a:lnTo>
                      <a:pt x="8" y="19"/>
                    </a:lnTo>
                    <a:close/>
                  </a:path>
                </a:pathLst>
              </a:custGeom>
              <a:solidFill>
                <a:srgbClr val="FAC9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89">
                <a:extLst>
                  <a:ext uri="{FF2B5EF4-FFF2-40B4-BE49-F238E27FC236}">
                    <a16:creationId xmlns:a16="http://schemas.microsoft.com/office/drawing/2014/main" id="{4F7AF409-A095-47EE-8AC6-0505EB87B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6988" y="2778125"/>
                <a:ext cx="12700" cy="30162"/>
              </a:xfrm>
              <a:custGeom>
                <a:avLst/>
                <a:gdLst>
                  <a:gd name="T0" fmla="*/ 8 w 8"/>
                  <a:gd name="T1" fmla="*/ 19 h 19"/>
                  <a:gd name="T2" fmla="*/ 0 w 8"/>
                  <a:gd name="T3" fmla="*/ 0 h 19"/>
                  <a:gd name="T4" fmla="*/ 8 w 8"/>
                  <a:gd name="T5" fmla="*/ 19 h 19"/>
                  <a:gd name="T6" fmla="*/ 8 w 8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9">
                    <a:moveTo>
                      <a:pt x="8" y="19"/>
                    </a:moveTo>
                    <a:lnTo>
                      <a:pt x="0" y="0"/>
                    </a:lnTo>
                    <a:lnTo>
                      <a:pt x="8" y="19"/>
                    </a:lnTo>
                    <a:lnTo>
                      <a:pt x="8" y="1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90">
                <a:extLst>
                  <a:ext uri="{FF2B5EF4-FFF2-40B4-BE49-F238E27FC236}">
                    <a16:creationId xmlns:a16="http://schemas.microsoft.com/office/drawing/2014/main" id="{DBC7F8F1-9591-4A46-AC0D-345A1A031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475" y="2778125"/>
                <a:ext cx="1573213" cy="796925"/>
              </a:xfrm>
              <a:custGeom>
                <a:avLst/>
                <a:gdLst>
                  <a:gd name="T0" fmla="*/ 14 w 643"/>
                  <a:gd name="T1" fmla="*/ 326 h 326"/>
                  <a:gd name="T2" fmla="*/ 0 w 643"/>
                  <a:gd name="T3" fmla="*/ 315 h 326"/>
                  <a:gd name="T4" fmla="*/ 299 w 643"/>
                  <a:gd name="T5" fmla="*/ 40 h 326"/>
                  <a:gd name="T6" fmla="*/ 638 w 643"/>
                  <a:gd name="T7" fmla="*/ 0 h 326"/>
                  <a:gd name="T8" fmla="*/ 638 w 643"/>
                  <a:gd name="T9" fmla="*/ 0 h 326"/>
                  <a:gd name="T10" fmla="*/ 643 w 643"/>
                  <a:gd name="T11" fmla="*/ 12 h 326"/>
                  <a:gd name="T12" fmla="*/ 14 w 643"/>
                  <a:gd name="T13" fmla="*/ 326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3" h="326">
                    <a:moveTo>
                      <a:pt x="14" y="326"/>
                    </a:moveTo>
                    <a:cubicBezTo>
                      <a:pt x="5" y="319"/>
                      <a:pt x="0" y="315"/>
                      <a:pt x="0" y="315"/>
                    </a:cubicBezTo>
                    <a:cubicBezTo>
                      <a:pt x="19" y="175"/>
                      <a:pt x="164" y="80"/>
                      <a:pt x="299" y="40"/>
                    </a:cubicBezTo>
                    <a:cubicBezTo>
                      <a:pt x="407" y="8"/>
                      <a:pt x="638" y="0"/>
                      <a:pt x="638" y="0"/>
                    </a:cubicBezTo>
                    <a:cubicBezTo>
                      <a:pt x="638" y="0"/>
                      <a:pt x="638" y="0"/>
                      <a:pt x="638" y="0"/>
                    </a:cubicBezTo>
                    <a:cubicBezTo>
                      <a:pt x="643" y="12"/>
                      <a:pt x="643" y="12"/>
                      <a:pt x="643" y="12"/>
                    </a:cubicBezTo>
                    <a:cubicBezTo>
                      <a:pt x="116" y="31"/>
                      <a:pt x="28" y="263"/>
                      <a:pt x="14" y="326"/>
                    </a:cubicBezTo>
                  </a:path>
                </a:pathLst>
              </a:custGeom>
              <a:solidFill>
                <a:srgbClr val="D841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91">
                <a:extLst>
                  <a:ext uri="{FF2B5EF4-FFF2-40B4-BE49-F238E27FC236}">
                    <a16:creationId xmlns:a16="http://schemas.microsoft.com/office/drawing/2014/main" id="{9AF51D1B-C3E7-4946-8F3E-3F29ADBCE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6950" y="2887663"/>
                <a:ext cx="1038225" cy="1354137"/>
              </a:xfrm>
              <a:custGeom>
                <a:avLst/>
                <a:gdLst>
                  <a:gd name="T0" fmla="*/ 110 w 425"/>
                  <a:gd name="T1" fmla="*/ 350 h 553"/>
                  <a:gd name="T2" fmla="*/ 28 w 425"/>
                  <a:gd name="T3" fmla="*/ 40 h 553"/>
                  <a:gd name="T4" fmla="*/ 156 w 425"/>
                  <a:gd name="T5" fmla="*/ 110 h 553"/>
                  <a:gd name="T6" fmla="*/ 202 w 425"/>
                  <a:gd name="T7" fmla="*/ 322 h 553"/>
                  <a:gd name="T8" fmla="*/ 425 w 425"/>
                  <a:gd name="T9" fmla="*/ 534 h 553"/>
                  <a:gd name="T10" fmla="*/ 396 w 425"/>
                  <a:gd name="T11" fmla="*/ 553 h 553"/>
                  <a:gd name="T12" fmla="*/ 110 w 425"/>
                  <a:gd name="T13" fmla="*/ 35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5" h="553">
                    <a:moveTo>
                      <a:pt x="110" y="350"/>
                    </a:moveTo>
                    <a:cubicBezTo>
                      <a:pt x="110" y="350"/>
                      <a:pt x="0" y="77"/>
                      <a:pt x="28" y="40"/>
                    </a:cubicBezTo>
                    <a:cubicBezTo>
                      <a:pt x="55" y="2"/>
                      <a:pt x="142" y="0"/>
                      <a:pt x="156" y="110"/>
                    </a:cubicBezTo>
                    <a:cubicBezTo>
                      <a:pt x="170" y="219"/>
                      <a:pt x="199" y="312"/>
                      <a:pt x="202" y="322"/>
                    </a:cubicBezTo>
                    <a:cubicBezTo>
                      <a:pt x="204" y="332"/>
                      <a:pt x="425" y="534"/>
                      <a:pt x="425" y="534"/>
                    </a:cubicBezTo>
                    <a:cubicBezTo>
                      <a:pt x="396" y="553"/>
                      <a:pt x="396" y="553"/>
                      <a:pt x="396" y="553"/>
                    </a:cubicBezTo>
                    <a:cubicBezTo>
                      <a:pt x="396" y="553"/>
                      <a:pt x="116" y="378"/>
                      <a:pt x="110" y="350"/>
                    </a:cubicBezTo>
                    <a:close/>
                  </a:path>
                </a:pathLst>
              </a:custGeom>
              <a:solidFill>
                <a:srgbClr val="F160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92">
                <a:extLst>
                  <a:ext uri="{FF2B5EF4-FFF2-40B4-BE49-F238E27FC236}">
                    <a16:creationId xmlns:a16="http://schemas.microsoft.com/office/drawing/2014/main" id="{C35473AA-589A-4146-BD2A-183448F22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325" y="4194175"/>
                <a:ext cx="222250" cy="242887"/>
              </a:xfrm>
              <a:custGeom>
                <a:avLst/>
                <a:gdLst>
                  <a:gd name="T0" fmla="*/ 29 w 91"/>
                  <a:gd name="T1" fmla="*/ 0 h 99"/>
                  <a:gd name="T2" fmla="*/ 77 w 91"/>
                  <a:gd name="T3" fmla="*/ 30 h 99"/>
                  <a:gd name="T4" fmla="*/ 85 w 91"/>
                  <a:gd name="T5" fmla="*/ 85 h 99"/>
                  <a:gd name="T6" fmla="*/ 24 w 91"/>
                  <a:gd name="T7" fmla="*/ 93 h 99"/>
                  <a:gd name="T8" fmla="*/ 21 w 91"/>
                  <a:gd name="T9" fmla="*/ 46 h 99"/>
                  <a:gd name="T10" fmla="*/ 0 w 91"/>
                  <a:gd name="T11" fmla="*/ 19 h 99"/>
                  <a:gd name="T12" fmla="*/ 29 w 91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99">
                    <a:moveTo>
                      <a:pt x="29" y="0"/>
                    </a:moveTo>
                    <a:cubicBezTo>
                      <a:pt x="29" y="0"/>
                      <a:pt x="73" y="20"/>
                      <a:pt x="77" y="30"/>
                    </a:cubicBezTo>
                    <a:cubicBezTo>
                      <a:pt x="81" y="40"/>
                      <a:pt x="91" y="78"/>
                      <a:pt x="85" y="85"/>
                    </a:cubicBezTo>
                    <a:cubicBezTo>
                      <a:pt x="78" y="91"/>
                      <a:pt x="37" y="99"/>
                      <a:pt x="24" y="93"/>
                    </a:cubicBezTo>
                    <a:cubicBezTo>
                      <a:pt x="11" y="87"/>
                      <a:pt x="23" y="47"/>
                      <a:pt x="21" y="46"/>
                    </a:cubicBezTo>
                    <a:cubicBezTo>
                      <a:pt x="19" y="44"/>
                      <a:pt x="0" y="19"/>
                      <a:pt x="0" y="19"/>
                    </a:cubicBezTo>
                    <a:cubicBezTo>
                      <a:pt x="29" y="0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F8C2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93">
                <a:extLst>
                  <a:ext uri="{FF2B5EF4-FFF2-40B4-BE49-F238E27FC236}">
                    <a16:creationId xmlns:a16="http://schemas.microsoft.com/office/drawing/2014/main" id="{5391834A-815A-4F41-8D98-D04403952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2313" y="4221163"/>
                <a:ext cx="204788" cy="225425"/>
              </a:xfrm>
              <a:custGeom>
                <a:avLst/>
                <a:gdLst>
                  <a:gd name="T0" fmla="*/ 2 w 84"/>
                  <a:gd name="T1" fmla="*/ 25 h 92"/>
                  <a:gd name="T2" fmla="*/ 39 w 84"/>
                  <a:gd name="T3" fmla="*/ 0 h 92"/>
                  <a:gd name="T4" fmla="*/ 67 w 84"/>
                  <a:gd name="T5" fmla="*/ 18 h 92"/>
                  <a:gd name="T6" fmla="*/ 73 w 84"/>
                  <a:gd name="T7" fmla="*/ 78 h 92"/>
                  <a:gd name="T8" fmla="*/ 8 w 84"/>
                  <a:gd name="T9" fmla="*/ 80 h 92"/>
                  <a:gd name="T10" fmla="*/ 9 w 84"/>
                  <a:gd name="T11" fmla="*/ 37 h 92"/>
                  <a:gd name="T12" fmla="*/ 2 w 84"/>
                  <a:gd name="T13" fmla="*/ 25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92">
                    <a:moveTo>
                      <a:pt x="2" y="25"/>
                    </a:moveTo>
                    <a:cubicBezTo>
                      <a:pt x="2" y="25"/>
                      <a:pt x="32" y="14"/>
                      <a:pt x="39" y="0"/>
                    </a:cubicBezTo>
                    <a:cubicBezTo>
                      <a:pt x="39" y="0"/>
                      <a:pt x="64" y="9"/>
                      <a:pt x="67" y="18"/>
                    </a:cubicBezTo>
                    <a:cubicBezTo>
                      <a:pt x="71" y="27"/>
                      <a:pt x="84" y="70"/>
                      <a:pt x="73" y="78"/>
                    </a:cubicBezTo>
                    <a:cubicBezTo>
                      <a:pt x="62" y="86"/>
                      <a:pt x="16" y="92"/>
                      <a:pt x="8" y="80"/>
                    </a:cubicBezTo>
                    <a:cubicBezTo>
                      <a:pt x="0" y="68"/>
                      <a:pt x="9" y="39"/>
                      <a:pt x="9" y="37"/>
                    </a:cubicBezTo>
                    <a:cubicBezTo>
                      <a:pt x="8" y="34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3838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Rectangle: Rounded Corners 479">
                <a:extLst>
                  <a:ext uri="{FF2B5EF4-FFF2-40B4-BE49-F238E27FC236}">
                    <a16:creationId xmlns:a16="http://schemas.microsoft.com/office/drawing/2014/main" id="{EB039466-EBBC-4642-AD9E-7E46BBDCFA36}"/>
                  </a:ext>
                </a:extLst>
              </p:cNvPr>
              <p:cNvSpPr/>
              <p:nvPr/>
            </p:nvSpPr>
            <p:spPr>
              <a:xfrm rot="20349147">
                <a:off x="6363463" y="2786633"/>
                <a:ext cx="68263" cy="251720"/>
              </a:xfrm>
              <a:prstGeom prst="roundRect">
                <a:avLst/>
              </a:prstGeom>
              <a:solidFill>
                <a:srgbClr val="F16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152" name="Picture 151">
            <a:extLst>
              <a:ext uri="{FF2B5EF4-FFF2-40B4-BE49-F238E27FC236}">
                <a16:creationId xmlns:a16="http://schemas.microsoft.com/office/drawing/2014/main" id="{728BC026-CACC-4DEA-B4C6-B512E9015E6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861" t="17530" r="6602"/>
          <a:stretch/>
        </p:blipFill>
        <p:spPr>
          <a:xfrm>
            <a:off x="2723559" y="5446604"/>
            <a:ext cx="7522502" cy="1394379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3E67FA59-1C8C-4CAB-9A98-F22DED10DB9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48060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EB5BE-E15E-4BB7-9DF9-57CAF803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TA PREPROCESSING</a:t>
            </a:r>
          </a:p>
        </p:txBody>
      </p:sp>
      <p:sp>
        <p:nvSpPr>
          <p:cNvPr id="489" name="Slide Number Placeholder 488">
            <a:extLst>
              <a:ext uri="{FF2B5EF4-FFF2-40B4-BE49-F238E27FC236}">
                <a16:creationId xmlns:a16="http://schemas.microsoft.com/office/drawing/2014/main" id="{72839817-4B15-4F99-BEC5-4AB7827F6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B5725F-9DAA-4357-8793-9FE0983AC34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5757" b="-3355"/>
          <a:stretch/>
        </p:blipFill>
        <p:spPr>
          <a:xfrm>
            <a:off x="1957680" y="3797001"/>
            <a:ext cx="8463520" cy="373257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38C1CC5-78A5-4BF4-B76D-375B78C645C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308"/>
          <a:stretch/>
        </p:blipFill>
        <p:spPr>
          <a:xfrm>
            <a:off x="1929740" y="4543815"/>
            <a:ext cx="8491460" cy="1864421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CC3A61-5E3E-4181-9840-FDA38D388B7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3021B25-E7D3-4164-93AF-2329F43B1584}"/>
              </a:ext>
            </a:extLst>
          </p:cNvPr>
          <p:cNvGrpSpPr/>
          <p:nvPr/>
        </p:nvGrpSpPr>
        <p:grpSpPr>
          <a:xfrm flipH="1">
            <a:off x="1957680" y="1366995"/>
            <a:ext cx="4730272" cy="488952"/>
            <a:chOff x="1704126" y="1941415"/>
            <a:chExt cx="4730272" cy="488952"/>
          </a:xfrm>
        </p:grpSpPr>
        <p:sp>
          <p:nvSpPr>
            <p:cNvPr id="13" name="Rectangle: Top Corners Rounded 12">
              <a:extLst>
                <a:ext uri="{FF2B5EF4-FFF2-40B4-BE49-F238E27FC236}">
                  <a16:creationId xmlns:a16="http://schemas.microsoft.com/office/drawing/2014/main" id="{0CEA2CDC-0323-4B0C-AA79-A029A9FFC7DA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6DE7E25-94D1-4921-BD44-CFA2311E4837}"/>
                </a:ext>
              </a:extLst>
            </p:cNvPr>
            <p:cNvSpPr/>
            <p:nvPr/>
          </p:nvSpPr>
          <p:spPr>
            <a:xfrm>
              <a:off x="2424664" y="2096778"/>
              <a:ext cx="3591036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Season from Numbers to Categories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ACC8E51-5104-4E87-9CC4-FB7B2776E9B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23" r="46257"/>
          <a:stretch/>
        </p:blipFill>
        <p:spPr>
          <a:xfrm>
            <a:off x="4924936" y="1246841"/>
            <a:ext cx="5496264" cy="1859360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CAD09DC3-3AA0-4BF5-8E73-BA9328E92A79}"/>
              </a:ext>
            </a:extLst>
          </p:cNvPr>
          <p:cNvGrpSpPr/>
          <p:nvPr/>
        </p:nvGrpSpPr>
        <p:grpSpPr>
          <a:xfrm flipH="1">
            <a:off x="1929741" y="3333627"/>
            <a:ext cx="4009733" cy="469713"/>
            <a:chOff x="2424665" y="1941415"/>
            <a:chExt cx="4009733" cy="469713"/>
          </a:xfrm>
        </p:grpSpPr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EF0AC04A-A174-4AF2-B46C-60B49FEE3556}"/>
                </a:ext>
              </a:extLst>
            </p:cNvPr>
            <p:cNvSpPr/>
            <p:nvPr/>
          </p:nvSpPr>
          <p:spPr>
            <a:xfrm rot="5400000">
              <a:off x="4404022" y="380753"/>
              <a:ext cx="469713" cy="3591038"/>
            </a:xfrm>
            <a:custGeom>
              <a:avLst/>
              <a:gdLst>
                <a:gd name="connsiteX0" fmla="*/ 244476 w 488952"/>
                <a:gd name="connsiteY0" fmla="*/ 0 h 4730272"/>
                <a:gd name="connsiteX1" fmla="*/ 244476 w 488952"/>
                <a:gd name="connsiteY1" fmla="*/ 0 h 4730272"/>
                <a:gd name="connsiteX2" fmla="*/ 488952 w 488952"/>
                <a:gd name="connsiteY2" fmla="*/ 244476 h 4730272"/>
                <a:gd name="connsiteX3" fmla="*/ 488952 w 488952"/>
                <a:gd name="connsiteY3" fmla="*/ 4485796 h 4730272"/>
                <a:gd name="connsiteX4" fmla="*/ 244476 w 488952"/>
                <a:gd name="connsiteY4" fmla="*/ 4730272 h 4730272"/>
                <a:gd name="connsiteX5" fmla="*/ 244476 w 488952"/>
                <a:gd name="connsiteY5" fmla="*/ 4730272 h 4730272"/>
                <a:gd name="connsiteX6" fmla="*/ 0 w 488952"/>
                <a:gd name="connsiteY6" fmla="*/ 4485796 h 4730272"/>
                <a:gd name="connsiteX7" fmla="*/ 0 w 488952"/>
                <a:gd name="connsiteY7" fmla="*/ 244476 h 4730272"/>
                <a:gd name="connsiteX8" fmla="*/ 244476 w 488952"/>
                <a:gd name="connsiteY8" fmla="*/ 0 h 4730272"/>
                <a:gd name="connsiteX0" fmla="*/ 244476 w 488952"/>
                <a:gd name="connsiteY0" fmla="*/ 0 h 4730272"/>
                <a:gd name="connsiteX1" fmla="*/ 244476 w 488952"/>
                <a:gd name="connsiteY1" fmla="*/ 0 h 4730272"/>
                <a:gd name="connsiteX2" fmla="*/ 488952 w 488952"/>
                <a:gd name="connsiteY2" fmla="*/ 244476 h 4730272"/>
                <a:gd name="connsiteX3" fmla="*/ 488952 w 488952"/>
                <a:gd name="connsiteY3" fmla="*/ 4485796 h 4730272"/>
                <a:gd name="connsiteX4" fmla="*/ 244476 w 488952"/>
                <a:gd name="connsiteY4" fmla="*/ 4730272 h 4730272"/>
                <a:gd name="connsiteX5" fmla="*/ 244476 w 488952"/>
                <a:gd name="connsiteY5" fmla="*/ 4730272 h 4730272"/>
                <a:gd name="connsiteX6" fmla="*/ 0 w 488952"/>
                <a:gd name="connsiteY6" fmla="*/ 4485796 h 4730272"/>
                <a:gd name="connsiteX7" fmla="*/ 0 w 488952"/>
                <a:gd name="connsiteY7" fmla="*/ 244476 h 4730272"/>
                <a:gd name="connsiteX8" fmla="*/ 244476 w 488952"/>
                <a:gd name="connsiteY8" fmla="*/ 0 h 4730272"/>
                <a:gd name="connsiteX0" fmla="*/ 244476 w 488952"/>
                <a:gd name="connsiteY0" fmla="*/ 0 h 4730272"/>
                <a:gd name="connsiteX1" fmla="*/ 244476 w 488952"/>
                <a:gd name="connsiteY1" fmla="*/ 0 h 4730272"/>
                <a:gd name="connsiteX2" fmla="*/ 468632 w 488952"/>
                <a:gd name="connsiteY2" fmla="*/ 43816 h 4730272"/>
                <a:gd name="connsiteX3" fmla="*/ 488952 w 488952"/>
                <a:gd name="connsiteY3" fmla="*/ 4485796 h 4730272"/>
                <a:gd name="connsiteX4" fmla="*/ 244476 w 488952"/>
                <a:gd name="connsiteY4" fmla="*/ 4730272 h 4730272"/>
                <a:gd name="connsiteX5" fmla="*/ 244476 w 488952"/>
                <a:gd name="connsiteY5" fmla="*/ 4730272 h 4730272"/>
                <a:gd name="connsiteX6" fmla="*/ 0 w 488952"/>
                <a:gd name="connsiteY6" fmla="*/ 4485796 h 4730272"/>
                <a:gd name="connsiteX7" fmla="*/ 0 w 488952"/>
                <a:gd name="connsiteY7" fmla="*/ 244476 h 4730272"/>
                <a:gd name="connsiteX8" fmla="*/ 244476 w 488952"/>
                <a:gd name="connsiteY8" fmla="*/ 0 h 4730272"/>
                <a:gd name="connsiteX0" fmla="*/ 244476 w 488952"/>
                <a:gd name="connsiteY0" fmla="*/ 0 h 4730272"/>
                <a:gd name="connsiteX1" fmla="*/ 244476 w 488952"/>
                <a:gd name="connsiteY1" fmla="*/ 0 h 4730272"/>
                <a:gd name="connsiteX2" fmla="*/ 468632 w 488952"/>
                <a:gd name="connsiteY2" fmla="*/ 43816 h 4730272"/>
                <a:gd name="connsiteX3" fmla="*/ 488952 w 488952"/>
                <a:gd name="connsiteY3" fmla="*/ 4485796 h 4730272"/>
                <a:gd name="connsiteX4" fmla="*/ 244476 w 488952"/>
                <a:gd name="connsiteY4" fmla="*/ 4730272 h 4730272"/>
                <a:gd name="connsiteX5" fmla="*/ 244476 w 488952"/>
                <a:gd name="connsiteY5" fmla="*/ 4730272 h 4730272"/>
                <a:gd name="connsiteX6" fmla="*/ 0 w 488952"/>
                <a:gd name="connsiteY6" fmla="*/ 4485796 h 4730272"/>
                <a:gd name="connsiteX7" fmla="*/ 0 w 488952"/>
                <a:gd name="connsiteY7" fmla="*/ 244476 h 4730272"/>
                <a:gd name="connsiteX8" fmla="*/ 244476 w 488952"/>
                <a:gd name="connsiteY8" fmla="*/ 0 h 4730272"/>
                <a:gd name="connsiteX0" fmla="*/ 244476 w 469713"/>
                <a:gd name="connsiteY0" fmla="*/ 0 h 4756332"/>
                <a:gd name="connsiteX1" fmla="*/ 244476 w 469713"/>
                <a:gd name="connsiteY1" fmla="*/ 0 h 4756332"/>
                <a:gd name="connsiteX2" fmla="*/ 468632 w 469713"/>
                <a:gd name="connsiteY2" fmla="*/ 43816 h 4756332"/>
                <a:gd name="connsiteX3" fmla="*/ 454663 w 469713"/>
                <a:gd name="connsiteY3" fmla="*/ 4679665 h 4756332"/>
                <a:gd name="connsiteX4" fmla="*/ 244476 w 469713"/>
                <a:gd name="connsiteY4" fmla="*/ 4730272 h 4756332"/>
                <a:gd name="connsiteX5" fmla="*/ 244476 w 469713"/>
                <a:gd name="connsiteY5" fmla="*/ 4730272 h 4756332"/>
                <a:gd name="connsiteX6" fmla="*/ 0 w 469713"/>
                <a:gd name="connsiteY6" fmla="*/ 4485796 h 4756332"/>
                <a:gd name="connsiteX7" fmla="*/ 0 w 469713"/>
                <a:gd name="connsiteY7" fmla="*/ 244476 h 4756332"/>
                <a:gd name="connsiteX8" fmla="*/ 244476 w 469713"/>
                <a:gd name="connsiteY8" fmla="*/ 0 h 4756332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43816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43816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43816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43816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  <a:gd name="connsiteX0" fmla="*/ 244476 w 469713"/>
                <a:gd name="connsiteY0" fmla="*/ 1105 h 4731377"/>
                <a:gd name="connsiteX1" fmla="*/ 244476 w 469713"/>
                <a:gd name="connsiteY1" fmla="*/ 1105 h 4731377"/>
                <a:gd name="connsiteX2" fmla="*/ 468632 w 469713"/>
                <a:gd name="connsiteY2" fmla="*/ 6824 h 4731377"/>
                <a:gd name="connsiteX3" fmla="*/ 454663 w 469713"/>
                <a:gd name="connsiteY3" fmla="*/ 4680770 h 4731377"/>
                <a:gd name="connsiteX4" fmla="*/ 244476 w 469713"/>
                <a:gd name="connsiteY4" fmla="*/ 4731377 h 4731377"/>
                <a:gd name="connsiteX5" fmla="*/ 244476 w 469713"/>
                <a:gd name="connsiteY5" fmla="*/ 4731377 h 4731377"/>
                <a:gd name="connsiteX6" fmla="*/ 0 w 469713"/>
                <a:gd name="connsiteY6" fmla="*/ 4486901 h 4731377"/>
                <a:gd name="connsiteX7" fmla="*/ 0 w 469713"/>
                <a:gd name="connsiteY7" fmla="*/ 245581 h 4731377"/>
                <a:gd name="connsiteX8" fmla="*/ 244476 w 469713"/>
                <a:gd name="connsiteY8" fmla="*/ 1105 h 4731377"/>
                <a:gd name="connsiteX0" fmla="*/ 244476 w 469713"/>
                <a:gd name="connsiteY0" fmla="*/ 0 h 4730272"/>
                <a:gd name="connsiteX1" fmla="*/ 244476 w 469713"/>
                <a:gd name="connsiteY1" fmla="*/ 0 h 4730272"/>
                <a:gd name="connsiteX2" fmla="*/ 468632 w 469713"/>
                <a:gd name="connsiteY2" fmla="*/ 5719 h 4730272"/>
                <a:gd name="connsiteX3" fmla="*/ 454663 w 469713"/>
                <a:gd name="connsiteY3" fmla="*/ 4679665 h 4730272"/>
                <a:gd name="connsiteX4" fmla="*/ 244476 w 469713"/>
                <a:gd name="connsiteY4" fmla="*/ 4730272 h 4730272"/>
                <a:gd name="connsiteX5" fmla="*/ 244476 w 469713"/>
                <a:gd name="connsiteY5" fmla="*/ 4730272 h 4730272"/>
                <a:gd name="connsiteX6" fmla="*/ 0 w 469713"/>
                <a:gd name="connsiteY6" fmla="*/ 4485796 h 4730272"/>
                <a:gd name="connsiteX7" fmla="*/ 0 w 469713"/>
                <a:gd name="connsiteY7" fmla="*/ 244476 h 4730272"/>
                <a:gd name="connsiteX8" fmla="*/ 244476 w 469713"/>
                <a:gd name="connsiteY8" fmla="*/ 0 h 4730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713" h="4730272">
                  <a:moveTo>
                    <a:pt x="244476" y="0"/>
                  </a:moveTo>
                  <a:lnTo>
                    <a:pt x="244476" y="0"/>
                  </a:lnTo>
                  <a:cubicBezTo>
                    <a:pt x="379496" y="0"/>
                    <a:pt x="288292" y="5325"/>
                    <a:pt x="468632" y="5719"/>
                  </a:cubicBezTo>
                  <a:cubicBezTo>
                    <a:pt x="475405" y="1486379"/>
                    <a:pt x="447890" y="3199005"/>
                    <a:pt x="454663" y="4679665"/>
                  </a:cubicBezTo>
                  <a:cubicBezTo>
                    <a:pt x="447044" y="4694909"/>
                    <a:pt x="379496" y="4730272"/>
                    <a:pt x="244476" y="4730272"/>
                  </a:cubicBezTo>
                  <a:lnTo>
                    <a:pt x="244476" y="4730272"/>
                  </a:lnTo>
                  <a:cubicBezTo>
                    <a:pt x="109456" y="4730272"/>
                    <a:pt x="0" y="4620816"/>
                    <a:pt x="0" y="4485796"/>
                  </a:cubicBezTo>
                  <a:lnTo>
                    <a:pt x="0" y="244476"/>
                  </a:lnTo>
                  <a:cubicBezTo>
                    <a:pt x="0" y="109456"/>
                    <a:pt x="109456" y="0"/>
                    <a:pt x="244476" y="0"/>
                  </a:cubicBezTo>
                  <a:close/>
                </a:path>
              </a:pathLst>
            </a:cu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9DB2A58-9A9F-40C7-8402-F76631DE1141}"/>
                </a:ext>
              </a:extLst>
            </p:cNvPr>
            <p:cNvSpPr/>
            <p:nvPr/>
          </p:nvSpPr>
          <p:spPr>
            <a:xfrm>
              <a:off x="2424665" y="2106247"/>
              <a:ext cx="3591036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Weekdays from Numbers to Categorie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A1DAF35-F26C-498E-86C6-5C4E0E395542}"/>
              </a:ext>
            </a:extLst>
          </p:cNvPr>
          <p:cNvGrpSpPr/>
          <p:nvPr/>
        </p:nvGrpSpPr>
        <p:grpSpPr>
          <a:xfrm flipH="1">
            <a:off x="7292148" y="4666256"/>
            <a:ext cx="3129052" cy="488952"/>
            <a:chOff x="3305346" y="1941415"/>
            <a:chExt cx="3129052" cy="488952"/>
          </a:xfrm>
        </p:grpSpPr>
        <p:sp>
          <p:nvSpPr>
            <p:cNvPr id="23" name="Rectangle: Top Corners Rounded 22">
              <a:extLst>
                <a:ext uri="{FF2B5EF4-FFF2-40B4-BE49-F238E27FC236}">
                  <a16:creationId xmlns:a16="http://schemas.microsoft.com/office/drawing/2014/main" id="{65F20EFA-548C-44A9-B909-F19FA70E8FDC}"/>
                </a:ext>
              </a:extLst>
            </p:cNvPr>
            <p:cNvSpPr/>
            <p:nvPr/>
          </p:nvSpPr>
          <p:spPr>
            <a:xfrm rot="5400000">
              <a:off x="4625396" y="621365"/>
              <a:ext cx="488952" cy="312905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377EEDF-61BC-436F-BBC2-838DC556BFEF}"/>
                </a:ext>
              </a:extLst>
            </p:cNvPr>
            <p:cNvSpPr/>
            <p:nvPr/>
          </p:nvSpPr>
          <p:spPr>
            <a:xfrm>
              <a:off x="3305346" y="2096778"/>
              <a:ext cx="2710354" cy="17060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Weather from Numbers to Categor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982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92FC50-CB25-4823-9AA7-B2EF018B86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51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92FC50-CB25-4823-9AA7-B2EF018B8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F4696E-39A1-43E0-870F-5BA8FBDC2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/>
              <a:t>Heat Map to find the correlation between predictand and predictors.</a:t>
            </a:r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21C30125-B7F5-473E-8B29-C6B811A4A8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2667861" y="1175658"/>
            <a:ext cx="6856277" cy="540510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CFA1C6-4C7B-40FC-9491-2E367432C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7724B1E-DB93-471B-B253-236E8F6C9D2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A35CE95-EA79-4827-AEC9-EFF0684F3EF9}"/>
              </a:ext>
            </a:extLst>
          </p:cNvPr>
          <p:cNvSpPr/>
          <p:nvPr/>
        </p:nvSpPr>
        <p:spPr>
          <a:xfrm>
            <a:off x="2840854" y="2760956"/>
            <a:ext cx="994298" cy="452761"/>
          </a:xfrm>
          <a:custGeom>
            <a:avLst/>
            <a:gdLst>
              <a:gd name="connsiteX0" fmla="*/ 0 w 994298"/>
              <a:gd name="connsiteY0" fmla="*/ 0 h 452761"/>
              <a:gd name="connsiteX1" fmla="*/ 487206 w 994298"/>
              <a:gd name="connsiteY1" fmla="*/ 0 h 452761"/>
              <a:gd name="connsiteX2" fmla="*/ 994298 w 994298"/>
              <a:gd name="connsiteY2" fmla="*/ 0 h 452761"/>
              <a:gd name="connsiteX3" fmla="*/ 994298 w 994298"/>
              <a:gd name="connsiteY3" fmla="*/ 452761 h 452761"/>
              <a:gd name="connsiteX4" fmla="*/ 497149 w 994298"/>
              <a:gd name="connsiteY4" fmla="*/ 452761 h 452761"/>
              <a:gd name="connsiteX5" fmla="*/ 0 w 994298"/>
              <a:gd name="connsiteY5" fmla="*/ 452761 h 452761"/>
              <a:gd name="connsiteX6" fmla="*/ 0 w 994298"/>
              <a:gd name="connsiteY6" fmla="*/ 0 h 45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298" h="452761" extrusionOk="0">
                <a:moveTo>
                  <a:pt x="0" y="0"/>
                </a:moveTo>
                <a:cubicBezTo>
                  <a:pt x="160132" y="-12000"/>
                  <a:pt x="268574" y="41716"/>
                  <a:pt x="487206" y="0"/>
                </a:cubicBezTo>
                <a:cubicBezTo>
                  <a:pt x="705838" y="-41716"/>
                  <a:pt x="823076" y="10999"/>
                  <a:pt x="994298" y="0"/>
                </a:cubicBezTo>
                <a:cubicBezTo>
                  <a:pt x="1032016" y="192884"/>
                  <a:pt x="957122" y="309932"/>
                  <a:pt x="994298" y="452761"/>
                </a:cubicBezTo>
                <a:cubicBezTo>
                  <a:pt x="819643" y="507150"/>
                  <a:pt x="708965" y="447023"/>
                  <a:pt x="497149" y="452761"/>
                </a:cubicBezTo>
                <a:cubicBezTo>
                  <a:pt x="285333" y="458499"/>
                  <a:pt x="121141" y="402989"/>
                  <a:pt x="0" y="452761"/>
                </a:cubicBezTo>
                <a:cubicBezTo>
                  <a:pt x="-17244" y="240337"/>
                  <a:pt x="20382" y="103868"/>
                  <a:pt x="0" y="0"/>
                </a:cubicBezTo>
                <a:close/>
              </a:path>
            </a:pathLst>
          </a:custGeom>
          <a:noFill/>
          <a:ln w="38100">
            <a:solidFill>
              <a:srgbClr val="92D050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A23E8F-99A4-42E7-8AEE-3674430005EF}"/>
              </a:ext>
            </a:extLst>
          </p:cNvPr>
          <p:cNvSpPr/>
          <p:nvPr/>
        </p:nvSpPr>
        <p:spPr>
          <a:xfrm>
            <a:off x="2840854" y="4884199"/>
            <a:ext cx="994298" cy="452761"/>
          </a:xfrm>
          <a:custGeom>
            <a:avLst/>
            <a:gdLst>
              <a:gd name="connsiteX0" fmla="*/ 0 w 994298"/>
              <a:gd name="connsiteY0" fmla="*/ 0 h 452761"/>
              <a:gd name="connsiteX1" fmla="*/ 487206 w 994298"/>
              <a:gd name="connsiteY1" fmla="*/ 0 h 452761"/>
              <a:gd name="connsiteX2" fmla="*/ 994298 w 994298"/>
              <a:gd name="connsiteY2" fmla="*/ 0 h 452761"/>
              <a:gd name="connsiteX3" fmla="*/ 994298 w 994298"/>
              <a:gd name="connsiteY3" fmla="*/ 452761 h 452761"/>
              <a:gd name="connsiteX4" fmla="*/ 497149 w 994298"/>
              <a:gd name="connsiteY4" fmla="*/ 452761 h 452761"/>
              <a:gd name="connsiteX5" fmla="*/ 0 w 994298"/>
              <a:gd name="connsiteY5" fmla="*/ 452761 h 452761"/>
              <a:gd name="connsiteX6" fmla="*/ 0 w 994298"/>
              <a:gd name="connsiteY6" fmla="*/ 0 h 45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298" h="452761" extrusionOk="0">
                <a:moveTo>
                  <a:pt x="0" y="0"/>
                </a:moveTo>
                <a:cubicBezTo>
                  <a:pt x="160132" y="-12000"/>
                  <a:pt x="268574" y="41716"/>
                  <a:pt x="487206" y="0"/>
                </a:cubicBezTo>
                <a:cubicBezTo>
                  <a:pt x="705838" y="-41716"/>
                  <a:pt x="823076" y="10999"/>
                  <a:pt x="994298" y="0"/>
                </a:cubicBezTo>
                <a:cubicBezTo>
                  <a:pt x="1032016" y="192884"/>
                  <a:pt x="957122" y="309932"/>
                  <a:pt x="994298" y="452761"/>
                </a:cubicBezTo>
                <a:cubicBezTo>
                  <a:pt x="819643" y="507150"/>
                  <a:pt x="708965" y="447023"/>
                  <a:pt x="497149" y="452761"/>
                </a:cubicBezTo>
                <a:cubicBezTo>
                  <a:pt x="285333" y="458499"/>
                  <a:pt x="121141" y="402989"/>
                  <a:pt x="0" y="452761"/>
                </a:cubicBezTo>
                <a:cubicBezTo>
                  <a:pt x="-17244" y="240337"/>
                  <a:pt x="20382" y="103868"/>
                  <a:pt x="0" y="0"/>
                </a:cubicBezTo>
                <a:close/>
              </a:path>
            </a:pathLst>
          </a:custGeom>
          <a:noFill/>
          <a:ln w="38100">
            <a:solidFill>
              <a:srgbClr val="92D050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2280768-04A1-4AEF-89CC-B7111E0F9085}"/>
              </a:ext>
            </a:extLst>
          </p:cNvPr>
          <p:cNvSpPr/>
          <p:nvPr/>
        </p:nvSpPr>
        <p:spPr>
          <a:xfrm>
            <a:off x="2840854" y="5336960"/>
            <a:ext cx="994298" cy="452761"/>
          </a:xfrm>
          <a:custGeom>
            <a:avLst/>
            <a:gdLst>
              <a:gd name="connsiteX0" fmla="*/ 0 w 994298"/>
              <a:gd name="connsiteY0" fmla="*/ 0 h 452761"/>
              <a:gd name="connsiteX1" fmla="*/ 487206 w 994298"/>
              <a:gd name="connsiteY1" fmla="*/ 0 h 452761"/>
              <a:gd name="connsiteX2" fmla="*/ 994298 w 994298"/>
              <a:gd name="connsiteY2" fmla="*/ 0 h 452761"/>
              <a:gd name="connsiteX3" fmla="*/ 994298 w 994298"/>
              <a:gd name="connsiteY3" fmla="*/ 452761 h 452761"/>
              <a:gd name="connsiteX4" fmla="*/ 497149 w 994298"/>
              <a:gd name="connsiteY4" fmla="*/ 452761 h 452761"/>
              <a:gd name="connsiteX5" fmla="*/ 0 w 994298"/>
              <a:gd name="connsiteY5" fmla="*/ 452761 h 452761"/>
              <a:gd name="connsiteX6" fmla="*/ 0 w 994298"/>
              <a:gd name="connsiteY6" fmla="*/ 0 h 452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298" h="452761" extrusionOk="0">
                <a:moveTo>
                  <a:pt x="0" y="0"/>
                </a:moveTo>
                <a:cubicBezTo>
                  <a:pt x="160132" y="-12000"/>
                  <a:pt x="268574" y="41716"/>
                  <a:pt x="487206" y="0"/>
                </a:cubicBezTo>
                <a:cubicBezTo>
                  <a:pt x="705838" y="-41716"/>
                  <a:pt x="823076" y="10999"/>
                  <a:pt x="994298" y="0"/>
                </a:cubicBezTo>
                <a:cubicBezTo>
                  <a:pt x="1032016" y="192884"/>
                  <a:pt x="957122" y="309932"/>
                  <a:pt x="994298" y="452761"/>
                </a:cubicBezTo>
                <a:cubicBezTo>
                  <a:pt x="819643" y="507150"/>
                  <a:pt x="708965" y="447023"/>
                  <a:pt x="497149" y="452761"/>
                </a:cubicBezTo>
                <a:cubicBezTo>
                  <a:pt x="285333" y="458499"/>
                  <a:pt x="121141" y="402989"/>
                  <a:pt x="0" y="452761"/>
                </a:cubicBezTo>
                <a:cubicBezTo>
                  <a:pt x="-17244" y="240337"/>
                  <a:pt x="20382" y="103868"/>
                  <a:pt x="0" y="0"/>
                </a:cubicBezTo>
                <a:close/>
              </a:path>
            </a:pathLst>
          </a:custGeom>
          <a:noFill/>
          <a:ln w="38100">
            <a:solidFill>
              <a:srgbClr val="92D050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098144-833A-46A2-B6C3-F0BA5DCA8DC1}"/>
              </a:ext>
            </a:extLst>
          </p:cNvPr>
          <p:cNvSpPr/>
          <p:nvPr/>
        </p:nvSpPr>
        <p:spPr>
          <a:xfrm>
            <a:off x="2840855" y="5870968"/>
            <a:ext cx="994298" cy="276524"/>
          </a:xfrm>
          <a:custGeom>
            <a:avLst/>
            <a:gdLst>
              <a:gd name="connsiteX0" fmla="*/ 0 w 994298"/>
              <a:gd name="connsiteY0" fmla="*/ 0 h 276524"/>
              <a:gd name="connsiteX1" fmla="*/ 487206 w 994298"/>
              <a:gd name="connsiteY1" fmla="*/ 0 h 276524"/>
              <a:gd name="connsiteX2" fmla="*/ 994298 w 994298"/>
              <a:gd name="connsiteY2" fmla="*/ 0 h 276524"/>
              <a:gd name="connsiteX3" fmla="*/ 994298 w 994298"/>
              <a:gd name="connsiteY3" fmla="*/ 276524 h 276524"/>
              <a:gd name="connsiteX4" fmla="*/ 497149 w 994298"/>
              <a:gd name="connsiteY4" fmla="*/ 276524 h 276524"/>
              <a:gd name="connsiteX5" fmla="*/ 0 w 994298"/>
              <a:gd name="connsiteY5" fmla="*/ 276524 h 276524"/>
              <a:gd name="connsiteX6" fmla="*/ 0 w 994298"/>
              <a:gd name="connsiteY6" fmla="*/ 0 h 276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4298" h="276524" extrusionOk="0">
                <a:moveTo>
                  <a:pt x="0" y="0"/>
                </a:moveTo>
                <a:cubicBezTo>
                  <a:pt x="160132" y="-12000"/>
                  <a:pt x="268574" y="41716"/>
                  <a:pt x="487206" y="0"/>
                </a:cubicBezTo>
                <a:cubicBezTo>
                  <a:pt x="705838" y="-41716"/>
                  <a:pt x="823076" y="10999"/>
                  <a:pt x="994298" y="0"/>
                </a:cubicBezTo>
                <a:cubicBezTo>
                  <a:pt x="1018385" y="88668"/>
                  <a:pt x="963786" y="182395"/>
                  <a:pt x="994298" y="276524"/>
                </a:cubicBezTo>
                <a:cubicBezTo>
                  <a:pt x="819643" y="330913"/>
                  <a:pt x="708965" y="270786"/>
                  <a:pt x="497149" y="276524"/>
                </a:cubicBezTo>
                <a:cubicBezTo>
                  <a:pt x="285333" y="282262"/>
                  <a:pt x="121141" y="226752"/>
                  <a:pt x="0" y="276524"/>
                </a:cubicBezTo>
                <a:cubicBezTo>
                  <a:pt x="-6788" y="208225"/>
                  <a:pt x="433" y="87922"/>
                  <a:pt x="0" y="0"/>
                </a:cubicBezTo>
                <a:close/>
              </a:path>
            </a:pathLst>
          </a:custGeom>
          <a:noFill/>
          <a:ln w="38100">
            <a:solidFill>
              <a:srgbClr val="FFFF00"/>
            </a:solidFill>
            <a:extLst>
              <a:ext uri="{C807C97D-BFC1-408E-A445-0C87EB9F89A2}">
                <ask:lineSketchStyleProps xmlns:ask="http://schemas.microsoft.com/office/drawing/2018/sketchyshapes" sd="322955260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218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A230AE-8272-49DA-9408-A7D31A9A29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386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A230AE-8272-49DA-9408-A7D31A9A2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2A57D8-A891-4FC1-BCC6-CD63FD202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ox Plot of categorical predictors</a:t>
            </a:r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1BFA9D46-9D66-468E-9216-7E4B3A9262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/>
          <a:srcRect b="6687"/>
          <a:stretch/>
        </p:blipFill>
        <p:spPr>
          <a:xfrm>
            <a:off x="566057" y="1396490"/>
            <a:ext cx="4165046" cy="155891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D3596C-66EA-4D85-A81D-4A76CE11D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258C491-52A5-4580-9040-C8C5BDFD792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824"/>
          <a:stretch/>
        </p:blipFill>
        <p:spPr>
          <a:xfrm>
            <a:off x="566057" y="3333704"/>
            <a:ext cx="3795292" cy="157332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C24DC18-F6C5-4AFD-BCB3-AC6B4EDCC71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824"/>
          <a:stretch/>
        </p:blipFill>
        <p:spPr>
          <a:xfrm>
            <a:off x="602786" y="5136739"/>
            <a:ext cx="4015265" cy="157332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79ABF36-5E70-4D93-A7DE-F462A271033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" b="9131"/>
          <a:stretch/>
        </p:blipFill>
        <p:spPr>
          <a:xfrm>
            <a:off x="4246577" y="3333704"/>
            <a:ext cx="4165046" cy="161574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A16D8BD-ABCD-4188-B595-EBA3B5BB81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9492"/>
          <a:stretch/>
        </p:blipFill>
        <p:spPr>
          <a:xfrm>
            <a:off x="4317085" y="1396490"/>
            <a:ext cx="3953830" cy="155891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5983125-1959-4BD5-A4D5-C4424FBC6A8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7983"/>
          <a:stretch/>
        </p:blipFill>
        <p:spPr>
          <a:xfrm>
            <a:off x="4283306" y="5244242"/>
            <a:ext cx="4059438" cy="161045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F6A181D-452A-4B15-AA47-A2580838681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8655"/>
          <a:stretch/>
        </p:blipFill>
        <p:spPr>
          <a:xfrm>
            <a:off x="8068692" y="3333704"/>
            <a:ext cx="3885692" cy="15733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DD7744D-5393-4CFC-A576-CB11424ECC8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5DEC4944-A398-4C9B-AAF8-F6D0152A9AE4}"/>
              </a:ext>
            </a:extLst>
          </p:cNvPr>
          <p:cNvSpPr txBox="1">
            <a:spLocks/>
          </p:cNvSpPr>
          <p:nvPr/>
        </p:nvSpPr>
        <p:spPr>
          <a:xfrm>
            <a:off x="5156342" y="1057684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Weekda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7639193-CFED-4977-A1A6-EC9576B3F713}"/>
              </a:ext>
            </a:extLst>
          </p:cNvPr>
          <p:cNvSpPr txBox="1">
            <a:spLocks/>
          </p:cNvSpPr>
          <p:nvPr/>
        </p:nvSpPr>
        <p:spPr>
          <a:xfrm>
            <a:off x="1453735" y="1050888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Seaso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0E3A658-A9D5-45F3-95C7-46E09ADCE010}"/>
              </a:ext>
            </a:extLst>
          </p:cNvPr>
          <p:cNvSpPr txBox="1">
            <a:spLocks/>
          </p:cNvSpPr>
          <p:nvPr/>
        </p:nvSpPr>
        <p:spPr>
          <a:xfrm>
            <a:off x="5057282" y="3040352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Holiday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3BF0418-9A66-403C-95F9-B348E1979A20}"/>
              </a:ext>
            </a:extLst>
          </p:cNvPr>
          <p:cNvSpPr txBox="1">
            <a:spLocks/>
          </p:cNvSpPr>
          <p:nvPr/>
        </p:nvSpPr>
        <p:spPr>
          <a:xfrm>
            <a:off x="1453735" y="3040352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Month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97F7D95-BE2D-4B20-8176-83E412D2FF8F}"/>
              </a:ext>
            </a:extLst>
          </p:cNvPr>
          <p:cNvSpPr txBox="1">
            <a:spLocks/>
          </p:cNvSpPr>
          <p:nvPr/>
        </p:nvSpPr>
        <p:spPr>
          <a:xfrm>
            <a:off x="5193071" y="4949451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Workday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4F32609C-64CF-4829-9EDC-ECFA003CDB81}"/>
              </a:ext>
            </a:extLst>
          </p:cNvPr>
          <p:cNvSpPr txBox="1">
            <a:spLocks/>
          </p:cNvSpPr>
          <p:nvPr/>
        </p:nvSpPr>
        <p:spPr>
          <a:xfrm>
            <a:off x="1589524" y="4949451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Hour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078D008-D215-43AD-A70A-D2C139F5532F}"/>
              </a:ext>
            </a:extLst>
          </p:cNvPr>
          <p:cNvSpPr txBox="1">
            <a:spLocks/>
          </p:cNvSpPr>
          <p:nvPr/>
        </p:nvSpPr>
        <p:spPr>
          <a:xfrm>
            <a:off x="8891584" y="3040352"/>
            <a:ext cx="2239907" cy="374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F4B35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/>
              <a:t>Weather</a:t>
            </a:r>
          </a:p>
        </p:txBody>
      </p:sp>
    </p:spTree>
    <p:extLst>
      <p:ext uri="{BB962C8B-B14F-4D97-AF65-F5344CB8AC3E}">
        <p14:creationId xmlns:p14="http://schemas.microsoft.com/office/powerpoint/2010/main" val="1229639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054D526-AD67-4B88-AC9F-3996DCE7F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4EDD1-DCF3-463D-AB83-28D791F03B85}" type="slidenum">
              <a:rPr lang="en-US" smtClean="0"/>
              <a:t>9</a:t>
            </a:fld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3A2801B-3BB0-4358-882C-89997B176E71}"/>
              </a:ext>
            </a:extLst>
          </p:cNvPr>
          <p:cNvSpPr txBox="1">
            <a:spLocks/>
          </p:cNvSpPr>
          <p:nvPr/>
        </p:nvSpPr>
        <p:spPr>
          <a:xfrm>
            <a:off x="566057" y="365126"/>
            <a:ext cx="11059886" cy="810532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rgbClr val="EF4B35"/>
                </a:solidFill>
                <a:latin typeface="Century Gothic" panose="020B0502020202020204" pitchFamily="34" charset="0"/>
              </a:rPr>
              <a:t>Line Plot of Numerical Predictor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06339AB-73EB-4715-8CC4-F4D1EE7078F3}"/>
              </a:ext>
            </a:extLst>
          </p:cNvPr>
          <p:cNvGrpSpPr/>
          <p:nvPr/>
        </p:nvGrpSpPr>
        <p:grpSpPr>
          <a:xfrm>
            <a:off x="5863319" y="3623151"/>
            <a:ext cx="4730272" cy="488952"/>
            <a:chOff x="1704126" y="1941415"/>
            <a:chExt cx="4730272" cy="488952"/>
          </a:xfrm>
        </p:grpSpPr>
        <p:sp>
          <p:nvSpPr>
            <p:cNvPr id="8" name="Rectangle: Top Corners Rounded 7">
              <a:extLst>
                <a:ext uri="{FF2B5EF4-FFF2-40B4-BE49-F238E27FC236}">
                  <a16:creationId xmlns:a16="http://schemas.microsoft.com/office/drawing/2014/main" id="{164578CF-3189-48FA-9D52-286DCE2731E3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880204A-E2D0-48CD-91BB-A4E2432E17C0}"/>
                </a:ext>
              </a:extLst>
            </p:cNvPr>
            <p:cNvSpPr/>
            <p:nvPr/>
          </p:nvSpPr>
          <p:spPr>
            <a:xfrm>
              <a:off x="1966410" y="2012141"/>
              <a:ext cx="4003817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decreasing with Wind above 60%</a:t>
              </a:r>
            </a:p>
            <a:p>
              <a:pPr algn="r"/>
              <a:r>
                <a:rPr lang="en-ID" sz="1100" b="1">
                  <a:solidFill>
                    <a:schemeClr val="bg1"/>
                  </a:solidFill>
                  <a:latin typeface="Century Gothic" panose="020B0502020202020204" pitchFamily="34" charset="0"/>
                </a:rPr>
                <a:t>(very rare condition with no significant impact)</a:t>
              </a: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44AB36F1-5748-48CF-8BF3-2D7DFA86DF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0119" y="2946553"/>
            <a:ext cx="4518125" cy="184956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7898F7D5-003B-4DAD-A988-4988A42D8247}"/>
              </a:ext>
            </a:extLst>
          </p:cNvPr>
          <p:cNvGrpSpPr/>
          <p:nvPr/>
        </p:nvGrpSpPr>
        <p:grpSpPr>
          <a:xfrm flipH="1">
            <a:off x="1734431" y="1764166"/>
            <a:ext cx="4730272" cy="488952"/>
            <a:chOff x="1704126" y="1941415"/>
            <a:chExt cx="4730272" cy="488952"/>
          </a:xfrm>
        </p:grpSpPr>
        <p:sp>
          <p:nvSpPr>
            <p:cNvPr id="16" name="Rectangle: Top Corners Rounded 15">
              <a:extLst>
                <a:ext uri="{FF2B5EF4-FFF2-40B4-BE49-F238E27FC236}">
                  <a16:creationId xmlns:a16="http://schemas.microsoft.com/office/drawing/2014/main" id="{EAF68722-7045-48AB-AE60-9B7F3FE5A964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F5AD5FF-2CE0-4C17-A874-03C756992EAC}"/>
                </a:ext>
              </a:extLst>
            </p:cNvPr>
            <p:cNvSpPr/>
            <p:nvPr/>
          </p:nvSpPr>
          <p:spPr>
            <a:xfrm>
              <a:off x="1966411" y="2096779"/>
              <a:ext cx="3591036" cy="16927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increasing up to 90ºF – spike at 77ºF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DB40376-6462-41C9-BB13-83B82759F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080369"/>
            <a:ext cx="4169976" cy="1856546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DB638759-044B-4DE0-90BD-355A37848007}"/>
              </a:ext>
            </a:extLst>
          </p:cNvPr>
          <p:cNvGrpSpPr/>
          <p:nvPr/>
        </p:nvGrpSpPr>
        <p:grpSpPr>
          <a:xfrm flipH="1">
            <a:off x="1734431" y="5481594"/>
            <a:ext cx="4730272" cy="488952"/>
            <a:chOff x="1704126" y="1941415"/>
            <a:chExt cx="4730272" cy="488952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BD3BE92C-100D-4605-BA03-388100B2CC19}"/>
                </a:ext>
              </a:extLst>
            </p:cNvPr>
            <p:cNvSpPr/>
            <p:nvPr/>
          </p:nvSpPr>
          <p:spPr>
            <a:xfrm rot="5400000">
              <a:off x="3824786" y="-179245"/>
              <a:ext cx="488952" cy="47302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4EC9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4500825-DA72-43DE-B7F3-2CA6985151C1}"/>
                </a:ext>
              </a:extLst>
            </p:cNvPr>
            <p:cNvSpPr/>
            <p:nvPr/>
          </p:nvSpPr>
          <p:spPr>
            <a:xfrm>
              <a:off x="1966411" y="2012141"/>
              <a:ext cx="3591036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Riders decreasing as humidity goes up</a:t>
              </a:r>
              <a:b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</a:br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(removing below 20% increases R</a:t>
              </a:r>
              <a:r>
                <a:rPr lang="pt-BR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²</a:t>
              </a:r>
              <a:r>
                <a:rPr lang="en-ID" sz="11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by 1%)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0927C895-49A4-4BEC-A22C-518B345B9D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4804996"/>
            <a:ext cx="4583113" cy="1849565"/>
          </a:xfrm>
          <a:prstGeom prst="rect">
            <a:avLst/>
          </a:prstGeom>
          <a:ln w="19050">
            <a:solidFill>
              <a:srgbClr val="4EC9F0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CE58F72-41AD-4234-9E3E-C692690EC61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096" t="3973" r="6340" b="6031"/>
          <a:stretch/>
        </p:blipFill>
        <p:spPr>
          <a:xfrm>
            <a:off x="11788392" y="0"/>
            <a:ext cx="400816" cy="383659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353257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41253F2D48FE4DB1C064DD70C1C6C0" ma:contentTypeVersion="4" ma:contentTypeDescription="Create a new document." ma:contentTypeScope="" ma:versionID="1cdb7bb40c6738e8515c75b8f3d17eb5">
  <xsd:schema xmlns:xsd="http://www.w3.org/2001/XMLSchema" xmlns:xs="http://www.w3.org/2001/XMLSchema" xmlns:p="http://schemas.microsoft.com/office/2006/metadata/properties" xmlns:ns2="b406b579-13c5-4b20-975d-2c78633c841c" targetNamespace="http://schemas.microsoft.com/office/2006/metadata/properties" ma:root="true" ma:fieldsID="8849543636cb80e42cc6458043fad338" ns2:_="">
    <xsd:import namespace="b406b579-13c5-4b20-975d-2c78633c84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06b579-13c5-4b20-975d-2c78633c84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3355115-1394-40E9-949B-0CE391A3C2E3}">
  <ds:schemaRefs>
    <ds:schemaRef ds:uri="b406b579-13c5-4b20-975d-2c78633c841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C5281AD-A6DE-43B8-854A-0433C63F44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9F3BA5-226D-4617-95C3-E753CE64C5B2}">
  <ds:schemaRefs>
    <ds:schemaRef ds:uri="b406b579-13c5-4b20-975d-2c78633c841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4</TotalTime>
  <Words>1688</Words>
  <Application>Microsoft Office PowerPoint</Application>
  <PresentationFormat>Widescreen</PresentationFormat>
  <Paragraphs>266</Paragraphs>
  <Slides>31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7" baseType="lpstr">
      <vt:lpstr>Arial</vt:lpstr>
      <vt:lpstr>Calibri</vt:lpstr>
      <vt:lpstr>Calibri Light</vt:lpstr>
      <vt:lpstr>Century Gothic</vt:lpstr>
      <vt:lpstr>Office Theme</vt:lpstr>
      <vt:lpstr>think-cell Slide</vt:lpstr>
      <vt:lpstr>PowerPoint Presentation</vt:lpstr>
      <vt:lpstr>AGENDA</vt:lpstr>
      <vt:lpstr>INDUSTRY OVERVIEW &amp; BUSINESS CASE</vt:lpstr>
      <vt:lpstr>AGENDA</vt:lpstr>
      <vt:lpstr>PowerPoint Presentation</vt:lpstr>
      <vt:lpstr>DATA PREPROCESSING</vt:lpstr>
      <vt:lpstr>Heat Map to find the correlation between predictand and predictors.</vt:lpstr>
      <vt:lpstr>Box Plot of categorical predictors</vt:lpstr>
      <vt:lpstr>PowerPoint Presentation</vt:lpstr>
      <vt:lpstr>Line Plot of Combined Predictors</vt:lpstr>
      <vt:lpstr>Encode Categorical Values</vt:lpstr>
      <vt:lpstr>AGENDA</vt:lpstr>
      <vt:lpstr>MODEL COMPARISON</vt:lpstr>
      <vt:lpstr>PowerPoint Presentation</vt:lpstr>
      <vt:lpstr>Overall Model – Creation Phase</vt:lpstr>
      <vt:lpstr>Lightgbm using pycaret:</vt:lpstr>
      <vt:lpstr>LightGBM – Feature Importance &amp; Testing Data</vt:lpstr>
      <vt:lpstr>Check the models on each feature separately</vt:lpstr>
      <vt:lpstr>Seasonal Model</vt:lpstr>
      <vt:lpstr>Seasonal Model – Winter</vt:lpstr>
      <vt:lpstr>Seasonal Model – Winter</vt:lpstr>
      <vt:lpstr>Seasonal Model – Winter – Testing Data</vt:lpstr>
      <vt:lpstr>Seasonal Model – Winter – Feature Importance</vt:lpstr>
      <vt:lpstr>SEASONAL MODEL – WINTER – not binning Hours </vt:lpstr>
      <vt:lpstr>Seasonal Models Comparison</vt:lpstr>
      <vt:lpstr>Business Predictions</vt:lpstr>
      <vt:lpstr>Predict Future Riders – Real Data</vt:lpstr>
      <vt:lpstr>Business Recommendations &amp; Mgmt Tool</vt:lpstr>
      <vt:lpstr>Predict Bicycle Rental Demand Web Application Tool</vt:lpstr>
      <vt:lpstr>A SIMPLE WEB APPLICATION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re</dc:creator>
  <cp:lastModifiedBy>Miao, Catherine</cp:lastModifiedBy>
  <cp:revision>4</cp:revision>
  <dcterms:created xsi:type="dcterms:W3CDTF">2020-05-20T07:37:23Z</dcterms:created>
  <dcterms:modified xsi:type="dcterms:W3CDTF">2021-09-29T19:5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41253F2D48FE4DB1C064DD70C1C6C0</vt:lpwstr>
  </property>
  <property fmtid="{D5CDD505-2E9C-101B-9397-08002B2CF9AE}" pid="3" name="MSIP_Label_73dd1fcc-24d7-4f55-9dc2-c1518f171327_Enabled">
    <vt:lpwstr>true</vt:lpwstr>
  </property>
  <property fmtid="{D5CDD505-2E9C-101B-9397-08002B2CF9AE}" pid="4" name="MSIP_Label_73dd1fcc-24d7-4f55-9dc2-c1518f171327_SetDate">
    <vt:lpwstr>2021-09-29T19:58:13Z</vt:lpwstr>
  </property>
  <property fmtid="{D5CDD505-2E9C-101B-9397-08002B2CF9AE}" pid="5" name="MSIP_Label_73dd1fcc-24d7-4f55-9dc2-c1518f171327_Method">
    <vt:lpwstr>Privileged</vt:lpwstr>
  </property>
  <property fmtid="{D5CDD505-2E9C-101B-9397-08002B2CF9AE}" pid="6" name="MSIP_Label_73dd1fcc-24d7-4f55-9dc2-c1518f171327_Name">
    <vt:lpwstr>No Protection (Label Only) - Internal Use</vt:lpwstr>
  </property>
  <property fmtid="{D5CDD505-2E9C-101B-9397-08002B2CF9AE}" pid="7" name="MSIP_Label_73dd1fcc-24d7-4f55-9dc2-c1518f171327_SiteId">
    <vt:lpwstr>945c199a-83a2-4e80-9f8c-5a91be5752dd</vt:lpwstr>
  </property>
  <property fmtid="{D5CDD505-2E9C-101B-9397-08002B2CF9AE}" pid="8" name="MSIP_Label_73dd1fcc-24d7-4f55-9dc2-c1518f171327_ActionId">
    <vt:lpwstr>24c07ad2-022d-4d7a-96e9-33735c973c65</vt:lpwstr>
  </property>
  <property fmtid="{D5CDD505-2E9C-101B-9397-08002B2CF9AE}" pid="9" name="MSIP_Label_73dd1fcc-24d7-4f55-9dc2-c1518f171327_ContentBits">
    <vt:lpwstr>2</vt:lpwstr>
  </property>
</Properties>
</file>